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tags/tag6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3.xml" ContentType="application/vnd.openxmlformats-officedocument.drawingml.chartshapes+xml"/>
  <Override PartName="/ppt/notesSlides/notesSlide1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2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notesSlides/notesSlide2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7.xml" ContentType="application/vnd.openxmlformats-officedocument.themeOverride+xml"/>
  <Override PartName="/ppt/notesSlides/notesSlide25.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8.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4.xml" ContentType="application/vnd.openxmlformats-officedocument.drawingml.chartshapes+xml"/>
  <Override PartName="/ppt/notesSlides/notesSlide3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3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9.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58" r:id="rId4"/>
    <p:sldMasterId id="2147483662" r:id="rId5"/>
    <p:sldMasterId id="2147483676" r:id="rId6"/>
    <p:sldMasterId id="2147483682" r:id="rId7"/>
  </p:sldMasterIdLst>
  <p:notesMasterIdLst>
    <p:notesMasterId r:id="rId55"/>
  </p:notesMasterIdLst>
  <p:sldIdLst>
    <p:sldId id="256" r:id="rId8"/>
    <p:sldId id="2147472748" r:id="rId9"/>
    <p:sldId id="3515" r:id="rId10"/>
    <p:sldId id="3517" r:id="rId11"/>
    <p:sldId id="309" r:id="rId12"/>
    <p:sldId id="336" r:id="rId13"/>
    <p:sldId id="2147472749" r:id="rId14"/>
    <p:sldId id="3516" r:id="rId15"/>
    <p:sldId id="3526" r:id="rId16"/>
    <p:sldId id="3525" r:id="rId17"/>
    <p:sldId id="3530" r:id="rId18"/>
    <p:sldId id="363" r:id="rId19"/>
    <p:sldId id="2147472754" r:id="rId20"/>
    <p:sldId id="362" r:id="rId21"/>
    <p:sldId id="335" r:id="rId22"/>
    <p:sldId id="480" r:id="rId23"/>
    <p:sldId id="2147472746" r:id="rId24"/>
    <p:sldId id="2147472742" r:id="rId25"/>
    <p:sldId id="3513" r:id="rId26"/>
    <p:sldId id="3511" r:id="rId27"/>
    <p:sldId id="2147472755" r:id="rId28"/>
    <p:sldId id="3533" r:id="rId29"/>
    <p:sldId id="3510" r:id="rId30"/>
    <p:sldId id="3520" r:id="rId31"/>
    <p:sldId id="3521" r:id="rId32"/>
    <p:sldId id="3522" r:id="rId33"/>
    <p:sldId id="3523" r:id="rId34"/>
    <p:sldId id="257" r:id="rId35"/>
    <p:sldId id="3519" r:id="rId36"/>
    <p:sldId id="3473" r:id="rId37"/>
    <p:sldId id="3538" r:id="rId38"/>
    <p:sldId id="338" r:id="rId39"/>
    <p:sldId id="3518" r:id="rId40"/>
    <p:sldId id="2147472751" r:id="rId41"/>
    <p:sldId id="3469" r:id="rId42"/>
    <p:sldId id="2147472753" r:id="rId43"/>
    <p:sldId id="3460" r:id="rId44"/>
    <p:sldId id="3461" r:id="rId45"/>
    <p:sldId id="2147472750" r:id="rId46"/>
    <p:sldId id="2147472756" r:id="rId47"/>
    <p:sldId id="3476" r:id="rId48"/>
    <p:sldId id="3536" r:id="rId49"/>
    <p:sldId id="3408" r:id="rId50"/>
    <p:sldId id="3537" r:id="rId51"/>
    <p:sldId id="3529" r:id="rId52"/>
    <p:sldId id="300" r:id="rId53"/>
    <p:sldId id="267" r:id="rId54"/>
  </p:sldIdLst>
  <p:sldSz cx="9144000" cy="5143500" type="screen16x9"/>
  <p:notesSz cx="9872663" cy="6797675"/>
  <p:embeddedFontLst>
    <p:embeddedFont>
      <p:font typeface="Abadi" panose="020B0604020104020204" pitchFamily="34" charset="0"/>
      <p:regular r:id="rId56"/>
      <p:bold r:id="rId57"/>
      <p:italic r:id="rId58"/>
    </p:embeddedFont>
    <p:embeddedFont>
      <p:font typeface="Calisto MT" panose="02040603050505030304" pitchFamily="18" charset="0"/>
      <p:regular r:id="rId59"/>
      <p:bold r:id="rId60"/>
      <p:italic r:id="rId61"/>
      <p:boldItalic r:id="rId62"/>
    </p:embeddedFont>
    <p:embeddedFont>
      <p:font typeface="Century Gothic" panose="020B0502020202020204" pitchFamily="34" charset="0"/>
      <p:regular r:id="rId63"/>
      <p:bold r:id="rId64"/>
      <p:italic r:id="rId65"/>
      <p:boldItalic r:id="rId66"/>
    </p:embeddedFont>
    <p:embeddedFont>
      <p:font typeface="Century Gothic Paneuropean Heavy" panose="020B0604020202020204" charset="0"/>
      <p:regular r:id="rId67"/>
    </p:embeddedFont>
    <p:embeddedFont>
      <p:font typeface="Daytona" panose="020F0502020204030204" pitchFamily="34" charset="0"/>
      <p:regular r:id="rId68"/>
      <p:bold r:id="rId69"/>
      <p:italic r:id="rId70"/>
      <p:boldItalic r:id="rId71"/>
    </p:embeddedFont>
    <p:embeddedFont>
      <p:font typeface="Inter Light" panose="020B0604020202020204" charset="0"/>
      <p:regular r:id="rId72"/>
      <p:bold r:id="rId73"/>
      <p:italic r:id="rId74"/>
      <p:boldItalic r:id="rId75"/>
    </p:embeddedFont>
    <p:embeddedFont>
      <p:font typeface="Inter SemiBold" panose="020B0604020202020204" charset="0"/>
      <p:regular r:id="rId76"/>
      <p:bold r:id="rId77"/>
      <p:italic r:id="rId78"/>
      <p:boldItalic r:id="rId79"/>
    </p:embeddedFont>
    <p:embeddedFont>
      <p:font typeface="Segoe UI" panose="020B0502040204020203" pitchFamily="34" charset="0"/>
      <p:regular r:id="rId80"/>
      <p:bold r:id="rId81"/>
      <p:italic r:id="rId82"/>
      <p:boldItalic r:id="rId8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9DDBC1-D311-8595-84D1-5329755A6ECA}" name="Brian K. Isika" initials="BI" userId="S::isikabk@centralbank.go.ke::2faa9a5c-80a9-4e2d-ab94-c58647829ee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FFFFFF"/>
    <a:srgbClr val="00FFCC"/>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A54F7FF-118A-4B23-873A-B691699C49BB}">
  <a:tblStyle styleId="{3A54F7FF-118A-4B23-873A-B691699C49BB}"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24E7D8-BA30-46BD-963A-F6BD24E8BB07}"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4080" autoAdjust="0"/>
  </p:normalViewPr>
  <p:slideViewPr>
    <p:cSldViewPr snapToGrid="0">
      <p:cViewPr varScale="1">
        <p:scale>
          <a:sx n="113" d="100"/>
          <a:sy n="113" d="100"/>
        </p:scale>
        <p:origin x="441"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8.fntdata"/><Relationship Id="rId68" Type="http://schemas.openxmlformats.org/officeDocument/2006/relationships/font" Target="fonts/font13.fntdata"/><Relationship Id="rId84" Type="http://schemas.openxmlformats.org/officeDocument/2006/relationships/presProps" Target="pres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font" Target="fonts/font3.fntdata"/><Relationship Id="rId74" Type="http://schemas.openxmlformats.org/officeDocument/2006/relationships/font" Target="fonts/font19.fntdata"/><Relationship Id="rId79" Type="http://schemas.openxmlformats.org/officeDocument/2006/relationships/font" Target="fonts/font24.fntdata"/><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font" Target="fonts/font22.fntdata"/><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7.fntdata"/><Relationship Id="rId80" Type="http://schemas.openxmlformats.org/officeDocument/2006/relationships/font" Target="fonts/font25.fntdata"/><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font" Target="fonts/font20.fntdata"/><Relationship Id="rId83" Type="http://schemas.openxmlformats.org/officeDocument/2006/relationships/font" Target="fonts/font28.fntdata"/><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2.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font" Target="fonts/font18.fntdata"/><Relationship Id="rId78" Type="http://schemas.openxmlformats.org/officeDocument/2006/relationships/font" Target="fonts/font23.fntdata"/><Relationship Id="rId81" Type="http://schemas.openxmlformats.org/officeDocument/2006/relationships/font" Target="fonts/font26.fntdata"/><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notesMaster" Target="notesMasters/notesMaster1.xml"/><Relationship Id="rId76" Type="http://schemas.openxmlformats.org/officeDocument/2006/relationships/font" Target="fonts/font21.fntdata"/><Relationship Id="rId7" Type="http://schemas.openxmlformats.org/officeDocument/2006/relationships/slideMaster" Target="slideMasters/slideMaster4.xml"/><Relationship Id="rId71" Type="http://schemas.openxmlformats.org/officeDocument/2006/relationships/font" Target="fonts/font16.fntdata"/><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font" Target="fonts/font11.fntdata"/><Relationship Id="rId87" Type="http://schemas.openxmlformats.org/officeDocument/2006/relationships/tableStyles" Target="tableStyles.xml"/><Relationship Id="rId61" Type="http://schemas.openxmlformats.org/officeDocument/2006/relationships/font" Target="fonts/font6.fntdata"/><Relationship Id="rId82" Type="http://schemas.openxmlformats.org/officeDocument/2006/relationships/font" Target="fonts/font27.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odongomta\Documents\CBK%202025\External%20Sector\BOP%20Adhoc\Remittances.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Chart%20in%20Microsoft%20PowerPoint"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929099075015438"/>
          <c:y val="3.7966835744822854E-2"/>
          <c:w val="0.45232908036431163"/>
          <c:h val="0.90204147491526032"/>
        </c:manualLayout>
      </c:layout>
      <c:doughnutChart>
        <c:varyColors val="1"/>
        <c:ser>
          <c:idx val="0"/>
          <c:order val="0"/>
          <c:tx>
            <c:strRef>
              <c:f>Sheet1!$B$1</c:f>
              <c:strCache>
                <c:ptCount val="1"/>
                <c:pt idx="0">
                  <c:v>Payment Service Provider</c:v>
                </c:pt>
              </c:strCache>
            </c:strRef>
          </c:tx>
          <c:dPt>
            <c:idx val="0"/>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E46-460C-B85A-A373F640E1FB}"/>
              </c:ext>
            </c:extLst>
          </c:dPt>
          <c:dPt>
            <c:idx val="1"/>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E46-460C-B85A-A373F640E1FB}"/>
              </c:ext>
            </c:extLst>
          </c:dPt>
          <c:dPt>
            <c:idx val="2"/>
            <c:bubble3D val="0"/>
            <c:spPr>
              <a:solidFill>
                <a:schemeClr val="accent6">
                  <a:lumMod val="60000"/>
                  <a:lumOff val="4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5E46-460C-B85A-A373F640E1FB}"/>
              </c:ext>
            </c:extLst>
          </c:dPt>
          <c:dPt>
            <c:idx val="3"/>
            <c:bubble3D val="0"/>
            <c:spPr>
              <a:solidFill>
                <a:srgbClr val="00B0F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4-5E46-460C-B85A-A373F640E1FB}"/>
              </c:ext>
            </c:extLst>
          </c:dPt>
          <c:dPt>
            <c:idx val="4"/>
            <c:bubble3D val="0"/>
            <c:spPr>
              <a:solidFill>
                <a:schemeClr val="accent4">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8-9481-499E-9C52-47280CB6A52A}"/>
              </c:ext>
            </c:extLst>
          </c:dPt>
          <c:dLbls>
            <c:dLbl>
              <c:idx val="1"/>
              <c:tx>
                <c:rich>
                  <a:bodyPr/>
                  <a:lstStyle/>
                  <a:p>
                    <a:fld id="{0391B922-B26D-4EB2-A89A-306430B19B05}" type="CATEGORYNAME">
                      <a:rPr lang="en-US" sz="1100" smtClean="0"/>
                      <a:pPr/>
                      <a:t>[CATEGORY NAME]</a:t>
                    </a:fld>
                    <a:r>
                      <a:rPr lang="en-US" baseline="0" dirty="0"/>
                      <a:t>
</a:t>
                    </a:r>
                    <a:fld id="{479673DC-CD4F-44C0-BB16-1CE8D758A009}" type="PERCENTAGE">
                      <a:rPr lang="en-US" baseline="0"/>
                      <a:pPr/>
                      <a:t>[PERCENTAGE]</a:t>
                    </a:fld>
                    <a:endParaRPr lang="en-US" baseline="0" dirty="0"/>
                  </a:p>
                </c:rich>
              </c:tx>
              <c:showLegendKey val="0"/>
              <c:showVal val="1"/>
              <c:showCatName val="1"/>
              <c:showSerName val="0"/>
              <c:showPercent val="1"/>
              <c:showBubbleSize val="0"/>
              <c:extLst>
                <c:ext xmlns:c15="http://schemas.microsoft.com/office/drawing/2012/chart" uri="{CE6537A1-D6FC-4f65-9D91-7224C49458BB}">
                  <c15:layout>
                    <c:manualLayout>
                      <c:w val="0.13790892024757892"/>
                      <c:h val="9.2262995491019975E-2"/>
                    </c:manualLayout>
                  </c15:layout>
                  <c15:dlblFieldTable/>
                  <c15:showDataLabelsRange val="0"/>
                </c:ext>
                <c:ext xmlns:c16="http://schemas.microsoft.com/office/drawing/2014/chart" uri="{C3380CC4-5D6E-409C-BE32-E72D297353CC}">
                  <c16:uniqueId val="{00000001-5E46-460C-B85A-A373F640E1FB}"/>
                </c:ext>
              </c:extLst>
            </c:dLbl>
            <c:dLbl>
              <c:idx val="2"/>
              <c:layout>
                <c:manualLayout>
                  <c:x val="3.284142264790478E-2"/>
                  <c:y val="2.910793796387911E-3"/>
                </c:manualLayout>
              </c:layout>
              <c:tx>
                <c:rich>
                  <a:bodyPr/>
                  <a:lstStyle/>
                  <a:p>
                    <a:r>
                      <a:rPr lang="en-US" baseline="0" dirty="0"/>
                      <a:t>Payment Gateways
</a:t>
                    </a:r>
                    <a:fld id="{72C7EB7C-E7F4-49A7-87B7-4249E04380BC}" type="PERCENTAGE">
                      <a:rPr lang="en-US" baseline="0"/>
                      <a:pPr/>
                      <a:t>[PERCENTAGE]</a:t>
                    </a:fld>
                    <a:endParaRPr lang="en-US" baseline="0" dirty="0"/>
                  </a:p>
                </c:rich>
              </c:tx>
              <c:showLegendKey val="0"/>
              <c:showVal val="1"/>
              <c:showCatName val="1"/>
              <c:showSerName val="0"/>
              <c:showPercent val="1"/>
              <c:showBubbleSize val="0"/>
              <c:extLst>
                <c:ext xmlns:c15="http://schemas.microsoft.com/office/drawing/2012/chart" uri="{CE6537A1-D6FC-4f65-9D91-7224C49458BB}">
                  <c15:layout>
                    <c:manualLayout>
                      <c:w val="0.21835839548589328"/>
                      <c:h val="8.9352201694632066E-2"/>
                    </c:manualLayout>
                  </c15:layout>
                  <c15:dlblFieldTable/>
                  <c15:showDataLabelsRange val="0"/>
                </c:ext>
                <c:ext xmlns:c16="http://schemas.microsoft.com/office/drawing/2014/chart" uri="{C3380CC4-5D6E-409C-BE32-E72D297353CC}">
                  <c16:uniqueId val="{00000003-5E46-460C-B85A-A373F640E1FB}"/>
                </c:ext>
              </c:extLst>
            </c:dLbl>
            <c:spPr>
              <a:solidFill>
                <a:prstClr val="white"/>
              </a:solidFill>
              <a:ln>
                <a:solidFill>
                  <a:prstClr val="black">
                    <a:lumMod val="25000"/>
                    <a:lumOff val="75000"/>
                  </a:prstClr>
                </a:solidFill>
              </a:ln>
              <a:effectLst/>
            </c:spPr>
            <c:txPr>
              <a:bodyPr rot="0" spcFirstLastPara="1" vertOverflow="clip" horzOverflow="clip" vert="horz" wrap="square" lIns="36576" tIns="18288" rIns="36576" bIns="18288"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6</c:f>
              <c:strCache>
                <c:ptCount val="5"/>
                <c:pt idx="0">
                  <c:v>E-Money Issuer</c:v>
                </c:pt>
                <c:pt idx="1">
                  <c:v>E-Wallet</c:v>
                </c:pt>
                <c:pt idx="2">
                  <c:v>Payement Gateway</c:v>
                </c:pt>
                <c:pt idx="3">
                  <c:v>Switches</c:v>
                </c:pt>
                <c:pt idx="4">
                  <c:v>MRPs</c:v>
                </c:pt>
              </c:strCache>
            </c:strRef>
          </c:cat>
          <c:val>
            <c:numRef>
              <c:f>Sheet1!$B$2:$B$6</c:f>
              <c:numCache>
                <c:formatCode>General</c:formatCode>
                <c:ptCount val="5"/>
                <c:pt idx="0">
                  <c:v>8</c:v>
                </c:pt>
                <c:pt idx="1">
                  <c:v>8</c:v>
                </c:pt>
                <c:pt idx="2">
                  <c:v>21</c:v>
                </c:pt>
                <c:pt idx="3">
                  <c:v>3</c:v>
                </c:pt>
                <c:pt idx="4">
                  <c:v>29</c:v>
                </c:pt>
              </c:numCache>
            </c:numRef>
          </c:val>
          <c:extLst>
            <c:ext xmlns:c16="http://schemas.microsoft.com/office/drawing/2014/chart" uri="{C3380CC4-5D6E-409C-BE32-E72D297353CC}">
              <c16:uniqueId val="{00000000-5E46-460C-B85A-A373F640E1FB}"/>
            </c:ext>
          </c:extLst>
        </c:ser>
        <c:dLbls>
          <c:showLegendKey val="0"/>
          <c:showVal val="0"/>
          <c:showCatName val="0"/>
          <c:showSerName val="0"/>
          <c:showPercent val="1"/>
          <c:showBubbleSize val="0"/>
          <c:showLeaderLines val="0"/>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r>
              <a:rPr lang="en-US" b="1"/>
              <a:t>EF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Sheet1!$M$3</c:f>
              <c:strCache>
                <c:ptCount val="1"/>
                <c:pt idx="0">
                  <c:v>Items No</c:v>
                </c:pt>
              </c:strCache>
            </c:strRef>
          </c:tx>
          <c:spPr>
            <a:solidFill>
              <a:schemeClr val="accent1"/>
            </a:solidFill>
            <a:ln>
              <a:noFill/>
            </a:ln>
            <a:effectLst/>
          </c:spPr>
          <c:invertIfNegative val="0"/>
          <c:cat>
            <c:numRef>
              <c:f>Sheet1!$N$2:$W$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N$3:$W$3</c:f>
              <c:numCache>
                <c:formatCode>" "* #,##0.0" ";"-"* #,##0.0" ";" "* "-"#.0" ";" "@" "</c:formatCode>
                <c:ptCount val="10"/>
                <c:pt idx="0">
                  <c:v>11.248512</c:v>
                </c:pt>
                <c:pt idx="1">
                  <c:v>11.811616000000001</c:v>
                </c:pt>
                <c:pt idx="2">
                  <c:v>12.942004000000001</c:v>
                </c:pt>
                <c:pt idx="3">
                  <c:v>13.307824</c:v>
                </c:pt>
                <c:pt idx="4">
                  <c:v>14.631214</c:v>
                </c:pt>
                <c:pt idx="5">
                  <c:v>13.500627</c:v>
                </c:pt>
                <c:pt idx="6">
                  <c:v>14.934199</c:v>
                </c:pt>
                <c:pt idx="7">
                  <c:v>15.824444</c:v>
                </c:pt>
                <c:pt idx="8">
                  <c:v>17.370581999999999</c:v>
                </c:pt>
                <c:pt idx="9">
                  <c:v>18.981601000000001</c:v>
                </c:pt>
              </c:numCache>
            </c:numRef>
          </c:val>
          <c:extLst>
            <c:ext xmlns:c16="http://schemas.microsoft.com/office/drawing/2014/chart" uri="{C3380CC4-5D6E-409C-BE32-E72D297353CC}">
              <c16:uniqueId val="{00000000-1439-4C3C-B638-26AB9D00D3A9}"/>
            </c:ext>
          </c:extLst>
        </c:ser>
        <c:dLbls>
          <c:showLegendKey val="0"/>
          <c:showVal val="0"/>
          <c:showCatName val="0"/>
          <c:showSerName val="0"/>
          <c:showPercent val="0"/>
          <c:showBubbleSize val="0"/>
        </c:dLbls>
        <c:gapWidth val="150"/>
        <c:axId val="1180175183"/>
        <c:axId val="1180174223"/>
      </c:barChart>
      <c:lineChart>
        <c:grouping val="standard"/>
        <c:varyColors val="0"/>
        <c:ser>
          <c:idx val="1"/>
          <c:order val="1"/>
          <c:tx>
            <c:strRef>
              <c:f>Sheet1!$M$4</c:f>
              <c:strCache>
                <c:ptCount val="1"/>
                <c:pt idx="0">
                  <c:v>Value</c:v>
                </c:pt>
              </c:strCache>
            </c:strRef>
          </c:tx>
          <c:spPr>
            <a:ln w="28575" cap="rnd">
              <a:solidFill>
                <a:schemeClr val="accent2"/>
              </a:solidFill>
              <a:round/>
            </a:ln>
            <a:effectLst/>
          </c:spPr>
          <c:marker>
            <c:symbol val="none"/>
          </c:marker>
          <c:cat>
            <c:numRef>
              <c:f>Sheet1!$N$2:$W$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N$4:$W$4</c:f>
              <c:numCache>
                <c:formatCode>" "* #,##0.00" ";"-"* #,##0.00" ";" "* "-"#.00" ";" "@" "</c:formatCode>
                <c:ptCount val="10"/>
                <c:pt idx="0">
                  <c:v>0.52333461467039999</c:v>
                </c:pt>
                <c:pt idx="1">
                  <c:v>0.56283932956599991</c:v>
                </c:pt>
                <c:pt idx="2">
                  <c:v>0.60787310426315</c:v>
                </c:pt>
                <c:pt idx="3">
                  <c:v>0.66442972927305</c:v>
                </c:pt>
                <c:pt idx="4">
                  <c:v>0.71542043853479997</c:v>
                </c:pt>
                <c:pt idx="5">
                  <c:v>0.69842365846825005</c:v>
                </c:pt>
                <c:pt idx="6">
                  <c:v>0.78061625437820004</c:v>
                </c:pt>
                <c:pt idx="7">
                  <c:v>0.86421500077975</c:v>
                </c:pt>
                <c:pt idx="8">
                  <c:v>0.94787339044999996</c:v>
                </c:pt>
                <c:pt idx="9">
                  <c:v>1.01503171336</c:v>
                </c:pt>
              </c:numCache>
            </c:numRef>
          </c:val>
          <c:smooth val="0"/>
          <c:extLst>
            <c:ext xmlns:c16="http://schemas.microsoft.com/office/drawing/2014/chart" uri="{C3380CC4-5D6E-409C-BE32-E72D297353CC}">
              <c16:uniqueId val="{00000001-1439-4C3C-B638-26AB9D00D3A9}"/>
            </c:ext>
          </c:extLst>
        </c:ser>
        <c:dLbls>
          <c:showLegendKey val="0"/>
          <c:showVal val="0"/>
          <c:showCatName val="0"/>
          <c:showSerName val="0"/>
          <c:showPercent val="0"/>
          <c:showBubbleSize val="0"/>
        </c:dLbls>
        <c:marker val="1"/>
        <c:smooth val="0"/>
        <c:axId val="2047111872"/>
        <c:axId val="2047114752"/>
      </c:lineChart>
      <c:catAx>
        <c:axId val="1180175183"/>
        <c:scaling>
          <c:orientation val="minMax"/>
        </c:scaling>
        <c:delete val="0"/>
        <c:axPos val="b"/>
        <c:numFmt formatCode="General" sourceLinked="1"/>
        <c:majorTickMark val="none"/>
        <c:minorTickMark val="none"/>
        <c:tickLblPos val="nextTo"/>
        <c:spPr>
          <a:noFill/>
          <a:ln w="12700" cap="flat" cmpd="sng" algn="ctr">
            <a:solidFill>
              <a:schemeClr val="dk1"/>
            </a:solidFill>
            <a:prstDash val="solid"/>
            <a:miter lim="800000"/>
          </a:ln>
          <a:effectLst/>
        </c:spPr>
        <c:txPr>
          <a:bodyPr rot="-60000000" spcFirstLastPara="1" vertOverflow="ellipsis" vert="horz" wrap="square" anchor="ctr" anchorCtr="1"/>
          <a:lstStyle/>
          <a:p>
            <a:pPr>
              <a:defRPr sz="800" b="0" i="0" u="none" strike="noStrike" kern="1200" baseline="0">
                <a:solidFill>
                  <a:schemeClr val="dk1"/>
                </a:solidFill>
                <a:latin typeface="Century Gothic" panose="020B0502020202020204" pitchFamily="34" charset="0"/>
                <a:ea typeface="+mn-ea"/>
                <a:cs typeface="+mn-cs"/>
              </a:defRPr>
            </a:pPr>
            <a:endParaRPr lang="en-US"/>
          </a:p>
        </c:txPr>
        <c:crossAx val="1180174223"/>
        <c:crosses val="autoZero"/>
        <c:auto val="1"/>
        <c:lblAlgn val="ctr"/>
        <c:lblOffset val="100"/>
        <c:noMultiLvlLbl val="0"/>
      </c:catAx>
      <c:valAx>
        <c:axId val="118017422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Century Gothic" panose="020B0502020202020204" pitchFamily="34" charset="0"/>
                    <a:ea typeface="+mn-ea"/>
                    <a:cs typeface="+mn-cs"/>
                  </a:defRPr>
                </a:pPr>
                <a:r>
                  <a:rPr lang="en-US" b="0">
                    <a:solidFill>
                      <a:schemeClr val="tx1"/>
                    </a:solidFill>
                  </a:rPr>
                  <a:t>Number of items in M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Century Gothic" panose="020B0502020202020204" pitchFamily="34" charset="0"/>
                  <a:ea typeface="+mn-ea"/>
                  <a:cs typeface="+mn-cs"/>
                </a:defRPr>
              </a:pPr>
              <a:endParaRPr lang="en-US"/>
            </a:p>
          </c:txPr>
        </c:title>
        <c:numFmt formatCode="&quot; &quot;* #,##0.0&quot; &quot;;&quot;-&quot;* #,##0.0&quot; &quot;;&quot; &quot;* &quot;-&quot;#.0&quot; &quot;;&quot; &quot;@&quot; &quot;" sourceLinked="1"/>
        <c:majorTickMark val="none"/>
        <c:minorTickMark val="none"/>
        <c:tickLblPos val="nextTo"/>
        <c:spPr>
          <a:noFill/>
          <a:ln w="12700" cap="flat" cmpd="sng" algn="ctr">
            <a:solidFill>
              <a:schemeClr val="dk1"/>
            </a:solidFill>
            <a:prstDash val="solid"/>
            <a:miter lim="800000"/>
          </a:ln>
          <a:effectLst/>
        </c:spPr>
        <c:txPr>
          <a:bodyPr rot="-6000000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crossAx val="1180175183"/>
        <c:crosses val="autoZero"/>
        <c:crossBetween val="between"/>
      </c:valAx>
      <c:valAx>
        <c:axId val="204711475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dk1"/>
                    </a:solidFill>
                    <a:latin typeface="Century Gothic" panose="020B0502020202020204" pitchFamily="34" charset="0"/>
                    <a:ea typeface="+mn-ea"/>
                    <a:cs typeface="+mn-cs"/>
                  </a:defRPr>
                </a:pPr>
                <a:r>
                  <a:rPr lang="en-US" b="0"/>
                  <a:t>Value in Tr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dk1"/>
                  </a:solidFill>
                  <a:latin typeface="Century Gothic" panose="020B0502020202020204" pitchFamily="34" charset="0"/>
                  <a:ea typeface="+mn-ea"/>
                  <a:cs typeface="+mn-cs"/>
                </a:defRPr>
              </a:pPr>
              <a:endParaRPr lang="en-US"/>
            </a:p>
          </c:txPr>
        </c:title>
        <c:numFmt formatCode="&quot; &quot;* #,##0.00&quot; &quot;;&quot;-&quot;* #,##0.00&quot; &quot;;&quot; &quot;* &quot;-&quot;#.00&quot; &quot;;&quot; &quot;@&quot; &quot;"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crossAx val="2047111872"/>
        <c:crosses val="max"/>
        <c:crossBetween val="between"/>
      </c:valAx>
      <c:catAx>
        <c:axId val="2047111872"/>
        <c:scaling>
          <c:orientation val="minMax"/>
        </c:scaling>
        <c:delete val="1"/>
        <c:axPos val="b"/>
        <c:numFmt formatCode="General" sourceLinked="1"/>
        <c:majorTickMark val="out"/>
        <c:minorTickMark val="none"/>
        <c:tickLblPos val="nextTo"/>
        <c:crossAx val="204711475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legend>
    <c:plotVisOnly val="1"/>
    <c:dispBlanksAs val="gap"/>
    <c:showDLblsOverMax val="0"/>
  </c:chart>
  <c:spPr>
    <a:solidFill>
      <a:schemeClr val="lt1"/>
    </a:solidFill>
    <a:ln w="19050" cap="flat" cmpd="sng" algn="ctr">
      <a:solidFill>
        <a:srgbClr val="FFFFFF"/>
      </a:solidFill>
      <a:prstDash val="solid"/>
      <a:miter lim="800000"/>
    </a:ln>
    <a:effectLst/>
  </c:spPr>
  <c:txPr>
    <a:bodyPr/>
    <a:lstStyle/>
    <a:p>
      <a:pPr>
        <a:defRPr>
          <a:solidFill>
            <a:schemeClr val="dk1"/>
          </a:solidFill>
          <a:latin typeface="Century Gothic" panose="020B0502020202020204" pitchFamily="34" charset="0"/>
          <a:ea typeface="+mn-ea"/>
          <a:cs typeface="+mn-cs"/>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Century Gothic" panose="020B0502020202020204" pitchFamily="34" charset="0"/>
                <a:ea typeface="+mn-ea"/>
                <a:cs typeface="+mn-cs"/>
              </a:defRPr>
            </a:pPr>
            <a:r>
              <a:rPr lang="en-US"/>
              <a:t>Number and value of transactions - Card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CARDS &amp; POS'!$D$193</c:f>
              <c:strCache>
                <c:ptCount val="1"/>
                <c:pt idx="0">
                  <c:v>Volume Mns</c:v>
                </c:pt>
              </c:strCache>
            </c:strRef>
          </c:tx>
          <c:spPr>
            <a:solidFill>
              <a:schemeClr val="accent1"/>
            </a:solidFill>
            <a:ln>
              <a:noFill/>
            </a:ln>
            <a:effectLst/>
          </c:spPr>
          <c:invertIfNegative val="0"/>
          <c:cat>
            <c:numRef>
              <c:f>'CARDS &amp; POS'!$C$194:$C$198</c:f>
              <c:numCache>
                <c:formatCode>General</c:formatCode>
                <c:ptCount val="5"/>
                <c:pt idx="0">
                  <c:v>2020</c:v>
                </c:pt>
                <c:pt idx="1">
                  <c:v>2021</c:v>
                </c:pt>
                <c:pt idx="2">
                  <c:v>2022</c:v>
                </c:pt>
                <c:pt idx="3">
                  <c:v>2023</c:v>
                </c:pt>
                <c:pt idx="4">
                  <c:v>2024</c:v>
                </c:pt>
              </c:numCache>
            </c:numRef>
          </c:cat>
          <c:val>
            <c:numRef>
              <c:f>'CARDS &amp; POS'!$D$194:$D$198</c:f>
              <c:numCache>
                <c:formatCode>_(* #,##0.0_);_(* \(#,##0.0\);_(* "-"??_);_(@_)</c:formatCode>
                <c:ptCount val="5"/>
                <c:pt idx="0">
                  <c:v>101.222404</c:v>
                </c:pt>
                <c:pt idx="1">
                  <c:v>121.098868</c:v>
                </c:pt>
                <c:pt idx="2">
                  <c:v>121.45790599999999</c:v>
                </c:pt>
                <c:pt idx="3">
                  <c:v>120.59292600000001</c:v>
                </c:pt>
                <c:pt idx="4">
                  <c:v>112.67309299999999</c:v>
                </c:pt>
              </c:numCache>
            </c:numRef>
          </c:val>
          <c:extLst>
            <c:ext xmlns:c16="http://schemas.microsoft.com/office/drawing/2014/chart" uri="{C3380CC4-5D6E-409C-BE32-E72D297353CC}">
              <c16:uniqueId val="{00000000-6E0C-4225-AE6F-A9A4DE48A242}"/>
            </c:ext>
          </c:extLst>
        </c:ser>
        <c:dLbls>
          <c:showLegendKey val="0"/>
          <c:showVal val="0"/>
          <c:showCatName val="0"/>
          <c:showSerName val="0"/>
          <c:showPercent val="0"/>
          <c:showBubbleSize val="0"/>
        </c:dLbls>
        <c:gapWidth val="219"/>
        <c:overlap val="-27"/>
        <c:axId val="1739532992"/>
        <c:axId val="1739530592"/>
      </c:barChart>
      <c:lineChart>
        <c:grouping val="standard"/>
        <c:varyColors val="0"/>
        <c:ser>
          <c:idx val="1"/>
          <c:order val="1"/>
          <c:tx>
            <c:strRef>
              <c:f>'CARDS &amp; POS'!$E$193</c:f>
              <c:strCache>
                <c:ptCount val="1"/>
                <c:pt idx="0">
                  <c:v>Value (Kshs Billions)</c:v>
                </c:pt>
              </c:strCache>
            </c:strRef>
          </c:tx>
          <c:spPr>
            <a:ln w="28575" cap="rnd">
              <a:solidFill>
                <a:schemeClr val="accent2"/>
              </a:solidFill>
              <a:round/>
            </a:ln>
            <a:effectLst/>
          </c:spPr>
          <c:marker>
            <c:symbol val="none"/>
          </c:marker>
          <c:cat>
            <c:numRef>
              <c:f>'CARDS &amp; POS'!$C$194:$C$198</c:f>
              <c:numCache>
                <c:formatCode>General</c:formatCode>
                <c:ptCount val="5"/>
                <c:pt idx="0">
                  <c:v>2020</c:v>
                </c:pt>
                <c:pt idx="1">
                  <c:v>2021</c:v>
                </c:pt>
                <c:pt idx="2">
                  <c:v>2022</c:v>
                </c:pt>
                <c:pt idx="3">
                  <c:v>2023</c:v>
                </c:pt>
                <c:pt idx="4">
                  <c:v>2024</c:v>
                </c:pt>
              </c:numCache>
            </c:numRef>
          </c:cat>
          <c:val>
            <c:numRef>
              <c:f>'CARDS &amp; POS'!$E$194:$E$198</c:f>
              <c:numCache>
                <c:formatCode>_(* #,##0.0_);_(* \(#,##0.0\);_(* "-"??_);_(@_)</c:formatCode>
                <c:ptCount val="5"/>
                <c:pt idx="0">
                  <c:v>650.41</c:v>
                </c:pt>
                <c:pt idx="1">
                  <c:v>754.43799999999999</c:v>
                </c:pt>
                <c:pt idx="2">
                  <c:v>697.6</c:v>
                </c:pt>
                <c:pt idx="3">
                  <c:v>637.28899999999999</c:v>
                </c:pt>
                <c:pt idx="4">
                  <c:v>555.47</c:v>
                </c:pt>
              </c:numCache>
            </c:numRef>
          </c:val>
          <c:smooth val="0"/>
          <c:extLst>
            <c:ext xmlns:c16="http://schemas.microsoft.com/office/drawing/2014/chart" uri="{C3380CC4-5D6E-409C-BE32-E72D297353CC}">
              <c16:uniqueId val="{00000001-6E0C-4225-AE6F-A9A4DE48A242}"/>
            </c:ext>
          </c:extLst>
        </c:ser>
        <c:dLbls>
          <c:showLegendKey val="0"/>
          <c:showVal val="0"/>
          <c:showCatName val="0"/>
          <c:showSerName val="0"/>
          <c:showPercent val="0"/>
          <c:showBubbleSize val="0"/>
        </c:dLbls>
        <c:marker val="1"/>
        <c:smooth val="0"/>
        <c:axId val="104701040"/>
        <c:axId val="104702960"/>
      </c:lineChart>
      <c:catAx>
        <c:axId val="104701040"/>
        <c:scaling>
          <c:orientation val="minMax"/>
        </c:scaling>
        <c:delete val="0"/>
        <c:axPos val="b"/>
        <c:numFmt formatCode="General" sourceLinked="1"/>
        <c:majorTickMark val="none"/>
        <c:minorTickMark val="none"/>
        <c:tickLblPos val="nextTo"/>
        <c:spPr>
          <a:noFill/>
          <a:ln w="12700" cap="flat" cmpd="sng" algn="ctr">
            <a:solidFill>
              <a:srgbClr val="000C18"/>
            </a:solidFill>
            <a:prstDash val="solid"/>
            <a:miter lim="800000"/>
          </a:ln>
          <a:effectLst/>
        </c:spPr>
        <c:txPr>
          <a:bodyPr rot="-60000000" spcFirstLastPara="1" vertOverflow="ellipsis" vert="horz" wrap="square" anchor="ctr" anchorCtr="1"/>
          <a:lstStyle/>
          <a:p>
            <a:pPr>
              <a:defRPr sz="900" b="1" i="0" u="none" strike="noStrike" kern="1200" baseline="0">
                <a:solidFill>
                  <a:srgbClr val="000C18"/>
                </a:solidFill>
                <a:latin typeface="+mn-lt"/>
                <a:ea typeface="+mn-ea"/>
                <a:cs typeface="+mn-cs"/>
              </a:defRPr>
            </a:pPr>
            <a:endParaRPr lang="en-US"/>
          </a:p>
        </c:txPr>
        <c:crossAx val="104702960"/>
        <c:crosses val="autoZero"/>
        <c:auto val="1"/>
        <c:lblAlgn val="ctr"/>
        <c:lblOffset val="100"/>
        <c:noMultiLvlLbl val="0"/>
      </c:catAx>
      <c:valAx>
        <c:axId val="104702960"/>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Century Gothic" panose="020B0502020202020204" pitchFamily="34" charset="0"/>
                    <a:ea typeface="+mn-ea"/>
                    <a:cs typeface="+mn-cs"/>
                  </a:defRPr>
                </a:pPr>
                <a:r>
                  <a:rPr lang="en-US"/>
                  <a:t>Value Bn</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Century Gothic" panose="020B0502020202020204" pitchFamily="34" charset="0"/>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crossAx val="104701040"/>
        <c:crosses val="autoZero"/>
        <c:crossBetween val="between"/>
      </c:valAx>
      <c:valAx>
        <c:axId val="1739530592"/>
        <c:scaling>
          <c:orientation val="minMax"/>
          <c:min val="0"/>
        </c:scaling>
        <c:delete val="0"/>
        <c:axPos val="r"/>
        <c:title>
          <c:tx>
            <c:rich>
              <a:bodyPr rot="-5400000" spcFirstLastPara="1" vertOverflow="ellipsis" vert="horz" wrap="square" anchor="ctr" anchorCtr="1"/>
              <a:lstStyle/>
              <a:p>
                <a:pPr>
                  <a:defRPr sz="1000" b="1" i="0" u="none" strike="noStrike" kern="1200" baseline="0">
                    <a:solidFill>
                      <a:schemeClr val="tx1"/>
                    </a:solidFill>
                    <a:latin typeface="Century Gothic" panose="020B0502020202020204" pitchFamily="34" charset="0"/>
                    <a:ea typeface="+mn-ea"/>
                    <a:cs typeface="+mn-cs"/>
                  </a:defRPr>
                </a:pPr>
                <a:r>
                  <a:rPr lang="en-US"/>
                  <a:t>Volume Mn</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Century Gothic" panose="020B0502020202020204" pitchFamily="34" charset="0"/>
                  <a:ea typeface="+mn-ea"/>
                  <a:cs typeface="+mn-cs"/>
                </a:defRPr>
              </a:pPr>
              <a:endParaRPr lang="en-US"/>
            </a:p>
          </c:txPr>
        </c:title>
        <c:numFmt formatCode="_(* #,##0.0_);_(* \(#,##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crossAx val="1739532992"/>
        <c:crosses val="max"/>
        <c:crossBetween val="between"/>
      </c:valAx>
      <c:catAx>
        <c:axId val="1739532992"/>
        <c:scaling>
          <c:orientation val="minMax"/>
        </c:scaling>
        <c:delete val="1"/>
        <c:axPos val="b"/>
        <c:numFmt formatCode="General" sourceLinked="1"/>
        <c:majorTickMark val="out"/>
        <c:minorTickMark val="none"/>
        <c:tickLblPos val="nextTo"/>
        <c:crossAx val="17395305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a:noFill/>
    </a:ln>
    <a:effectLst/>
  </c:spPr>
  <c:txPr>
    <a:bodyPr/>
    <a:lstStyle/>
    <a:p>
      <a:pPr>
        <a:defRPr b="1">
          <a:solidFill>
            <a:schemeClr val="tx1"/>
          </a:solidFill>
          <a:latin typeface="Century Gothic" panose="020B0502020202020204" pitchFamily="34" charset="0"/>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r>
              <a:rPr lang="en-US"/>
              <a:t>Number and value of KEPSS transact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KEPPS!$B$240</c:f>
              <c:strCache>
                <c:ptCount val="1"/>
                <c:pt idx="0">
                  <c:v>Volume -Millions</c:v>
                </c:pt>
              </c:strCache>
            </c:strRef>
          </c:tx>
          <c:spPr>
            <a:solidFill>
              <a:schemeClr val="accent1"/>
            </a:solidFill>
            <a:ln>
              <a:noFill/>
            </a:ln>
            <a:effectLst/>
          </c:spPr>
          <c:invertIfNegative val="0"/>
          <c:cat>
            <c:numRef>
              <c:f>KEPPS!$A$241:$A$245</c:f>
              <c:numCache>
                <c:formatCode>General</c:formatCode>
                <c:ptCount val="5"/>
                <c:pt idx="0">
                  <c:v>2020</c:v>
                </c:pt>
                <c:pt idx="1">
                  <c:v>2021</c:v>
                </c:pt>
                <c:pt idx="2">
                  <c:v>2022</c:v>
                </c:pt>
                <c:pt idx="3">
                  <c:v>2023</c:v>
                </c:pt>
                <c:pt idx="4">
                  <c:v>2024</c:v>
                </c:pt>
              </c:numCache>
            </c:numRef>
          </c:cat>
          <c:val>
            <c:numRef>
              <c:f>KEPPS!$B$241:$B$245</c:f>
              <c:numCache>
                <c:formatCode>_(* #,##0.0_);_(* \(#,##0.0\);_(* "-"??_);_(@_)</c:formatCode>
                <c:ptCount val="5"/>
                <c:pt idx="0">
                  <c:v>5.3248769999999999</c:v>
                </c:pt>
                <c:pt idx="1">
                  <c:v>6.4374799999999999</c:v>
                </c:pt>
                <c:pt idx="2">
                  <c:v>7.0713699999999999</c:v>
                </c:pt>
                <c:pt idx="3">
                  <c:v>7.8474589999999997</c:v>
                </c:pt>
                <c:pt idx="4">
                  <c:v>8.7340134999999997</c:v>
                </c:pt>
              </c:numCache>
            </c:numRef>
          </c:val>
          <c:extLst>
            <c:ext xmlns:c16="http://schemas.microsoft.com/office/drawing/2014/chart" uri="{C3380CC4-5D6E-409C-BE32-E72D297353CC}">
              <c16:uniqueId val="{00000000-00AC-4DC2-A2E9-BDE7031B50C1}"/>
            </c:ext>
          </c:extLst>
        </c:ser>
        <c:dLbls>
          <c:showLegendKey val="0"/>
          <c:showVal val="0"/>
          <c:showCatName val="0"/>
          <c:showSerName val="0"/>
          <c:showPercent val="0"/>
          <c:showBubbleSize val="0"/>
        </c:dLbls>
        <c:gapWidth val="150"/>
        <c:axId val="109437120"/>
        <c:axId val="109445280"/>
      </c:barChart>
      <c:lineChart>
        <c:grouping val="standard"/>
        <c:varyColors val="0"/>
        <c:ser>
          <c:idx val="1"/>
          <c:order val="1"/>
          <c:tx>
            <c:strRef>
              <c:f>KEPPS!$C$240</c:f>
              <c:strCache>
                <c:ptCount val="1"/>
                <c:pt idx="0">
                  <c:v>Value (KshsTrillion)</c:v>
                </c:pt>
              </c:strCache>
            </c:strRef>
          </c:tx>
          <c:spPr>
            <a:ln w="28575" cap="rnd">
              <a:solidFill>
                <a:schemeClr val="accent2"/>
              </a:solidFill>
              <a:round/>
            </a:ln>
            <a:effectLst/>
          </c:spPr>
          <c:marker>
            <c:symbol val="none"/>
          </c:marker>
          <c:cat>
            <c:numRef>
              <c:f>KEPPS!$A$241:$A$245</c:f>
              <c:numCache>
                <c:formatCode>General</c:formatCode>
                <c:ptCount val="5"/>
                <c:pt idx="0">
                  <c:v>2020</c:v>
                </c:pt>
                <c:pt idx="1">
                  <c:v>2021</c:v>
                </c:pt>
                <c:pt idx="2">
                  <c:v>2022</c:v>
                </c:pt>
                <c:pt idx="3">
                  <c:v>2023</c:v>
                </c:pt>
                <c:pt idx="4">
                  <c:v>2024</c:v>
                </c:pt>
              </c:numCache>
            </c:numRef>
          </c:cat>
          <c:val>
            <c:numRef>
              <c:f>KEPPS!$C$241:$C$245</c:f>
              <c:numCache>
                <c:formatCode>_(* #,##0.0_);_(* \(#,##0.0\);_(* "-"??_);_(@_)</c:formatCode>
                <c:ptCount val="5"/>
                <c:pt idx="0">
                  <c:v>33.060817976000003</c:v>
                </c:pt>
                <c:pt idx="1">
                  <c:v>34.545231160000007</c:v>
                </c:pt>
                <c:pt idx="2">
                  <c:v>38.151739380000009</c:v>
                </c:pt>
                <c:pt idx="3">
                  <c:v>41.742946889999999</c:v>
                </c:pt>
                <c:pt idx="4">
                  <c:v>45.712580144654332</c:v>
                </c:pt>
              </c:numCache>
            </c:numRef>
          </c:val>
          <c:smooth val="0"/>
          <c:extLst>
            <c:ext xmlns:c16="http://schemas.microsoft.com/office/drawing/2014/chart" uri="{C3380CC4-5D6E-409C-BE32-E72D297353CC}">
              <c16:uniqueId val="{00000001-00AC-4DC2-A2E9-BDE7031B50C1}"/>
            </c:ext>
          </c:extLst>
        </c:ser>
        <c:dLbls>
          <c:showLegendKey val="0"/>
          <c:showVal val="0"/>
          <c:showCatName val="0"/>
          <c:showSerName val="0"/>
          <c:showPercent val="0"/>
          <c:showBubbleSize val="0"/>
        </c:dLbls>
        <c:marker val="1"/>
        <c:smooth val="0"/>
        <c:axId val="1449056127"/>
        <c:axId val="1449066207"/>
      </c:lineChart>
      <c:catAx>
        <c:axId val="1449056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449066207"/>
        <c:crosses val="autoZero"/>
        <c:auto val="1"/>
        <c:lblAlgn val="ctr"/>
        <c:lblOffset val="100"/>
        <c:noMultiLvlLbl val="0"/>
      </c:catAx>
      <c:valAx>
        <c:axId val="1449066207"/>
        <c:scaling>
          <c:orientation val="minMax"/>
        </c:scaling>
        <c:delete val="0"/>
        <c:axPos val="l"/>
        <c:title>
          <c:tx>
            <c:rich>
              <a:bodyPr rot="-5400000" spcFirstLastPara="1" vertOverflow="ellipsis" vert="horz" wrap="square" anchor="ctr" anchorCtr="1"/>
              <a:lstStyle/>
              <a:p>
                <a:pPr>
                  <a:defRPr sz="1000" b="1" i="0" u="none" strike="noStrike" kern="1200" baseline="0">
                    <a:solidFill>
                      <a:srgbClr val="000C18"/>
                    </a:solidFill>
                    <a:latin typeface="Century Gothic" panose="020B0502020202020204" pitchFamily="34" charset="0"/>
                    <a:ea typeface="+mn-ea"/>
                    <a:cs typeface="+mn-cs"/>
                  </a:defRPr>
                </a:pPr>
                <a:r>
                  <a:rPr lang="en-US"/>
                  <a:t>Value in Trillions</a:t>
                </a: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000C18"/>
                  </a:solidFill>
                  <a:latin typeface="Century Gothic" panose="020B0502020202020204" pitchFamily="34" charset="0"/>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449056127"/>
        <c:crosses val="autoZero"/>
        <c:crossBetween val="between"/>
      </c:valAx>
      <c:valAx>
        <c:axId val="109445280"/>
        <c:scaling>
          <c:orientation val="minMax"/>
        </c:scaling>
        <c:delete val="0"/>
        <c:axPos val="r"/>
        <c:title>
          <c:tx>
            <c:rich>
              <a:bodyPr rot="-5400000" spcFirstLastPara="1" vertOverflow="ellipsis" vert="horz" wrap="square" anchor="ctr" anchorCtr="1"/>
              <a:lstStyle/>
              <a:p>
                <a:pPr>
                  <a:defRPr sz="1000" b="1" i="0" u="none" strike="noStrike" kern="1200" baseline="0">
                    <a:solidFill>
                      <a:srgbClr val="000C18"/>
                    </a:solidFill>
                    <a:latin typeface="Century Gothic" panose="020B0502020202020204" pitchFamily="34" charset="0"/>
                    <a:ea typeface="+mn-ea"/>
                    <a:cs typeface="+mn-cs"/>
                  </a:defRPr>
                </a:pPr>
                <a:r>
                  <a:rPr lang="en-US"/>
                  <a:t>Number of transactions in Millions</a:t>
                </a:r>
              </a:p>
            </c:rich>
          </c:tx>
          <c:layout>
            <c:manualLayout>
              <c:xMode val="edge"/>
              <c:yMode val="edge"/>
              <c:x val="0.92586753126447419"/>
              <c:y val="9.4218750000000018E-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rgbClr val="000C18"/>
                  </a:solidFill>
                  <a:latin typeface="Century Gothic" panose="020B0502020202020204" pitchFamily="34" charset="0"/>
                  <a:ea typeface="+mn-ea"/>
                  <a:cs typeface="+mn-cs"/>
                </a:defRPr>
              </a:pPr>
              <a:endParaRPr lang="en-US"/>
            </a:p>
          </c:txPr>
        </c:title>
        <c:numFmt formatCode="_(* #,##0.0_);_(* \(#,##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09437120"/>
        <c:crosses val="max"/>
        <c:crossBetween val="between"/>
      </c:valAx>
      <c:catAx>
        <c:axId val="109437120"/>
        <c:scaling>
          <c:orientation val="minMax"/>
        </c:scaling>
        <c:delete val="1"/>
        <c:axPos val="b"/>
        <c:numFmt formatCode="General" sourceLinked="1"/>
        <c:majorTickMark val="out"/>
        <c:minorTickMark val="none"/>
        <c:tickLblPos val="nextTo"/>
        <c:crossAx val="109445280"/>
        <c:crosses val="autoZero"/>
        <c:auto val="1"/>
        <c:lblAlgn val="ctr"/>
        <c:lblOffset val="100"/>
        <c:noMultiLvlLbl val="0"/>
      </c:cat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legend>
    <c:plotVisOnly val="1"/>
    <c:dispBlanksAs val="gap"/>
    <c:showDLblsOverMax val="0"/>
  </c:chart>
  <c:spPr>
    <a:solidFill>
      <a:srgbClr val="FFFFFF"/>
    </a:solidFill>
    <a:ln>
      <a:noFill/>
    </a:ln>
    <a:effectLst/>
  </c:spPr>
  <c:txPr>
    <a:bodyPr/>
    <a:lstStyle/>
    <a:p>
      <a:pPr>
        <a:defRPr b="1">
          <a:solidFill>
            <a:srgbClr val="000C18"/>
          </a:solidFill>
          <a:latin typeface="Century Gothic" panose="020B0502020202020204" pitchFamily="34" charset="0"/>
          <a:ea typeface="+mn-ea"/>
          <a:cs typeface="+mn-cs"/>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F$1</c:f>
              <c:strCache>
                <c:ptCount val="1"/>
                <c:pt idx="0">
                  <c:v>Currency outside banks (%  of GDP)</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Sheet1!$F$2:$F$15</c:f>
              <c:numCache>
                <c:formatCode>0.0</c:formatCode>
                <c:ptCount val="14"/>
                <c:pt idx="0">
                  <c:v>3.2937557213214896</c:v>
                </c:pt>
                <c:pt idx="1">
                  <c:v>3.102304187182054</c:v>
                </c:pt>
                <c:pt idx="2">
                  <c:v>3.0723092821007087</c:v>
                </c:pt>
                <c:pt idx="3">
                  <c:v>2.8851363815113653</c:v>
                </c:pt>
                <c:pt idx="4">
                  <c:v>2.7787809572275846</c:v>
                </c:pt>
                <c:pt idx="5">
                  <c:v>2.7630325415782577</c:v>
                </c:pt>
                <c:pt idx="6">
                  <c:v>2.6572972675385742</c:v>
                </c:pt>
                <c:pt idx="7">
                  <c:v>2.4661333105072449</c:v>
                </c:pt>
                <c:pt idx="8">
                  <c:v>1.9400009669187004</c:v>
                </c:pt>
                <c:pt idx="9">
                  <c:v>2.1808634973267829</c:v>
                </c:pt>
                <c:pt idx="10">
                  <c:v>2.1075139412620039</c:v>
                </c:pt>
                <c:pt idx="11">
                  <c:v>1.9331477579278711</c:v>
                </c:pt>
                <c:pt idx="12">
                  <c:v>1.867067340356434</c:v>
                </c:pt>
                <c:pt idx="13">
                  <c:v>1.7654023142795301</c:v>
                </c:pt>
              </c:numCache>
            </c:numRef>
          </c:val>
          <c:extLst>
            <c:ext xmlns:c16="http://schemas.microsoft.com/office/drawing/2014/chart" uri="{C3380CC4-5D6E-409C-BE32-E72D297353CC}">
              <c16:uniqueId val="{00000000-1150-4778-91A5-2A90F12F2C8F}"/>
            </c:ext>
          </c:extLst>
        </c:ser>
        <c:dLbls>
          <c:dLblPos val="outEnd"/>
          <c:showLegendKey val="0"/>
          <c:showVal val="1"/>
          <c:showCatName val="0"/>
          <c:showSerName val="0"/>
          <c:showPercent val="0"/>
          <c:showBubbleSize val="0"/>
        </c:dLbls>
        <c:gapWidth val="150"/>
        <c:axId val="17890031"/>
        <c:axId val="17886191"/>
      </c:barChart>
      <c:lineChart>
        <c:grouping val="standard"/>
        <c:varyColors val="0"/>
        <c:ser>
          <c:idx val="1"/>
          <c:order val="1"/>
          <c:tx>
            <c:strRef>
              <c:f>Sheet1!$G$1</c:f>
              <c:strCache>
                <c:ptCount val="1"/>
                <c:pt idx="0">
                  <c:v>Currency in circulation  (%  of GDP)</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Sheet1!$G$2:$G$15</c:f>
              <c:numCache>
                <c:formatCode>0.0</c:formatCode>
                <c:ptCount val="14"/>
                <c:pt idx="0">
                  <c:v>4.137886770682333</c:v>
                </c:pt>
                <c:pt idx="1">
                  <c:v>3.9382327307045184</c:v>
                </c:pt>
                <c:pt idx="2">
                  <c:v>3.9537371744294543</c:v>
                </c:pt>
                <c:pt idx="3">
                  <c:v>3.6964625986273774</c:v>
                </c:pt>
                <c:pt idx="4">
                  <c:v>3.4997067550913181</c:v>
                </c:pt>
                <c:pt idx="5">
                  <c:v>3.4597339305028245</c:v>
                </c:pt>
                <c:pt idx="6">
                  <c:v>3.2906519394149467</c:v>
                </c:pt>
                <c:pt idx="7">
                  <c:v>3.0866114270264342</c:v>
                </c:pt>
                <c:pt idx="8">
                  <c:v>2.5293227839710175</c:v>
                </c:pt>
                <c:pt idx="9">
                  <c:v>2.7115415728959991</c:v>
                </c:pt>
                <c:pt idx="10">
                  <c:v>2.5797049586925929</c:v>
                </c:pt>
                <c:pt idx="11">
                  <c:v>2.4156755666816303</c:v>
                </c:pt>
                <c:pt idx="12">
                  <c:v>2.3249679922445701</c:v>
                </c:pt>
                <c:pt idx="13">
                  <c:v>2.2411581537473619</c:v>
                </c:pt>
              </c:numCache>
            </c:numRef>
          </c:val>
          <c:smooth val="0"/>
          <c:extLst>
            <c:ext xmlns:c16="http://schemas.microsoft.com/office/drawing/2014/chart" uri="{C3380CC4-5D6E-409C-BE32-E72D297353CC}">
              <c16:uniqueId val="{00000001-1150-4778-91A5-2A90F12F2C8F}"/>
            </c:ext>
          </c:extLst>
        </c:ser>
        <c:dLbls>
          <c:showLegendKey val="0"/>
          <c:showVal val="0"/>
          <c:showCatName val="0"/>
          <c:showSerName val="0"/>
          <c:showPercent val="0"/>
          <c:showBubbleSize val="0"/>
        </c:dLbls>
        <c:marker val="1"/>
        <c:smooth val="0"/>
        <c:axId val="17890031"/>
        <c:axId val="17886191"/>
      </c:lineChart>
      <c:catAx>
        <c:axId val="17890031"/>
        <c:scaling>
          <c:orientation val="minMax"/>
        </c:scaling>
        <c:delete val="0"/>
        <c:axPos val="b"/>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crossAx val="17886191"/>
        <c:crosses val="autoZero"/>
        <c:auto val="1"/>
        <c:lblAlgn val="ctr"/>
        <c:lblOffset val="100"/>
        <c:noMultiLvlLbl val="0"/>
      </c:catAx>
      <c:valAx>
        <c:axId val="17886191"/>
        <c:scaling>
          <c:orientation val="minMax"/>
        </c:scaling>
        <c:delete val="1"/>
        <c:axPos val="l"/>
        <c:numFmt formatCode="0.0" sourceLinked="1"/>
        <c:majorTickMark val="none"/>
        <c:minorTickMark val="none"/>
        <c:tickLblPos val="nextTo"/>
        <c:crossAx val="178900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r>
              <a:rPr lang="en-US" b="1">
                <a:solidFill>
                  <a:schemeClr val="tx1"/>
                </a:solidFill>
              </a:rPr>
              <a:t>Country comparison, currency in circulation, % of </a:t>
            </a:r>
            <a:r>
              <a:rPr lang="en-US" b="1">
                <a:solidFill>
                  <a:schemeClr val="accent6"/>
                </a:solidFill>
              </a:rPr>
              <a:t>Nominal</a:t>
            </a:r>
            <a:r>
              <a:rPr lang="en-US" b="1">
                <a:solidFill>
                  <a:schemeClr val="tx1"/>
                </a:solidFill>
              </a:rPr>
              <a:t> GDP, 2022</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manualLayout>
          <c:layoutTarget val="inner"/>
          <c:xMode val="edge"/>
          <c:yMode val="edge"/>
          <c:x val="0.14268321221193841"/>
          <c:y val="0.14750066152039371"/>
          <c:w val="0.83399193394719739"/>
          <c:h val="0.8427018935812336"/>
        </c:manualLayout>
      </c:layout>
      <c:barChart>
        <c:barDir val="bar"/>
        <c:grouping val="clustered"/>
        <c:varyColors val="0"/>
        <c:ser>
          <c:idx val="0"/>
          <c:order val="0"/>
          <c:spPr>
            <a:solidFill>
              <a:schemeClr val="accent1"/>
            </a:solidFill>
            <a:ln>
              <a:noFill/>
            </a:ln>
            <a:effectLst/>
          </c:spPr>
          <c:invertIfNegative val="0"/>
          <c:dPt>
            <c:idx val="5"/>
            <c:invertIfNegative val="0"/>
            <c:bubble3D val="0"/>
            <c:spPr>
              <a:solidFill>
                <a:srgbClr val="FF0000"/>
              </a:solidFill>
              <a:ln>
                <a:noFill/>
              </a:ln>
              <a:effectLst/>
            </c:spPr>
            <c:extLst>
              <c:ext xmlns:c16="http://schemas.microsoft.com/office/drawing/2014/chart" uri="{C3380CC4-5D6E-409C-BE32-E72D297353CC}">
                <c16:uniqueId val="{00000001-3A4E-4F8E-8423-783133F9EA03}"/>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26:$L$31</c:f>
              <c:strCache>
                <c:ptCount val="6"/>
                <c:pt idx="0">
                  <c:v>India</c:v>
                </c:pt>
                <c:pt idx="1">
                  <c:v>USA</c:v>
                </c:pt>
                <c:pt idx="2">
                  <c:v>Uganda</c:v>
                </c:pt>
                <c:pt idx="3">
                  <c:v>Brazil</c:v>
                </c:pt>
                <c:pt idx="4">
                  <c:v>South Africa</c:v>
                </c:pt>
                <c:pt idx="5">
                  <c:v>Kenya</c:v>
                </c:pt>
              </c:strCache>
            </c:strRef>
          </c:cat>
          <c:val>
            <c:numRef>
              <c:f>Sheet1!$M$26:$M$31</c:f>
              <c:numCache>
                <c:formatCode>0.0</c:formatCode>
                <c:ptCount val="6"/>
                <c:pt idx="0" formatCode="General">
                  <c:v>12.2</c:v>
                </c:pt>
                <c:pt idx="1">
                  <c:v>9</c:v>
                </c:pt>
                <c:pt idx="2" formatCode="General">
                  <c:v>5.3</c:v>
                </c:pt>
                <c:pt idx="3" formatCode="General">
                  <c:v>3.4</c:v>
                </c:pt>
                <c:pt idx="4" formatCode="General">
                  <c:v>2.7</c:v>
                </c:pt>
                <c:pt idx="5" formatCode="General">
                  <c:v>2.4</c:v>
                </c:pt>
              </c:numCache>
            </c:numRef>
          </c:val>
          <c:extLst>
            <c:ext xmlns:c16="http://schemas.microsoft.com/office/drawing/2014/chart" uri="{C3380CC4-5D6E-409C-BE32-E72D297353CC}">
              <c16:uniqueId val="{00000000-3A4E-4F8E-8423-783133F9EA03}"/>
            </c:ext>
          </c:extLst>
        </c:ser>
        <c:dLbls>
          <c:dLblPos val="outEnd"/>
          <c:showLegendKey val="0"/>
          <c:showVal val="1"/>
          <c:showCatName val="0"/>
          <c:showSerName val="0"/>
          <c:showPercent val="0"/>
          <c:showBubbleSize val="0"/>
        </c:dLbls>
        <c:gapWidth val="182"/>
        <c:axId val="1871411104"/>
        <c:axId val="1871402464"/>
      </c:barChart>
      <c:catAx>
        <c:axId val="1871411104"/>
        <c:scaling>
          <c:orientation val="minMax"/>
        </c:scaling>
        <c:delete val="0"/>
        <c:axPos val="l"/>
        <c:numFmt formatCode="General" sourceLinked="1"/>
        <c:majorTickMark val="none"/>
        <c:minorTickMark val="none"/>
        <c:tickLblPos val="nextTo"/>
        <c:spPr>
          <a:noFill/>
          <a:ln w="12700"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1050" b="1" i="0" u="none" strike="noStrike" kern="1200" baseline="0">
                <a:solidFill>
                  <a:schemeClr val="tx1"/>
                </a:solidFill>
                <a:latin typeface="Century Gothic" panose="020B0502020202020204" pitchFamily="34" charset="0"/>
                <a:ea typeface="+mn-ea"/>
                <a:cs typeface="+mn-cs"/>
              </a:defRPr>
            </a:pPr>
            <a:endParaRPr lang="en-US"/>
          </a:p>
        </c:txPr>
        <c:crossAx val="1871402464"/>
        <c:crosses val="autoZero"/>
        <c:auto val="1"/>
        <c:lblAlgn val="ctr"/>
        <c:lblOffset val="100"/>
        <c:noMultiLvlLbl val="0"/>
      </c:catAx>
      <c:valAx>
        <c:axId val="1871402464"/>
        <c:scaling>
          <c:orientation val="minMax"/>
        </c:scaling>
        <c:delete val="1"/>
        <c:axPos val="b"/>
        <c:numFmt formatCode="General" sourceLinked="1"/>
        <c:majorTickMark val="none"/>
        <c:minorTickMark val="none"/>
        <c:tickLblPos val="nextTo"/>
        <c:crossAx val="1871411104"/>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sz="1400" b="1" i="0" u="none" strike="noStrike" kern="1200" spc="0" baseline="0">
                <a:solidFill>
                  <a:schemeClr val="tx1"/>
                </a:solidFill>
                <a:latin typeface="Century Gothic" panose="020B0502020202020204" pitchFamily="34" charset="0"/>
              </a:rPr>
              <a:t>Country comparison, currency in circulation, % of </a:t>
            </a:r>
            <a:r>
              <a:rPr lang="en-US" sz="1400" b="1" i="0" u="none" strike="noStrike" kern="1200" spc="0" baseline="0">
                <a:solidFill>
                  <a:srgbClr val="FF0000"/>
                </a:solidFill>
                <a:latin typeface="Century Gothic" panose="020B0502020202020204" pitchFamily="34" charset="0"/>
              </a:rPr>
              <a:t>Real</a:t>
            </a:r>
            <a:r>
              <a:rPr lang="en-US" sz="1400" b="1" i="0" u="none" strike="noStrike" kern="1200" spc="0" baseline="0">
                <a:solidFill>
                  <a:schemeClr val="tx1"/>
                </a:solidFill>
                <a:latin typeface="Century Gothic" panose="020B0502020202020204" pitchFamily="34" charset="0"/>
              </a:rPr>
              <a:t> GDP, 2024</a:t>
            </a:r>
          </a:p>
        </c:rich>
      </c:tx>
      <c:layout>
        <c:manualLayout>
          <c:xMode val="edge"/>
          <c:yMode val="edge"/>
          <c:x val="0.16201597930914804"/>
          <c:y val="3.304434707492480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6"/>
            <c:invertIfNegative val="0"/>
            <c:bubble3D val="0"/>
            <c:spPr>
              <a:solidFill>
                <a:srgbClr val="FF0000"/>
              </a:solidFill>
              <a:ln>
                <a:noFill/>
              </a:ln>
              <a:effectLst/>
            </c:spPr>
            <c:extLst>
              <c:ext xmlns:c16="http://schemas.microsoft.com/office/drawing/2014/chart" uri="{C3380CC4-5D6E-409C-BE32-E72D297353CC}">
                <c16:uniqueId val="{00000001-F5E5-4C03-91F5-83A7778CE781}"/>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dk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sh Displacement'!$E$54:$E$60</c:f>
              <c:strCache>
                <c:ptCount val="7"/>
                <c:pt idx="0">
                  <c:v>China Mainland</c:v>
                </c:pt>
                <c:pt idx="1">
                  <c:v>United States</c:v>
                </c:pt>
                <c:pt idx="2">
                  <c:v>Brazil</c:v>
                </c:pt>
                <c:pt idx="3">
                  <c:v>Tanzania</c:v>
                </c:pt>
                <c:pt idx="4">
                  <c:v>Uganda</c:v>
                </c:pt>
                <c:pt idx="5">
                  <c:v>South Africa</c:v>
                </c:pt>
                <c:pt idx="6">
                  <c:v>Kenya</c:v>
                </c:pt>
              </c:strCache>
            </c:strRef>
          </c:cat>
          <c:val>
            <c:numRef>
              <c:f>'cash Displacement'!$F$54:$F$60</c:f>
              <c:numCache>
                <c:formatCode>0.0%</c:formatCode>
                <c:ptCount val="7"/>
                <c:pt idx="0">
                  <c:v>0.34352947997643146</c:v>
                </c:pt>
                <c:pt idx="1">
                  <c:v>9.9388960053804709E-2</c:v>
                </c:pt>
                <c:pt idx="2">
                  <c:v>7.6921094389163502E-2</c:v>
                </c:pt>
                <c:pt idx="3">
                  <c:v>5.8531803192782443E-2</c:v>
                </c:pt>
                <c:pt idx="4">
                  <c:v>5.0674483065600053E-2</c:v>
                </c:pt>
                <c:pt idx="5">
                  <c:v>3.8835112574187758E-2</c:v>
                </c:pt>
                <c:pt idx="6">
                  <c:v>2.907445674686537E-2</c:v>
                </c:pt>
              </c:numCache>
            </c:numRef>
          </c:val>
          <c:extLst>
            <c:ext xmlns:c16="http://schemas.microsoft.com/office/drawing/2014/chart" uri="{C3380CC4-5D6E-409C-BE32-E72D297353CC}">
              <c16:uniqueId val="{00000000-F5E5-4C03-91F5-83A7778CE781}"/>
            </c:ext>
          </c:extLst>
        </c:ser>
        <c:dLbls>
          <c:showLegendKey val="0"/>
          <c:showVal val="0"/>
          <c:showCatName val="0"/>
          <c:showSerName val="0"/>
          <c:showPercent val="0"/>
          <c:showBubbleSize val="0"/>
        </c:dLbls>
        <c:gapWidth val="182"/>
        <c:axId val="694623344"/>
        <c:axId val="694622384"/>
      </c:barChart>
      <c:catAx>
        <c:axId val="694623344"/>
        <c:scaling>
          <c:orientation val="minMax"/>
        </c:scaling>
        <c:delete val="0"/>
        <c:axPos val="l"/>
        <c:numFmt formatCode="General" sourceLinked="1"/>
        <c:majorTickMark val="none"/>
        <c:minorTickMark val="none"/>
        <c:tickLblPos val="nextTo"/>
        <c:spPr>
          <a:noFill/>
          <a:ln w="12700" cap="flat" cmpd="sng" algn="ctr">
            <a:solidFill>
              <a:schemeClr val="dk1">
                <a:shade val="95000"/>
                <a:satMod val="105000"/>
              </a:schemeClr>
            </a:solidFill>
            <a:prstDash val="solid"/>
            <a:round/>
          </a:ln>
          <a:effectLst/>
        </c:spPr>
        <c:txPr>
          <a:bodyPr rot="-6000000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crossAx val="694622384"/>
        <c:crosses val="autoZero"/>
        <c:auto val="1"/>
        <c:lblAlgn val="ctr"/>
        <c:lblOffset val="100"/>
        <c:noMultiLvlLbl val="0"/>
      </c:catAx>
      <c:valAx>
        <c:axId val="694622384"/>
        <c:scaling>
          <c:orientation val="minMax"/>
        </c:scaling>
        <c:delete val="1"/>
        <c:axPos val="b"/>
        <c:numFmt formatCode="0.0%" sourceLinked="1"/>
        <c:majorTickMark val="none"/>
        <c:minorTickMark val="none"/>
        <c:tickLblPos val="nextTo"/>
        <c:crossAx val="6946233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w="25400" cap="flat" cmpd="sng" algn="ctr">
      <a:solidFill>
        <a:schemeClr val="bg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r>
              <a:rPr lang="en-US" b="1">
                <a:latin typeface="Century Gothic" panose="020B0502020202020204" pitchFamily="34" charset="0"/>
              </a:rPr>
              <a:t>Inward Remittances to Kenya (USD Millions)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endParaRPr lang="en-US"/>
        </a:p>
      </c:txPr>
    </c:title>
    <c:autoTitleDeleted val="0"/>
    <c:plotArea>
      <c:layout>
        <c:manualLayout>
          <c:layoutTarget val="inner"/>
          <c:xMode val="edge"/>
          <c:yMode val="edge"/>
          <c:x val="6.1795142088089387E-2"/>
          <c:y val="0.13404961538334842"/>
          <c:w val="0.89362826256274253"/>
          <c:h val="0.72323843749121031"/>
        </c:manualLayout>
      </c:layout>
      <c:barChart>
        <c:barDir val="col"/>
        <c:grouping val="clustered"/>
        <c:varyColors val="0"/>
        <c:ser>
          <c:idx val="0"/>
          <c:order val="0"/>
          <c:tx>
            <c:strRef>
              <c:f>Sheet2!$B$2</c:f>
              <c:strCache>
                <c:ptCount val="1"/>
                <c:pt idx="0">
                  <c:v> Remittances (USD Millions) </c:v>
                </c:pt>
              </c:strCache>
            </c:strRef>
          </c:tx>
          <c:spPr>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C$1:$W$1</c:f>
              <c:strCache>
                <c:ptCount val="21"/>
                <c:pt idx="0">
                  <c:v> 2004 </c:v>
                </c:pt>
                <c:pt idx="1">
                  <c:v> 2005 </c:v>
                </c:pt>
                <c:pt idx="2">
                  <c:v> 2006 </c:v>
                </c:pt>
                <c:pt idx="3">
                  <c:v> 2007 </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pt idx="19">
                  <c:v>2023</c:v>
                </c:pt>
                <c:pt idx="20">
                  <c:v>2024</c:v>
                </c:pt>
              </c:strCache>
            </c:strRef>
          </c:cat>
          <c:val>
            <c:numRef>
              <c:f>Sheet2!$C$2:$W$2</c:f>
              <c:numCache>
                <c:formatCode>_(* #,##0_);_(* \(#,##0\);_(* "-"??_);_(@_)</c:formatCode>
                <c:ptCount val="21"/>
                <c:pt idx="0">
                  <c:v>338.32600000000002</c:v>
                </c:pt>
                <c:pt idx="1">
                  <c:v>382.15699999999998</c:v>
                </c:pt>
                <c:pt idx="2">
                  <c:v>407.59399999999999</c:v>
                </c:pt>
                <c:pt idx="3">
                  <c:v>573.64300000000003</c:v>
                </c:pt>
                <c:pt idx="4">
                  <c:v>611.24099999999999</c:v>
                </c:pt>
                <c:pt idx="5">
                  <c:v>608.98322812999993</c:v>
                </c:pt>
                <c:pt idx="6">
                  <c:v>641.94285000000002</c:v>
                </c:pt>
                <c:pt idx="7">
                  <c:v>891.10930000000008</c:v>
                </c:pt>
                <c:pt idx="8">
                  <c:v>1170.8931149000002</c:v>
                </c:pt>
                <c:pt idx="9">
                  <c:v>1290.57456</c:v>
                </c:pt>
                <c:pt idx="10">
                  <c:v>1428.4819000000002</c:v>
                </c:pt>
                <c:pt idx="11">
                  <c:v>1548.0321900000001</c:v>
                </c:pt>
                <c:pt idx="12">
                  <c:v>1724.3031299999998</c:v>
                </c:pt>
                <c:pt idx="13">
                  <c:v>1946.9038699999996</c:v>
                </c:pt>
                <c:pt idx="14">
                  <c:v>2697.4627299999997</c:v>
                </c:pt>
                <c:pt idx="15">
                  <c:v>2796.4147390588996</c:v>
                </c:pt>
                <c:pt idx="16">
                  <c:v>3094.2719004165069</c:v>
                </c:pt>
                <c:pt idx="17">
                  <c:v>3717.8931976925078</c:v>
                </c:pt>
                <c:pt idx="18">
                  <c:v>4027.8823370907739</c:v>
                </c:pt>
                <c:pt idx="19">
                  <c:v>4189.9201985134878</c:v>
                </c:pt>
                <c:pt idx="20">
                  <c:v>4945.2225850602672</c:v>
                </c:pt>
              </c:numCache>
            </c:numRef>
          </c:val>
          <c:extLst>
            <c:ext xmlns:c16="http://schemas.microsoft.com/office/drawing/2014/chart" uri="{C3380CC4-5D6E-409C-BE32-E72D297353CC}">
              <c16:uniqueId val="{00000000-C5B5-43FD-84F4-FCA6E66B954F}"/>
            </c:ext>
          </c:extLst>
        </c:ser>
        <c:dLbls>
          <c:showLegendKey val="0"/>
          <c:showVal val="0"/>
          <c:showCatName val="0"/>
          <c:showSerName val="0"/>
          <c:showPercent val="0"/>
          <c:showBubbleSize val="0"/>
        </c:dLbls>
        <c:gapWidth val="219"/>
        <c:overlap val="-27"/>
        <c:axId val="1776658239"/>
        <c:axId val="1776661599"/>
      </c:barChart>
      <c:catAx>
        <c:axId val="177665823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crossAx val="1776661599"/>
        <c:crosses val="autoZero"/>
        <c:auto val="1"/>
        <c:lblAlgn val="ctr"/>
        <c:lblOffset val="100"/>
        <c:noMultiLvlLbl val="0"/>
      </c:catAx>
      <c:valAx>
        <c:axId val="1776661599"/>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crossAx val="1776658239"/>
        <c:crosses val="autoZero"/>
        <c:crossBetween val="between"/>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w="25400" cap="flat" cmpd="sng" algn="ctr">
      <a:solidFill>
        <a:schemeClr val="tx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Abadi" panose="020B0604020104020204" pitchFamily="34" charset="0"/>
                <a:ea typeface="+mn-ea"/>
                <a:cs typeface="+mn-cs"/>
              </a:defRPr>
            </a:pPr>
            <a:r>
              <a:rPr lang="en-US"/>
              <a:t>Instant Payment as a percentage of Retail Payme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Abadi" panose="020B0604020104020204" pitchFamily="34" charset="0"/>
              <a:ea typeface="+mn-ea"/>
              <a:cs typeface="+mn-cs"/>
            </a:defRPr>
          </a:pPr>
          <a:endParaRPr lang="en-US"/>
        </a:p>
      </c:txPr>
    </c:title>
    <c:autoTitleDeleted val="0"/>
    <c:plotArea>
      <c:layout/>
      <c:barChart>
        <c:barDir val="bar"/>
        <c:grouping val="clustered"/>
        <c:varyColors val="0"/>
        <c:ser>
          <c:idx val="0"/>
          <c:order val="0"/>
          <c:tx>
            <c:strRef>
              <c:f>'Retail Payments'!$P$6</c:f>
              <c:strCache>
                <c:ptCount val="1"/>
                <c:pt idx="0">
                  <c:v>Instant Paym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ail Payments'!$Q$5:$R$5</c:f>
              <c:strCache>
                <c:ptCount val="2"/>
                <c:pt idx="0">
                  <c:v>Number of transactions</c:v>
                </c:pt>
                <c:pt idx="1">
                  <c:v>Value of transactions</c:v>
                </c:pt>
              </c:strCache>
            </c:strRef>
          </c:cat>
          <c:val>
            <c:numRef>
              <c:f>'Retail Payments'!$Q$6:$R$6</c:f>
              <c:numCache>
                <c:formatCode>0.0%</c:formatCode>
                <c:ptCount val="2"/>
                <c:pt idx="0">
                  <c:v>0.99430606499906404</c:v>
                </c:pt>
                <c:pt idx="1">
                  <c:v>0.89410616078029204</c:v>
                </c:pt>
              </c:numCache>
            </c:numRef>
          </c:val>
          <c:extLst>
            <c:ext xmlns:c16="http://schemas.microsoft.com/office/drawing/2014/chart" uri="{C3380CC4-5D6E-409C-BE32-E72D297353CC}">
              <c16:uniqueId val="{00000000-0B7F-47E2-9802-C496BB22EC70}"/>
            </c:ext>
          </c:extLst>
        </c:ser>
        <c:ser>
          <c:idx val="1"/>
          <c:order val="1"/>
          <c:tx>
            <c:strRef>
              <c:f>'Retail Payments'!$P$7</c:f>
              <c:strCache>
                <c:ptCount val="1"/>
                <c:pt idx="0">
                  <c:v>Other retail Paym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ail Payments'!$Q$5:$R$5</c:f>
              <c:strCache>
                <c:ptCount val="2"/>
                <c:pt idx="0">
                  <c:v>Number of transactions</c:v>
                </c:pt>
                <c:pt idx="1">
                  <c:v>Value of transactions</c:v>
                </c:pt>
              </c:strCache>
            </c:strRef>
          </c:cat>
          <c:val>
            <c:numRef>
              <c:f>'Retail Payments'!$Q$7:$R$7</c:f>
              <c:numCache>
                <c:formatCode>0.0%</c:formatCode>
                <c:ptCount val="2"/>
                <c:pt idx="0">
                  <c:v>5.6939350009359568E-3</c:v>
                </c:pt>
                <c:pt idx="1">
                  <c:v>0.10589383921970796</c:v>
                </c:pt>
              </c:numCache>
            </c:numRef>
          </c:val>
          <c:extLst>
            <c:ext xmlns:c16="http://schemas.microsoft.com/office/drawing/2014/chart" uri="{C3380CC4-5D6E-409C-BE32-E72D297353CC}">
              <c16:uniqueId val="{00000001-0B7F-47E2-9802-C496BB22EC70}"/>
            </c:ext>
          </c:extLst>
        </c:ser>
        <c:dLbls>
          <c:dLblPos val="outEnd"/>
          <c:showLegendKey val="0"/>
          <c:showVal val="1"/>
          <c:showCatName val="0"/>
          <c:showSerName val="0"/>
          <c:showPercent val="0"/>
          <c:showBubbleSize val="0"/>
        </c:dLbls>
        <c:gapWidth val="182"/>
        <c:axId val="644852895"/>
        <c:axId val="644854815"/>
      </c:barChart>
      <c:catAx>
        <c:axId val="644852895"/>
        <c:scaling>
          <c:orientation val="minMax"/>
        </c:scaling>
        <c:delete val="0"/>
        <c:axPos val="l"/>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crossAx val="644854815"/>
        <c:crosses val="autoZero"/>
        <c:auto val="1"/>
        <c:lblAlgn val="ctr"/>
        <c:lblOffset val="100"/>
        <c:noMultiLvlLbl val="0"/>
      </c:catAx>
      <c:valAx>
        <c:axId val="644854815"/>
        <c:scaling>
          <c:orientation val="minMax"/>
        </c:scaling>
        <c:delete val="1"/>
        <c:axPos val="b"/>
        <c:numFmt formatCode="0.0%" sourceLinked="1"/>
        <c:majorTickMark val="none"/>
        <c:minorTickMark val="none"/>
        <c:tickLblPos val="nextTo"/>
        <c:crossAx val="6448528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legend>
    <c:plotVisOnly val="1"/>
    <c:dispBlanksAs val="gap"/>
    <c:showDLblsOverMax val="0"/>
  </c:chart>
  <c:spPr>
    <a:solidFill>
      <a:schemeClr val="lt1"/>
    </a:solidFill>
    <a:ln w="12700" cap="flat" cmpd="sng" algn="ctr">
      <a:solidFill>
        <a:schemeClr val="accent5"/>
      </a:solidFill>
      <a:prstDash val="solid"/>
      <a:miter lim="800000"/>
    </a:ln>
    <a:effectLst/>
  </c:spPr>
  <c:txPr>
    <a:bodyPr/>
    <a:lstStyle/>
    <a:p>
      <a:pPr>
        <a:defRPr>
          <a:solidFill>
            <a:schemeClr val="dk1"/>
          </a:solidFill>
          <a:latin typeface="Abadi" panose="020B0604020104020204" pitchFamily="34" charset="0"/>
          <a:ea typeface="+mn-ea"/>
          <a:cs typeface="+mn-cs"/>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1"/>
          <a:lstStyle/>
          <a:p>
            <a:pPr>
              <a:defRPr sz="1200" b="0" i="0" u="none" strike="noStrike" kern="1200" spc="0" baseline="0">
                <a:solidFill>
                  <a:schemeClr val="dk1"/>
                </a:solidFill>
                <a:latin typeface="Abadi" panose="020B0604020104020204" pitchFamily="34" charset="0"/>
                <a:ea typeface="+mn-ea"/>
                <a:cs typeface="+mn-cs"/>
              </a:defRPr>
            </a:pPr>
            <a:r>
              <a:rPr lang="en-US" sz="1200"/>
              <a:t> Instant Payment as a percentage of Retail and Large Value Payments</a:t>
            </a:r>
          </a:p>
        </c:rich>
      </c:tx>
      <c:layout>
        <c:manualLayout>
          <c:xMode val="edge"/>
          <c:yMode val="edge"/>
          <c:x val="7.8069263871085884E-2"/>
          <c:y val="4.1682831361027725E-2"/>
        </c:manualLayout>
      </c:layout>
      <c:overlay val="0"/>
      <c:spPr>
        <a:noFill/>
        <a:ln>
          <a:noFill/>
        </a:ln>
        <a:effectLst/>
      </c:spPr>
      <c:txPr>
        <a:bodyPr rot="0" spcFirstLastPara="1" vertOverflow="ellipsis" vert="horz" wrap="square" anchor="t" anchorCtr="1"/>
        <a:lstStyle/>
        <a:p>
          <a:pPr>
            <a:defRPr sz="1200" b="0" i="0" u="none" strike="noStrike" kern="1200" spc="0" baseline="0">
              <a:solidFill>
                <a:schemeClr val="dk1"/>
              </a:solidFill>
              <a:latin typeface="Abadi" panose="020B0604020104020204" pitchFamily="34" charset="0"/>
              <a:ea typeface="+mn-ea"/>
              <a:cs typeface="+mn-cs"/>
            </a:defRPr>
          </a:pPr>
          <a:endParaRPr lang="en-US"/>
        </a:p>
      </c:txPr>
    </c:title>
    <c:autoTitleDeleted val="0"/>
    <c:plotArea>
      <c:layout/>
      <c:barChart>
        <c:barDir val="bar"/>
        <c:grouping val="clustered"/>
        <c:varyColors val="0"/>
        <c:ser>
          <c:idx val="0"/>
          <c:order val="0"/>
          <c:tx>
            <c:strRef>
              <c:f>'Retail Payments'!$P$28</c:f>
              <c:strCache>
                <c:ptCount val="1"/>
                <c:pt idx="0">
                  <c:v>Instant Paym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ail Payments'!$Q$27:$R$27</c:f>
              <c:strCache>
                <c:ptCount val="2"/>
                <c:pt idx="0">
                  <c:v>Number of transactions</c:v>
                </c:pt>
                <c:pt idx="1">
                  <c:v>Value of transactions</c:v>
                </c:pt>
              </c:strCache>
            </c:strRef>
          </c:cat>
          <c:val>
            <c:numRef>
              <c:f>'Retail Payments'!$Q$28:$R$28</c:f>
              <c:numCache>
                <c:formatCode>0.0%</c:formatCode>
                <c:ptCount val="2"/>
                <c:pt idx="0">
                  <c:v>0.99396643198571755</c:v>
                </c:pt>
                <c:pt idx="1">
                  <c:v>0.40711535811763816</c:v>
                </c:pt>
              </c:numCache>
            </c:numRef>
          </c:val>
          <c:extLst>
            <c:ext xmlns:c16="http://schemas.microsoft.com/office/drawing/2014/chart" uri="{C3380CC4-5D6E-409C-BE32-E72D297353CC}">
              <c16:uniqueId val="{00000000-76F6-4279-948B-EFF01FD010DD}"/>
            </c:ext>
          </c:extLst>
        </c:ser>
        <c:ser>
          <c:idx val="1"/>
          <c:order val="1"/>
          <c:tx>
            <c:strRef>
              <c:f>'Retail Payments'!$P$29</c:f>
              <c:strCache>
                <c:ptCount val="1"/>
                <c:pt idx="0">
                  <c:v>Other retail Paym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ail Payments'!$Q$27:$R$27</c:f>
              <c:strCache>
                <c:ptCount val="2"/>
                <c:pt idx="0">
                  <c:v>Number of transactions</c:v>
                </c:pt>
                <c:pt idx="1">
                  <c:v>Value of transactions</c:v>
                </c:pt>
              </c:strCache>
            </c:strRef>
          </c:cat>
          <c:val>
            <c:numRef>
              <c:f>'Retail Payments'!$Q$29:$R$29</c:f>
              <c:numCache>
                <c:formatCode>0.0%</c:formatCode>
                <c:ptCount val="2"/>
                <c:pt idx="0">
                  <c:v>6.0335680142824533E-3</c:v>
                </c:pt>
                <c:pt idx="1">
                  <c:v>0.5928846418823619</c:v>
                </c:pt>
              </c:numCache>
            </c:numRef>
          </c:val>
          <c:extLst>
            <c:ext xmlns:c16="http://schemas.microsoft.com/office/drawing/2014/chart" uri="{C3380CC4-5D6E-409C-BE32-E72D297353CC}">
              <c16:uniqueId val="{00000001-76F6-4279-948B-EFF01FD010DD}"/>
            </c:ext>
          </c:extLst>
        </c:ser>
        <c:dLbls>
          <c:dLblPos val="outEnd"/>
          <c:showLegendKey val="0"/>
          <c:showVal val="1"/>
          <c:showCatName val="0"/>
          <c:showSerName val="0"/>
          <c:showPercent val="0"/>
          <c:showBubbleSize val="0"/>
        </c:dLbls>
        <c:gapWidth val="182"/>
        <c:axId val="443435023"/>
        <c:axId val="443437423"/>
      </c:barChart>
      <c:catAx>
        <c:axId val="443435023"/>
        <c:scaling>
          <c:orientation val="minMax"/>
        </c:scaling>
        <c:delete val="0"/>
        <c:axPos val="l"/>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crossAx val="443437423"/>
        <c:crosses val="autoZero"/>
        <c:auto val="1"/>
        <c:lblAlgn val="ctr"/>
        <c:lblOffset val="100"/>
        <c:noMultiLvlLbl val="0"/>
      </c:catAx>
      <c:valAx>
        <c:axId val="443437423"/>
        <c:scaling>
          <c:orientation val="minMax"/>
        </c:scaling>
        <c:delete val="1"/>
        <c:axPos val="b"/>
        <c:numFmt formatCode="0.0%" sourceLinked="1"/>
        <c:majorTickMark val="none"/>
        <c:minorTickMark val="none"/>
        <c:tickLblPos val="nextTo"/>
        <c:crossAx val="443435023"/>
        <c:crosses val="autoZero"/>
        <c:crossBetween val="between"/>
      </c:valAx>
      <c:spPr>
        <a:noFill/>
        <a:ln>
          <a:noFill/>
        </a:ln>
        <a:effectLst/>
      </c:spPr>
    </c:plotArea>
    <c:legend>
      <c:legendPos val="b"/>
      <c:layout>
        <c:manualLayout>
          <c:xMode val="edge"/>
          <c:yMode val="edge"/>
          <c:x val="0.22408245844269467"/>
          <c:y val="0.9003299066783319"/>
          <c:w val="0.69350174978127732"/>
          <c:h val="7.189231554389034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Abadi" panose="020B0604020104020204" pitchFamily="34" charset="0"/>
              <a:ea typeface="+mn-ea"/>
              <a:cs typeface="+mn-cs"/>
            </a:defRPr>
          </a:pPr>
          <a:endParaRPr lang="en-US"/>
        </a:p>
      </c:txPr>
    </c:legend>
    <c:plotVisOnly val="1"/>
    <c:dispBlanksAs val="gap"/>
    <c:showDLblsOverMax val="0"/>
  </c:chart>
  <c:spPr>
    <a:solidFill>
      <a:schemeClr val="lt1"/>
    </a:solidFill>
    <a:ln w="12700" cap="flat" cmpd="sng" algn="ctr">
      <a:solidFill>
        <a:schemeClr val="accent5"/>
      </a:solidFill>
      <a:prstDash val="solid"/>
      <a:miter lim="800000"/>
    </a:ln>
    <a:effectLst/>
  </c:spPr>
  <c:txPr>
    <a:bodyPr/>
    <a:lstStyle/>
    <a:p>
      <a:pPr>
        <a:defRPr>
          <a:solidFill>
            <a:schemeClr val="dk1"/>
          </a:solidFill>
          <a:latin typeface="Abadi" panose="020B0604020104020204" pitchFamily="34" charset="0"/>
          <a:ea typeface="+mn-ea"/>
          <a:cs typeface="+mn-cs"/>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dirty="0">
                <a:solidFill>
                  <a:prstClr val="black"/>
                </a:solidFill>
                <a:latin typeface="Abadi" panose="020B0604020104020204" pitchFamily="34" charset="0"/>
              </a:rPr>
              <a:t>Social Engineering Frauds Reported in 2025</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hart in Microsoft PowerPoint]Fraud Safaricom'!$B$2</c:f>
              <c:strCache>
                <c:ptCount val="1"/>
                <c:pt idx="0">
                  <c:v>Number of Fraud inciden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 in Microsoft PowerPoint]Fraud Safaricom'!$A$11:$A$18</c:f>
              <c:numCache>
                <c:formatCode>mmm\-yy</c:formatCode>
                <c:ptCount val="8"/>
                <c:pt idx="0">
                  <c:v>45658</c:v>
                </c:pt>
                <c:pt idx="1">
                  <c:v>45689</c:v>
                </c:pt>
                <c:pt idx="2">
                  <c:v>45717</c:v>
                </c:pt>
                <c:pt idx="3">
                  <c:v>45748</c:v>
                </c:pt>
                <c:pt idx="4">
                  <c:v>45778</c:v>
                </c:pt>
                <c:pt idx="5">
                  <c:v>45809</c:v>
                </c:pt>
                <c:pt idx="6">
                  <c:v>45839</c:v>
                </c:pt>
                <c:pt idx="7">
                  <c:v>45870</c:v>
                </c:pt>
              </c:numCache>
            </c:numRef>
          </c:cat>
          <c:val>
            <c:numRef>
              <c:f>'[Chart in Microsoft PowerPoint]Fraud Safaricom'!$B$11:$B$18</c:f>
              <c:numCache>
                <c:formatCode>_(* #,##0_);_(* \(#,##0\);_(* "-"??_);_(@_)</c:formatCode>
                <c:ptCount val="8"/>
                <c:pt idx="0">
                  <c:v>24.698</c:v>
                </c:pt>
                <c:pt idx="1">
                  <c:v>23.271999999999998</c:v>
                </c:pt>
                <c:pt idx="2">
                  <c:v>22.282</c:v>
                </c:pt>
                <c:pt idx="3">
                  <c:v>26.231999999999999</c:v>
                </c:pt>
                <c:pt idx="4">
                  <c:v>25.372</c:v>
                </c:pt>
                <c:pt idx="5">
                  <c:v>20.838999999999999</c:v>
                </c:pt>
                <c:pt idx="6">
                  <c:v>26.734000000000002</c:v>
                </c:pt>
                <c:pt idx="7">
                  <c:v>30.055</c:v>
                </c:pt>
              </c:numCache>
            </c:numRef>
          </c:val>
          <c:extLst>
            <c:ext xmlns:c16="http://schemas.microsoft.com/office/drawing/2014/chart" uri="{C3380CC4-5D6E-409C-BE32-E72D297353CC}">
              <c16:uniqueId val="{00000000-666B-4CFE-8BB1-446363D5A63B}"/>
            </c:ext>
          </c:extLst>
        </c:ser>
        <c:dLbls>
          <c:showLegendKey val="0"/>
          <c:showVal val="0"/>
          <c:showCatName val="0"/>
          <c:showSerName val="0"/>
          <c:showPercent val="0"/>
          <c:showBubbleSize val="0"/>
        </c:dLbls>
        <c:gapWidth val="219"/>
        <c:overlap val="-27"/>
        <c:axId val="1857657407"/>
        <c:axId val="1857644447"/>
      </c:barChart>
      <c:lineChart>
        <c:grouping val="standard"/>
        <c:varyColors val="0"/>
        <c:ser>
          <c:idx val="1"/>
          <c:order val="1"/>
          <c:tx>
            <c:strRef>
              <c:f>'[Chart in Microsoft PowerPoint]Fraud Safaricom'!$C$2</c:f>
              <c:strCache>
                <c:ptCount val="1"/>
                <c:pt idx="0">
                  <c:v>Value of Fraud Incidents</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 in Microsoft PowerPoint]Fraud Safaricom'!$A$11:$A$18</c:f>
              <c:numCache>
                <c:formatCode>mmm\-yy</c:formatCode>
                <c:ptCount val="8"/>
                <c:pt idx="0">
                  <c:v>45658</c:v>
                </c:pt>
                <c:pt idx="1">
                  <c:v>45689</c:v>
                </c:pt>
                <c:pt idx="2">
                  <c:v>45717</c:v>
                </c:pt>
                <c:pt idx="3">
                  <c:v>45748</c:v>
                </c:pt>
                <c:pt idx="4">
                  <c:v>45778</c:v>
                </c:pt>
                <c:pt idx="5">
                  <c:v>45809</c:v>
                </c:pt>
                <c:pt idx="6">
                  <c:v>45839</c:v>
                </c:pt>
                <c:pt idx="7">
                  <c:v>45870</c:v>
                </c:pt>
              </c:numCache>
            </c:numRef>
          </c:cat>
          <c:val>
            <c:numRef>
              <c:f>'[Chart in Microsoft PowerPoint]Fraud Safaricom'!$C$11:$C$18</c:f>
              <c:numCache>
                <c:formatCode>_(* #,##0_);_(* \(#,##0\);_(* "-"??_);_(@_)</c:formatCode>
                <c:ptCount val="8"/>
                <c:pt idx="0">
                  <c:v>91.782491459999989</c:v>
                </c:pt>
                <c:pt idx="1">
                  <c:v>84.263699250000002</c:v>
                </c:pt>
                <c:pt idx="2">
                  <c:v>63.420490399999998</c:v>
                </c:pt>
                <c:pt idx="3">
                  <c:v>101.61654725</c:v>
                </c:pt>
                <c:pt idx="4">
                  <c:v>95.196617799999999</c:v>
                </c:pt>
                <c:pt idx="5">
                  <c:v>84.136769889999997</c:v>
                </c:pt>
                <c:pt idx="6">
                  <c:v>91.745490140000001</c:v>
                </c:pt>
                <c:pt idx="7">
                  <c:v>107.66159473</c:v>
                </c:pt>
              </c:numCache>
            </c:numRef>
          </c:val>
          <c:smooth val="0"/>
          <c:extLst>
            <c:ext xmlns:c16="http://schemas.microsoft.com/office/drawing/2014/chart" uri="{C3380CC4-5D6E-409C-BE32-E72D297353CC}">
              <c16:uniqueId val="{00000001-666B-4CFE-8BB1-446363D5A63B}"/>
            </c:ext>
          </c:extLst>
        </c:ser>
        <c:dLbls>
          <c:showLegendKey val="0"/>
          <c:showVal val="0"/>
          <c:showCatName val="0"/>
          <c:showSerName val="0"/>
          <c:showPercent val="0"/>
          <c:showBubbleSize val="0"/>
        </c:dLbls>
        <c:marker val="1"/>
        <c:smooth val="0"/>
        <c:axId val="1857655487"/>
        <c:axId val="1857646847"/>
      </c:lineChart>
      <c:dateAx>
        <c:axId val="185765740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7644447"/>
        <c:crosses val="autoZero"/>
        <c:auto val="1"/>
        <c:lblOffset val="100"/>
        <c:baseTimeUnit val="months"/>
      </c:dateAx>
      <c:valAx>
        <c:axId val="185764444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Number of Transactions '000'</a:t>
                </a:r>
              </a:p>
            </c:rich>
          </c:tx>
          <c:layout>
            <c:manualLayout>
              <c:xMode val="edge"/>
              <c:yMode val="edge"/>
              <c:x val="1.430208783521838E-3"/>
              <c:y val="0.3831885677624975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7657407"/>
        <c:crosses val="autoZero"/>
        <c:crossBetween val="between"/>
      </c:valAx>
      <c:valAx>
        <c:axId val="185764684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 of transactions 'm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7655487"/>
        <c:crosses val="max"/>
        <c:crossBetween val="between"/>
      </c:valAx>
      <c:dateAx>
        <c:axId val="1857655487"/>
        <c:scaling>
          <c:orientation val="minMax"/>
        </c:scaling>
        <c:delete val="1"/>
        <c:axPos val="b"/>
        <c:numFmt formatCode="mmm\-yy" sourceLinked="1"/>
        <c:majorTickMark val="out"/>
        <c:minorTickMark val="none"/>
        <c:tickLblPos val="nextTo"/>
        <c:crossAx val="1857646847"/>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ysClr val="window" lastClr="FFFFFF"/>
    </a:solidFill>
    <a:ln>
      <a:solidFill>
        <a:sysClr val="window" lastClr="FFFFFF">
          <a:lumMod val="85000"/>
        </a:sysClr>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113092273929325E-2"/>
          <c:y val="0.1046650335474765"/>
          <c:w val="0.96756746466490362"/>
          <c:h val="0.78585040425044628"/>
        </c:manualLayout>
      </c:layout>
      <c:barChart>
        <c:barDir val="col"/>
        <c:grouping val="clustered"/>
        <c:varyColors val="0"/>
        <c:ser>
          <c:idx val="0"/>
          <c:order val="0"/>
          <c:tx>
            <c:strRef>
              <c:f>Sheet2!$B$2</c:f>
              <c:strCache>
                <c:ptCount val="1"/>
                <c:pt idx="0">
                  <c:v>2021</c:v>
                </c:pt>
              </c:strCache>
            </c:strRef>
          </c:tx>
          <c:spPr>
            <a:solidFill>
              <a:schemeClr val="accent3">
                <a:lumMod val="7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A$3:$A$7</c:f>
              <c:strCache>
                <c:ptCount val="5"/>
                <c:pt idx="0">
                  <c:v>Percentage growth Mobile</c:v>
                </c:pt>
                <c:pt idx="1">
                  <c:v>Percentage growth KEPSS</c:v>
                </c:pt>
                <c:pt idx="2">
                  <c:v>Percentage growth EFT</c:v>
                </c:pt>
                <c:pt idx="3">
                  <c:v>Percentage growth Cheques</c:v>
                </c:pt>
                <c:pt idx="4">
                  <c:v>Percentage growth Cards</c:v>
                </c:pt>
              </c:strCache>
            </c:strRef>
          </c:cat>
          <c:val>
            <c:numRef>
              <c:f>Sheet2!$B$3:$B$7</c:f>
              <c:numCache>
                <c:formatCode>0.0%</c:formatCode>
                <c:ptCount val="5"/>
                <c:pt idx="0">
                  <c:v>0.35382206081952455</c:v>
                </c:pt>
                <c:pt idx="1">
                  <c:v>0.20894435683678703</c:v>
                </c:pt>
                <c:pt idx="2">
                  <c:v>0.10618558678793213</c:v>
                </c:pt>
                <c:pt idx="3">
                  <c:v>8.6181257170864251E-2</c:v>
                </c:pt>
                <c:pt idx="4">
                  <c:v>0.1963642752448361</c:v>
                </c:pt>
              </c:numCache>
            </c:numRef>
          </c:val>
          <c:extLst>
            <c:ext xmlns:c16="http://schemas.microsoft.com/office/drawing/2014/chart" uri="{C3380CC4-5D6E-409C-BE32-E72D297353CC}">
              <c16:uniqueId val="{00000000-B270-4FF9-93E2-0C6E9806614C}"/>
            </c:ext>
          </c:extLst>
        </c:ser>
        <c:ser>
          <c:idx val="1"/>
          <c:order val="1"/>
          <c:tx>
            <c:strRef>
              <c:f>Sheet2!$C$2</c:f>
              <c:strCache>
                <c:ptCount val="1"/>
                <c:pt idx="0">
                  <c:v>2022</c:v>
                </c:pt>
              </c:strCache>
            </c:strRef>
          </c:tx>
          <c:spPr>
            <a:solidFill>
              <a:schemeClr val="tx1">
                <a:lumMod val="50000"/>
                <a:lumOff val="5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A$3:$A$7</c:f>
              <c:strCache>
                <c:ptCount val="5"/>
                <c:pt idx="0">
                  <c:v>Percentage growth Mobile</c:v>
                </c:pt>
                <c:pt idx="1">
                  <c:v>Percentage growth KEPSS</c:v>
                </c:pt>
                <c:pt idx="2">
                  <c:v>Percentage growth EFT</c:v>
                </c:pt>
                <c:pt idx="3">
                  <c:v>Percentage growth Cheques</c:v>
                </c:pt>
                <c:pt idx="4">
                  <c:v>Percentage growth Cards</c:v>
                </c:pt>
              </c:strCache>
            </c:strRef>
          </c:cat>
          <c:val>
            <c:numRef>
              <c:f>Sheet2!$C$3:$C$7</c:f>
              <c:numCache>
                <c:formatCode>0.0%</c:formatCode>
                <c:ptCount val="5"/>
                <c:pt idx="0">
                  <c:v>0.29654205849771453</c:v>
                </c:pt>
                <c:pt idx="1">
                  <c:v>9.8468655436599425E-2</c:v>
                </c:pt>
                <c:pt idx="2">
                  <c:v>5.9611164950996047E-2</c:v>
                </c:pt>
                <c:pt idx="3">
                  <c:v>-4.2421704105535696E-2</c:v>
                </c:pt>
                <c:pt idx="4">
                  <c:v>2.9648336597167713E-3</c:v>
                </c:pt>
              </c:numCache>
            </c:numRef>
          </c:val>
          <c:extLst>
            <c:ext xmlns:c16="http://schemas.microsoft.com/office/drawing/2014/chart" uri="{C3380CC4-5D6E-409C-BE32-E72D297353CC}">
              <c16:uniqueId val="{00000001-B270-4FF9-93E2-0C6E9806614C}"/>
            </c:ext>
          </c:extLst>
        </c:ser>
        <c:ser>
          <c:idx val="2"/>
          <c:order val="2"/>
          <c:tx>
            <c:strRef>
              <c:f>Sheet2!$D$2</c:f>
              <c:strCache>
                <c:ptCount val="1"/>
                <c:pt idx="0">
                  <c:v>2023</c:v>
                </c:pt>
              </c:strCache>
            </c:strRef>
          </c:tx>
          <c:spPr>
            <a:solidFill>
              <a:srgbClr val="FFC000"/>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A$3:$A$7</c:f>
              <c:strCache>
                <c:ptCount val="5"/>
                <c:pt idx="0">
                  <c:v>Percentage growth Mobile</c:v>
                </c:pt>
                <c:pt idx="1">
                  <c:v>Percentage growth KEPSS</c:v>
                </c:pt>
                <c:pt idx="2">
                  <c:v>Percentage growth EFT</c:v>
                </c:pt>
                <c:pt idx="3">
                  <c:v>Percentage growth Cheques</c:v>
                </c:pt>
                <c:pt idx="4">
                  <c:v>Percentage growth Cards</c:v>
                </c:pt>
              </c:strCache>
            </c:strRef>
          </c:cat>
          <c:val>
            <c:numRef>
              <c:f>Sheet2!$D$3:$D$7</c:f>
              <c:numCache>
                <c:formatCode>0.0%</c:formatCode>
                <c:ptCount val="5"/>
                <c:pt idx="0">
                  <c:v>0.29857741827633438</c:v>
                </c:pt>
                <c:pt idx="1">
                  <c:v>0.10975086864355843</c:v>
                </c:pt>
                <c:pt idx="2">
                  <c:v>9.7705676104639066E-2</c:v>
                </c:pt>
                <c:pt idx="3">
                  <c:v>-5.2603858516841677E-2</c:v>
                </c:pt>
                <c:pt idx="4">
                  <c:v>-7.1216442674385365E-3</c:v>
                </c:pt>
              </c:numCache>
            </c:numRef>
          </c:val>
          <c:extLst>
            <c:ext xmlns:c16="http://schemas.microsoft.com/office/drawing/2014/chart" uri="{C3380CC4-5D6E-409C-BE32-E72D297353CC}">
              <c16:uniqueId val="{00000002-B270-4FF9-93E2-0C6E9806614C}"/>
            </c:ext>
          </c:extLst>
        </c:ser>
        <c:ser>
          <c:idx val="3"/>
          <c:order val="3"/>
          <c:tx>
            <c:strRef>
              <c:f>Sheet2!$E$2</c:f>
              <c:strCache>
                <c:ptCount val="1"/>
                <c:pt idx="0">
                  <c:v>2024</c:v>
                </c:pt>
              </c:strCache>
            </c:strRef>
          </c:tx>
          <c:spPr>
            <a:solidFill>
              <a:schemeClr val="bg1">
                <a:lumMod val="5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A$3:$A$7</c:f>
              <c:strCache>
                <c:ptCount val="5"/>
                <c:pt idx="0">
                  <c:v>Percentage growth Mobile</c:v>
                </c:pt>
                <c:pt idx="1">
                  <c:v>Percentage growth KEPSS</c:v>
                </c:pt>
                <c:pt idx="2">
                  <c:v>Percentage growth EFT</c:v>
                </c:pt>
                <c:pt idx="3">
                  <c:v>Percentage growth Cheques</c:v>
                </c:pt>
                <c:pt idx="4">
                  <c:v>Percentage growth Cards</c:v>
                </c:pt>
              </c:strCache>
            </c:strRef>
          </c:cat>
          <c:val>
            <c:numRef>
              <c:f>Sheet2!$E$3:$E$7</c:f>
              <c:numCache>
                <c:formatCode>0.0%</c:formatCode>
                <c:ptCount val="5"/>
                <c:pt idx="0">
                  <c:v>0.26062773499840636</c:v>
                </c:pt>
                <c:pt idx="1">
                  <c:v>0.11297344783833849</c:v>
                </c:pt>
                <c:pt idx="2">
                  <c:v>8.6253471530199799E-2</c:v>
                </c:pt>
                <c:pt idx="3">
                  <c:v>-4.0948503248658355E-2</c:v>
                </c:pt>
                <c:pt idx="4">
                  <c:v>-6.5674109275696738E-2</c:v>
                </c:pt>
              </c:numCache>
            </c:numRef>
          </c:val>
          <c:extLst>
            <c:ext xmlns:c16="http://schemas.microsoft.com/office/drawing/2014/chart" uri="{C3380CC4-5D6E-409C-BE32-E72D297353CC}">
              <c16:uniqueId val="{00000003-B270-4FF9-93E2-0C6E9806614C}"/>
            </c:ext>
          </c:extLst>
        </c:ser>
        <c:dLbls>
          <c:dLblPos val="outEnd"/>
          <c:showLegendKey val="0"/>
          <c:showVal val="1"/>
          <c:showCatName val="0"/>
          <c:showSerName val="0"/>
          <c:showPercent val="0"/>
          <c:showBubbleSize val="0"/>
        </c:dLbls>
        <c:gapWidth val="444"/>
        <c:overlap val="-90"/>
        <c:axId val="584207151"/>
        <c:axId val="584197071"/>
      </c:barChart>
      <c:catAx>
        <c:axId val="58420715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accent1">
                <a:shade val="95000"/>
                <a:satMod val="105000"/>
              </a:schemeClr>
            </a:solidFill>
            <a:prstDash val="solid"/>
            <a:round/>
          </a:ln>
          <a:effectLst/>
        </c:spPr>
        <c:txPr>
          <a:bodyPr rot="-60000000" spcFirstLastPara="1" vertOverflow="ellipsis" vert="horz" wrap="square" anchor="ctr" anchorCtr="1"/>
          <a:lstStyle/>
          <a:p>
            <a:pPr>
              <a:defRPr sz="1064" b="0" i="0" u="none" strike="noStrike" kern="1200" cap="all" spc="120" normalizeH="0" baseline="0">
                <a:solidFill>
                  <a:schemeClr val="tx1"/>
                </a:solidFill>
                <a:latin typeface="Century Gothic" panose="020B0502020202020204" pitchFamily="34" charset="0"/>
                <a:ea typeface="+mn-ea"/>
                <a:cs typeface="+mn-cs"/>
              </a:defRPr>
            </a:pPr>
            <a:endParaRPr lang="en-US"/>
          </a:p>
        </c:txPr>
        <c:crossAx val="584197071"/>
        <c:crosses val="autoZero"/>
        <c:auto val="1"/>
        <c:lblAlgn val="ctr"/>
        <c:lblOffset val="50"/>
        <c:noMultiLvlLbl val="0"/>
      </c:catAx>
      <c:valAx>
        <c:axId val="584197071"/>
        <c:scaling>
          <c:orientation val="minMax"/>
        </c:scaling>
        <c:delete val="1"/>
        <c:axPos val="l"/>
        <c:numFmt formatCode="0.0%" sourceLinked="1"/>
        <c:majorTickMark val="none"/>
        <c:minorTickMark val="none"/>
        <c:tickLblPos val="nextTo"/>
        <c:crossAx val="58420715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 lastClr="FFFFFF"/>
                </a:solidFill>
                <a:latin typeface="+mn-lt"/>
                <a:ea typeface="+mn-ea"/>
                <a:cs typeface="+mn-cs"/>
              </a:defRPr>
            </a:pPr>
            <a:r>
              <a:rPr lang="en-US" b="1">
                <a:solidFill>
                  <a:sysClr val="window" lastClr="FFFFFF"/>
                </a:solidFill>
                <a:latin typeface="+mn-lt"/>
                <a:ea typeface="+mn-ea"/>
                <a:cs typeface="+mn-cs"/>
              </a:rPr>
              <a:t>Kenya's National Payments System, January 2024-December 2024</a:t>
            </a:r>
            <a:endParaRPr lang="en-US" b="1">
              <a:solidFill>
                <a:schemeClr val="bg1"/>
              </a:solidFill>
            </a:endParaRPr>
          </a:p>
        </c:rich>
      </c:tx>
      <c:layout>
        <c:manualLayout>
          <c:xMode val="edge"/>
          <c:yMode val="edge"/>
          <c:x val="0.16426624015748034"/>
          <c:y val="3.1075063271868097E-2"/>
        </c:manualLayout>
      </c:layout>
      <c:overlay val="0"/>
      <c:spPr>
        <a:gradFill rotWithShape="1">
          <a:gsLst>
            <a:gs pos="27000">
              <a:srgbClr val="4BACC6">
                <a:satMod val="103000"/>
                <a:tint val="94000"/>
                <a:alpha val="73000"/>
                <a:lumMod val="66000"/>
                <a:lumOff val="34000"/>
              </a:srgbClr>
            </a:gs>
            <a:gs pos="50000">
              <a:srgbClr val="4BACC6">
                <a:satMod val="110000"/>
                <a:lumMod val="100000"/>
                <a:shade val="100000"/>
              </a:srgbClr>
            </a:gs>
            <a:gs pos="100000">
              <a:srgbClr val="4BACC6">
                <a:lumMod val="99000"/>
                <a:satMod val="120000"/>
                <a:shade val="78000"/>
              </a:srgbClr>
            </a:gs>
          </a:gsLst>
          <a:lin ang="5400000" scaled="0"/>
        </a:gradFill>
        <a:ln>
          <a:noFill/>
        </a:ln>
        <a:effectLst>
          <a:outerShdw blurRad="57150" dist="19050" dir="5400000" algn="ctr" rotWithShape="0">
            <a:srgbClr val="000000">
              <a:alpha val="63000"/>
            </a:srgbClr>
          </a:outerShdw>
        </a:effectLst>
      </c:spPr>
      <c:txPr>
        <a:bodyPr rot="0" spcFirstLastPara="1" vertOverflow="ellipsis" vert="horz" wrap="square" anchor="ctr" anchorCtr="1"/>
        <a:lstStyle/>
        <a:p>
          <a:pPr>
            <a:defRPr sz="1400" b="0" i="0" u="none" strike="noStrike" kern="1200" spc="0" baseline="0">
              <a:solidFill>
                <a:sysClr val="window" lastClr="FFFFFF"/>
              </a:solidFill>
              <a:latin typeface="+mn-lt"/>
              <a:ea typeface="+mn-ea"/>
              <a:cs typeface="+mn-cs"/>
            </a:defRPr>
          </a:pPr>
          <a:endParaRPr lang="en-US"/>
        </a:p>
      </c:txPr>
    </c:title>
    <c:autoTitleDeleted val="0"/>
    <c:plotArea>
      <c:layout>
        <c:manualLayout>
          <c:layoutTarget val="inner"/>
          <c:xMode val="edge"/>
          <c:yMode val="edge"/>
          <c:x val="8.0815780839895018E-2"/>
          <c:y val="0.13713528990182178"/>
          <c:w val="0.89835088582677169"/>
          <c:h val="0.74634112311689926"/>
        </c:manualLayout>
      </c:layout>
      <c:barChart>
        <c:barDir val="col"/>
        <c:grouping val="clustered"/>
        <c:varyColors val="0"/>
        <c:ser>
          <c:idx val="0"/>
          <c:order val="0"/>
          <c:tx>
            <c:strRef>
              <c:f>Sheet1!$G$3</c:f>
              <c:strCache>
                <c:ptCount val="1"/>
                <c:pt idx="0">
                  <c:v>% Volu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F$8</c:f>
              <c:strCache>
                <c:ptCount val="5"/>
                <c:pt idx="0">
                  <c:v>Mobile</c:v>
                </c:pt>
                <c:pt idx="1">
                  <c:v>Cards</c:v>
                </c:pt>
                <c:pt idx="2">
                  <c:v>EFTs</c:v>
                </c:pt>
                <c:pt idx="3">
                  <c:v>Cheques</c:v>
                </c:pt>
                <c:pt idx="4">
                  <c:v>KEPSS</c:v>
                </c:pt>
              </c:strCache>
            </c:strRef>
          </c:cat>
          <c:val>
            <c:numRef>
              <c:f>Sheet1!$G$4:$G$8</c:f>
              <c:numCache>
                <c:formatCode>0.0%</c:formatCode>
                <c:ptCount val="5"/>
                <c:pt idx="0">
                  <c:v>0.99355521064761954</c:v>
                </c:pt>
                <c:pt idx="1">
                  <c:v>4.8079992916855918E-3</c:v>
                </c:pt>
                <c:pt idx="2">
                  <c:v>7.3787462961708461E-4</c:v>
                </c:pt>
                <c:pt idx="3">
                  <c:v>5.5736820249935738E-4</c:v>
                </c:pt>
                <c:pt idx="4" formatCode="0.00%">
                  <c:v>3.415472285783394E-4</c:v>
                </c:pt>
              </c:numCache>
            </c:numRef>
          </c:val>
          <c:extLst>
            <c:ext xmlns:c16="http://schemas.microsoft.com/office/drawing/2014/chart" uri="{C3380CC4-5D6E-409C-BE32-E72D297353CC}">
              <c16:uniqueId val="{00000000-347D-4063-8C89-D4279B159E32}"/>
            </c:ext>
          </c:extLst>
        </c:ser>
        <c:ser>
          <c:idx val="1"/>
          <c:order val="1"/>
          <c:tx>
            <c:strRef>
              <c:f>Sheet1!$H$3</c:f>
              <c:strCache>
                <c:ptCount val="1"/>
                <c:pt idx="0">
                  <c:v>% Valu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F$8</c:f>
              <c:strCache>
                <c:ptCount val="5"/>
                <c:pt idx="0">
                  <c:v>Mobile</c:v>
                </c:pt>
                <c:pt idx="1">
                  <c:v>Cards</c:v>
                </c:pt>
                <c:pt idx="2">
                  <c:v>EFTs</c:v>
                </c:pt>
                <c:pt idx="3">
                  <c:v>Cheques</c:v>
                </c:pt>
                <c:pt idx="4">
                  <c:v>KEPSS</c:v>
                </c:pt>
              </c:strCache>
            </c:strRef>
          </c:cat>
          <c:val>
            <c:numRef>
              <c:f>Sheet1!$H$4:$H$8</c:f>
              <c:numCache>
                <c:formatCode>0.0%</c:formatCode>
                <c:ptCount val="5"/>
                <c:pt idx="0">
                  <c:v>0.39959274647639209</c:v>
                </c:pt>
                <c:pt idx="1">
                  <c:v>1.0239789442868331E-2</c:v>
                </c:pt>
                <c:pt idx="2">
                  <c:v>1.2208251403667797E-2</c:v>
                </c:pt>
                <c:pt idx="3">
                  <c:v>2.9981483608031514E-2</c:v>
                </c:pt>
                <c:pt idx="4">
                  <c:v>0.54797772906904041</c:v>
                </c:pt>
              </c:numCache>
            </c:numRef>
          </c:val>
          <c:extLst>
            <c:ext xmlns:c16="http://schemas.microsoft.com/office/drawing/2014/chart" uri="{C3380CC4-5D6E-409C-BE32-E72D297353CC}">
              <c16:uniqueId val="{00000001-347D-4063-8C89-D4279B159E32}"/>
            </c:ext>
          </c:extLst>
        </c:ser>
        <c:dLbls>
          <c:dLblPos val="outEnd"/>
          <c:showLegendKey val="0"/>
          <c:showVal val="1"/>
          <c:showCatName val="0"/>
          <c:showSerName val="0"/>
          <c:showPercent val="0"/>
          <c:showBubbleSize val="0"/>
        </c:dLbls>
        <c:gapWidth val="219"/>
        <c:overlap val="-27"/>
        <c:axId val="1169502176"/>
        <c:axId val="1169501216"/>
      </c:barChart>
      <c:catAx>
        <c:axId val="1169502176"/>
        <c:scaling>
          <c:orientation val="minMax"/>
        </c:scaling>
        <c:delete val="0"/>
        <c:axPos val="b"/>
        <c:numFmt formatCode="General" sourceLinked="1"/>
        <c:majorTickMark val="none"/>
        <c:minorTickMark val="none"/>
        <c:tickLblPos val="nextTo"/>
        <c:spPr>
          <a:noFill/>
          <a:ln w="6350" cap="flat" cmpd="sng" algn="ctr">
            <a:solidFill>
              <a:sysClr val="windowText" lastClr="000000"/>
            </a:solidFill>
            <a:prstDash val="solid"/>
            <a:miter lim="800000"/>
          </a:ln>
          <a:effectLst/>
        </c:spPr>
        <c:txPr>
          <a:bodyPr rot="-60000000" spcFirstLastPara="1" vertOverflow="ellipsis" vert="horz" wrap="square" anchor="ctr" anchorCtr="1"/>
          <a:lstStyle/>
          <a:p>
            <a:pPr>
              <a:defRPr sz="900" b="1" i="0" u="none" strike="noStrike" kern="1200" baseline="0">
                <a:solidFill>
                  <a:sysClr val="windowText" lastClr="000000"/>
                </a:solidFill>
                <a:latin typeface="Century Gothic" panose="020B0502020202020204" pitchFamily="34" charset="0"/>
                <a:ea typeface="+mn-ea"/>
                <a:cs typeface="+mn-cs"/>
              </a:defRPr>
            </a:pPr>
            <a:endParaRPr lang="en-US"/>
          </a:p>
        </c:txPr>
        <c:crossAx val="1169501216"/>
        <c:crosses val="autoZero"/>
        <c:auto val="1"/>
        <c:lblAlgn val="ctr"/>
        <c:lblOffset val="100"/>
        <c:noMultiLvlLbl val="0"/>
      </c:catAx>
      <c:valAx>
        <c:axId val="1169501216"/>
        <c:scaling>
          <c:orientation val="minMax"/>
        </c:scaling>
        <c:delete val="0"/>
        <c:axPos val="l"/>
        <c:numFmt formatCode="0.0%" sourceLinked="1"/>
        <c:majorTickMark val="none"/>
        <c:minorTickMark val="none"/>
        <c:tickLblPos val="nextTo"/>
        <c:spPr>
          <a:noFill/>
          <a:ln w="19050" cap="flat" cmpd="sng" algn="ctr">
            <a:solidFill>
              <a:sysClr val="windowText" lastClr="000000"/>
            </a:solidFill>
            <a:prstDash val="dash"/>
            <a:round/>
            <a:headEnd type="none" w="med" len="med"/>
            <a:tailEnd type="none" w="med" len="me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Century Gothic" panose="020B0502020202020204" pitchFamily="34" charset="0"/>
                <a:ea typeface="+mn-ea"/>
                <a:cs typeface="+mn-cs"/>
              </a:defRPr>
            </a:pPr>
            <a:endParaRPr lang="en-US"/>
          </a:p>
        </c:txPr>
        <c:crossAx val="1169502176"/>
        <c:crosses val="autoZero"/>
        <c:crossBetween val="between"/>
      </c:valAx>
      <c:spPr>
        <a:noFill/>
        <a:ln>
          <a:noFill/>
        </a:ln>
        <a:effectLst/>
      </c:spPr>
    </c:plotArea>
    <c:legend>
      <c:legendPos val="b"/>
      <c:layout>
        <c:manualLayout>
          <c:xMode val="edge"/>
          <c:yMode val="edge"/>
          <c:x val="0.22445767716535434"/>
          <c:y val="0.93937050503412345"/>
          <c:w val="0.59379562603353286"/>
          <c:h val="4.4699135161907218E-2"/>
        </c:manualLayout>
      </c:layout>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Century Gothic" panose="020B0502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a:noFill/>
    </a:ln>
    <a:effectLst/>
  </c:spPr>
  <c:txPr>
    <a:bodyPr/>
    <a:lstStyle/>
    <a:p>
      <a:pPr>
        <a:defRPr>
          <a:solidFill>
            <a:sysClr val="windowText" lastClr="000000"/>
          </a:solidFill>
          <a:latin typeface="+mn-lt"/>
          <a:ea typeface="+mn-ea"/>
          <a:cs typeface="+mn-cs"/>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dk1"/>
                </a:solidFill>
                <a:latin typeface="Century Gothic" panose="020B0502020202020204" pitchFamily="34" charset="0"/>
                <a:ea typeface="+mn-ea"/>
                <a:cs typeface="+mn-cs"/>
              </a:defRPr>
            </a:pPr>
            <a:r>
              <a:rPr lang="en-US"/>
              <a:t>Usage and access to financial services by provider, %           </a:t>
            </a:r>
          </a:p>
        </c:rich>
      </c:tx>
      <c:layout>
        <c:manualLayout>
          <c:xMode val="edge"/>
          <c:yMode val="edge"/>
          <c:x val="0.15441492932084616"/>
          <c:y val="3.0303030303030304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dk1"/>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1"/>
          <c:order val="1"/>
          <c:tx>
            <c:strRef>
              <c:f>Sheet1!$G$4</c:f>
              <c:strCache>
                <c:ptCount val="1"/>
                <c:pt idx="0">
                  <c:v>Mobile </c:v>
                </c:pt>
              </c:strCache>
            </c:strRef>
          </c:tx>
          <c:spPr>
            <a:solidFill>
              <a:schemeClr val="tx1">
                <a:lumMod val="50000"/>
                <a:lumOff val="50000"/>
                <a:alpha val="46000"/>
              </a:schemeClr>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5:$E$11</c:f>
              <c:numCache>
                <c:formatCode>General</c:formatCode>
                <c:ptCount val="7"/>
                <c:pt idx="0">
                  <c:v>2006</c:v>
                </c:pt>
                <c:pt idx="1">
                  <c:v>2009</c:v>
                </c:pt>
                <c:pt idx="2">
                  <c:v>2013</c:v>
                </c:pt>
                <c:pt idx="3">
                  <c:v>2016</c:v>
                </c:pt>
                <c:pt idx="4">
                  <c:v>2019</c:v>
                </c:pt>
                <c:pt idx="5">
                  <c:v>2021</c:v>
                </c:pt>
                <c:pt idx="6">
                  <c:v>2024</c:v>
                </c:pt>
              </c:numCache>
            </c:numRef>
          </c:cat>
          <c:val>
            <c:numRef>
              <c:f>Sheet1!$G$5:$G$11</c:f>
              <c:numCache>
                <c:formatCode>0</c:formatCode>
                <c:ptCount val="7"/>
                <c:pt idx="0">
                  <c:v>0</c:v>
                </c:pt>
                <c:pt idx="1">
                  <c:v>27.9</c:v>
                </c:pt>
                <c:pt idx="2">
                  <c:v>61.6</c:v>
                </c:pt>
                <c:pt idx="3">
                  <c:v>71.400000000000006</c:v>
                </c:pt>
                <c:pt idx="4">
                  <c:v>79.400000000000006</c:v>
                </c:pt>
                <c:pt idx="5">
                  <c:v>81.400000000000006</c:v>
                </c:pt>
                <c:pt idx="6">
                  <c:v>82.3</c:v>
                </c:pt>
              </c:numCache>
            </c:numRef>
          </c:val>
          <c:extLst>
            <c:ext xmlns:c16="http://schemas.microsoft.com/office/drawing/2014/chart" uri="{C3380CC4-5D6E-409C-BE32-E72D297353CC}">
              <c16:uniqueId val="{00000000-751C-4DBA-9F9B-5B3A2ECB878B}"/>
            </c:ext>
          </c:extLst>
        </c:ser>
        <c:ser>
          <c:idx val="2"/>
          <c:order val="2"/>
          <c:tx>
            <c:strRef>
              <c:f>Sheet1!$H$4</c:f>
              <c:strCache>
                <c:ptCount val="1"/>
                <c:pt idx="0">
                  <c:v>Bank </c:v>
                </c:pt>
              </c:strCache>
            </c:strRef>
          </c:tx>
          <c:spPr>
            <a:solidFill>
              <a:schemeClr val="tx2">
                <a:lumMod val="90000"/>
                <a:lumOff val="10000"/>
                <a:alpha val="55000"/>
              </a:schemeClr>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5:$E$11</c:f>
              <c:numCache>
                <c:formatCode>General</c:formatCode>
                <c:ptCount val="7"/>
                <c:pt idx="0">
                  <c:v>2006</c:v>
                </c:pt>
                <c:pt idx="1">
                  <c:v>2009</c:v>
                </c:pt>
                <c:pt idx="2">
                  <c:v>2013</c:v>
                </c:pt>
                <c:pt idx="3">
                  <c:v>2016</c:v>
                </c:pt>
                <c:pt idx="4">
                  <c:v>2019</c:v>
                </c:pt>
                <c:pt idx="5">
                  <c:v>2021</c:v>
                </c:pt>
                <c:pt idx="6">
                  <c:v>2024</c:v>
                </c:pt>
              </c:numCache>
            </c:numRef>
          </c:cat>
          <c:val>
            <c:numRef>
              <c:f>Sheet1!$H$5:$H$11</c:f>
              <c:numCache>
                <c:formatCode>0</c:formatCode>
                <c:ptCount val="7"/>
                <c:pt idx="0">
                  <c:v>14</c:v>
                </c:pt>
                <c:pt idx="1">
                  <c:v>20.5</c:v>
                </c:pt>
                <c:pt idx="2">
                  <c:v>29.2</c:v>
                </c:pt>
                <c:pt idx="3">
                  <c:v>38.4</c:v>
                </c:pt>
                <c:pt idx="4">
                  <c:v>40.799999999999997</c:v>
                </c:pt>
                <c:pt idx="5">
                  <c:v>44.097454935567939</c:v>
                </c:pt>
                <c:pt idx="6">
                  <c:v>52.5</c:v>
                </c:pt>
              </c:numCache>
            </c:numRef>
          </c:val>
          <c:extLst>
            <c:ext xmlns:c16="http://schemas.microsoft.com/office/drawing/2014/chart" uri="{C3380CC4-5D6E-409C-BE32-E72D297353CC}">
              <c16:uniqueId val="{00000001-751C-4DBA-9F9B-5B3A2ECB878B}"/>
            </c:ext>
          </c:extLst>
        </c:ser>
        <c:ser>
          <c:idx val="3"/>
          <c:order val="3"/>
          <c:tx>
            <c:strRef>
              <c:f>Sheet1!$I$4</c:f>
              <c:strCache>
                <c:ptCount val="1"/>
                <c:pt idx="0">
                  <c:v>SACCO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5:$E$11</c:f>
              <c:numCache>
                <c:formatCode>General</c:formatCode>
                <c:ptCount val="7"/>
                <c:pt idx="0">
                  <c:v>2006</c:v>
                </c:pt>
                <c:pt idx="1">
                  <c:v>2009</c:v>
                </c:pt>
                <c:pt idx="2">
                  <c:v>2013</c:v>
                </c:pt>
                <c:pt idx="3">
                  <c:v>2016</c:v>
                </c:pt>
                <c:pt idx="4">
                  <c:v>2019</c:v>
                </c:pt>
                <c:pt idx="5">
                  <c:v>2021</c:v>
                </c:pt>
                <c:pt idx="6">
                  <c:v>2024</c:v>
                </c:pt>
              </c:numCache>
            </c:numRef>
          </c:cat>
          <c:val>
            <c:numRef>
              <c:f>Sheet1!$I$5:$I$11</c:f>
              <c:numCache>
                <c:formatCode>0</c:formatCode>
                <c:ptCount val="7"/>
                <c:pt idx="0">
                  <c:v>13.1</c:v>
                </c:pt>
                <c:pt idx="1">
                  <c:v>9</c:v>
                </c:pt>
                <c:pt idx="2">
                  <c:v>11</c:v>
                </c:pt>
                <c:pt idx="3">
                  <c:v>12.9</c:v>
                </c:pt>
                <c:pt idx="4">
                  <c:v>11.3</c:v>
                </c:pt>
                <c:pt idx="5">
                  <c:v>9.6</c:v>
                </c:pt>
                <c:pt idx="6">
                  <c:v>11.7</c:v>
                </c:pt>
              </c:numCache>
            </c:numRef>
          </c:val>
          <c:extLst>
            <c:ext xmlns:c16="http://schemas.microsoft.com/office/drawing/2014/chart" uri="{C3380CC4-5D6E-409C-BE32-E72D297353CC}">
              <c16:uniqueId val="{00000002-751C-4DBA-9F9B-5B3A2ECB878B}"/>
            </c:ext>
          </c:extLst>
        </c:ser>
        <c:dLbls>
          <c:showLegendKey val="0"/>
          <c:showVal val="0"/>
          <c:showCatName val="0"/>
          <c:showSerName val="0"/>
          <c:showPercent val="0"/>
          <c:showBubbleSize val="0"/>
        </c:dLbls>
        <c:gapWidth val="219"/>
        <c:overlap val="-27"/>
        <c:axId val="438769119"/>
        <c:axId val="438767199"/>
      </c:barChart>
      <c:lineChart>
        <c:grouping val="standard"/>
        <c:varyColors val="0"/>
        <c:ser>
          <c:idx val="0"/>
          <c:order val="0"/>
          <c:tx>
            <c:strRef>
              <c:f>Sheet1!$F$4</c:f>
              <c:strCache>
                <c:ptCount val="1"/>
                <c:pt idx="0">
                  <c:v>Overall inclusion</c:v>
                </c:pt>
              </c:strCache>
            </c:strRef>
          </c:tx>
          <c:spPr>
            <a:ln w="34925" cap="rnd">
              <a:solidFill>
                <a:schemeClr val="tx1"/>
              </a:solidFill>
              <a:round/>
            </a:ln>
            <a:effectLst>
              <a:outerShdw blurRad="57150" dist="19050" dir="5400000" algn="ctr" rotWithShape="0">
                <a:srgbClr val="000000">
                  <a:alpha val="63000"/>
                </a:srgbClr>
              </a:outerShdw>
            </a:effectLst>
          </c:spPr>
          <c:marker>
            <c:symbol val="none"/>
          </c:marker>
          <c:dLbls>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5:$E$11</c:f>
              <c:numCache>
                <c:formatCode>General</c:formatCode>
                <c:ptCount val="7"/>
                <c:pt idx="0">
                  <c:v>2006</c:v>
                </c:pt>
                <c:pt idx="1">
                  <c:v>2009</c:v>
                </c:pt>
                <c:pt idx="2">
                  <c:v>2013</c:v>
                </c:pt>
                <c:pt idx="3">
                  <c:v>2016</c:v>
                </c:pt>
                <c:pt idx="4">
                  <c:v>2019</c:v>
                </c:pt>
                <c:pt idx="5">
                  <c:v>2021</c:v>
                </c:pt>
                <c:pt idx="6">
                  <c:v>2024</c:v>
                </c:pt>
              </c:numCache>
            </c:numRef>
          </c:cat>
          <c:val>
            <c:numRef>
              <c:f>Sheet1!$F$5:$F$11</c:f>
              <c:numCache>
                <c:formatCode>0</c:formatCode>
                <c:ptCount val="7"/>
                <c:pt idx="0">
                  <c:v>26.7</c:v>
                </c:pt>
                <c:pt idx="1">
                  <c:v>40.4</c:v>
                </c:pt>
                <c:pt idx="2">
                  <c:v>66.7</c:v>
                </c:pt>
                <c:pt idx="3">
                  <c:v>75.3</c:v>
                </c:pt>
                <c:pt idx="4">
                  <c:v>82.9</c:v>
                </c:pt>
                <c:pt idx="5">
                  <c:v>83.7</c:v>
                </c:pt>
                <c:pt idx="6">
                  <c:v>84.8</c:v>
                </c:pt>
              </c:numCache>
            </c:numRef>
          </c:val>
          <c:smooth val="1"/>
          <c:extLst>
            <c:ext xmlns:c16="http://schemas.microsoft.com/office/drawing/2014/chart" uri="{C3380CC4-5D6E-409C-BE32-E72D297353CC}">
              <c16:uniqueId val="{00000003-751C-4DBA-9F9B-5B3A2ECB878B}"/>
            </c:ext>
          </c:extLst>
        </c:ser>
        <c:dLbls>
          <c:showLegendKey val="0"/>
          <c:showVal val="0"/>
          <c:showCatName val="0"/>
          <c:showSerName val="0"/>
          <c:showPercent val="0"/>
          <c:showBubbleSize val="0"/>
        </c:dLbls>
        <c:marker val="1"/>
        <c:smooth val="0"/>
        <c:axId val="1501043103"/>
        <c:axId val="1501041183"/>
      </c:lineChart>
      <c:catAx>
        <c:axId val="438769119"/>
        <c:scaling>
          <c:orientation val="minMax"/>
        </c:scaling>
        <c:delete val="0"/>
        <c:axPos val="b"/>
        <c:numFmt formatCode="General" sourceLinked="1"/>
        <c:majorTickMark val="none"/>
        <c:minorTickMark val="none"/>
        <c:tickLblPos val="nextTo"/>
        <c:spPr>
          <a:noFill/>
          <a:ln w="12700" cap="flat" cmpd="sng" algn="ctr">
            <a:solidFill>
              <a:schemeClr val="dk1"/>
            </a:solidFill>
            <a:prstDash val="solid"/>
            <a:miter lim="800000"/>
          </a:ln>
          <a:effectLst/>
        </c:spPr>
        <c:txPr>
          <a:bodyPr rot="-6000000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crossAx val="438767199"/>
        <c:crosses val="autoZero"/>
        <c:auto val="1"/>
        <c:lblAlgn val="ctr"/>
        <c:lblOffset val="100"/>
        <c:noMultiLvlLbl val="0"/>
      </c:catAx>
      <c:valAx>
        <c:axId val="43876719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crossAx val="438769119"/>
        <c:crosses val="autoZero"/>
        <c:crossBetween val="between"/>
      </c:valAx>
      <c:valAx>
        <c:axId val="1501041183"/>
        <c:scaling>
          <c:orientation val="minMax"/>
        </c:scaling>
        <c:delete val="1"/>
        <c:axPos val="r"/>
        <c:numFmt formatCode="0" sourceLinked="1"/>
        <c:majorTickMark val="out"/>
        <c:minorTickMark val="none"/>
        <c:tickLblPos val="nextTo"/>
        <c:crossAx val="1501043103"/>
        <c:crosses val="max"/>
        <c:crossBetween val="between"/>
      </c:valAx>
      <c:catAx>
        <c:axId val="1501043103"/>
        <c:scaling>
          <c:orientation val="minMax"/>
        </c:scaling>
        <c:delete val="1"/>
        <c:axPos val="b"/>
        <c:numFmt formatCode="General" sourceLinked="1"/>
        <c:majorTickMark val="out"/>
        <c:minorTickMark val="none"/>
        <c:tickLblPos val="nextTo"/>
        <c:crossAx val="150104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a:solidFill>
            <a:schemeClr val="dk1"/>
          </a:solidFill>
          <a:latin typeface="Century Gothic" panose="020B0502020202020204" pitchFamily="34" charset="0"/>
          <a:ea typeface="+mn-ea"/>
          <a:cs typeface="+mn-cs"/>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r>
              <a:rPr lang="en-US" b="0"/>
              <a:t>Number of transactions cash in cash out at Mobile Agents in bill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lineChart>
        <c:grouping val="standard"/>
        <c:varyColors val="0"/>
        <c:ser>
          <c:idx val="0"/>
          <c:order val="0"/>
          <c:tx>
            <c:strRef>
              <c:f>CICO!$B$3</c:f>
              <c:strCache>
                <c:ptCount val="1"/>
                <c:pt idx="0">
                  <c:v>Cash In - Volume bn</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ICO!$C$2:$G$2</c:f>
              <c:numCache>
                <c:formatCode>General</c:formatCode>
                <c:ptCount val="5"/>
                <c:pt idx="0">
                  <c:v>2020</c:v>
                </c:pt>
                <c:pt idx="1">
                  <c:v>2021</c:v>
                </c:pt>
                <c:pt idx="2">
                  <c:v>2022</c:v>
                </c:pt>
                <c:pt idx="3">
                  <c:v>2023</c:v>
                </c:pt>
                <c:pt idx="4">
                  <c:v>2024</c:v>
                </c:pt>
              </c:numCache>
            </c:numRef>
          </c:cat>
          <c:val>
            <c:numRef>
              <c:f>CICO!$C$3:$G$3</c:f>
              <c:numCache>
                <c:formatCode>_(* #,##0.00_);_(* \(#,##0.00\);_(* "-"??_);_(@_)</c:formatCode>
                <c:ptCount val="5"/>
                <c:pt idx="0">
                  <c:v>0.90773618</c:v>
                </c:pt>
                <c:pt idx="1">
                  <c:v>1.085779738</c:v>
                </c:pt>
                <c:pt idx="2">
                  <c:v>1.1530015760000001</c:v>
                </c:pt>
                <c:pt idx="3">
                  <c:v>1.2561912470000001</c:v>
                </c:pt>
                <c:pt idx="4">
                  <c:v>1.3892442330000001</c:v>
                </c:pt>
              </c:numCache>
            </c:numRef>
          </c:val>
          <c:smooth val="0"/>
          <c:extLst>
            <c:ext xmlns:c16="http://schemas.microsoft.com/office/drawing/2014/chart" uri="{C3380CC4-5D6E-409C-BE32-E72D297353CC}">
              <c16:uniqueId val="{00000000-1DFF-4E25-9791-8EA557428233}"/>
            </c:ext>
          </c:extLst>
        </c:ser>
        <c:ser>
          <c:idx val="1"/>
          <c:order val="1"/>
          <c:tx>
            <c:strRef>
              <c:f>CICO!$B$4</c:f>
              <c:strCache>
                <c:ptCount val="1"/>
                <c:pt idx="0">
                  <c:v>Cash out - Volume bn</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ICO!$C$2:$G$2</c:f>
              <c:numCache>
                <c:formatCode>General</c:formatCode>
                <c:ptCount val="5"/>
                <c:pt idx="0">
                  <c:v>2020</c:v>
                </c:pt>
                <c:pt idx="1">
                  <c:v>2021</c:v>
                </c:pt>
                <c:pt idx="2">
                  <c:v>2022</c:v>
                </c:pt>
                <c:pt idx="3">
                  <c:v>2023</c:v>
                </c:pt>
                <c:pt idx="4">
                  <c:v>2024</c:v>
                </c:pt>
              </c:numCache>
            </c:numRef>
          </c:cat>
          <c:val>
            <c:numRef>
              <c:f>CICO!$C$4:$G$4</c:f>
              <c:numCache>
                <c:formatCode>_(* #,##0.00_);_(* \(#,##0.00\);_(* "-"??_);_(@_)</c:formatCode>
                <c:ptCount val="5"/>
                <c:pt idx="0">
                  <c:v>0.95235991600000003</c:v>
                </c:pt>
                <c:pt idx="1">
                  <c:v>1.079090299</c:v>
                </c:pt>
                <c:pt idx="2">
                  <c:v>1.127120712</c:v>
                </c:pt>
                <c:pt idx="3">
                  <c:v>1.1682859759999999</c:v>
                </c:pt>
                <c:pt idx="4">
                  <c:v>1.2927148399999999</c:v>
                </c:pt>
              </c:numCache>
            </c:numRef>
          </c:val>
          <c:smooth val="0"/>
          <c:extLst>
            <c:ext xmlns:c16="http://schemas.microsoft.com/office/drawing/2014/chart" uri="{C3380CC4-5D6E-409C-BE32-E72D297353CC}">
              <c16:uniqueId val="{00000001-1DFF-4E25-9791-8EA557428233}"/>
            </c:ext>
          </c:extLst>
        </c:ser>
        <c:dLbls>
          <c:dLblPos val="t"/>
          <c:showLegendKey val="0"/>
          <c:showVal val="1"/>
          <c:showCatName val="0"/>
          <c:showSerName val="0"/>
          <c:showPercent val="0"/>
          <c:showBubbleSize val="0"/>
        </c:dLbls>
        <c:smooth val="0"/>
        <c:axId val="1157478288"/>
        <c:axId val="1734533776"/>
      </c:lineChart>
      <c:catAx>
        <c:axId val="1157478288"/>
        <c:scaling>
          <c:orientation val="minMax"/>
        </c:scaling>
        <c:delete val="0"/>
        <c:axPos val="b"/>
        <c:numFmt formatCode="General" sourceLinked="1"/>
        <c:majorTickMark val="none"/>
        <c:minorTickMark val="none"/>
        <c:tickLblPos val="nextTo"/>
        <c:spPr>
          <a:noFill/>
          <a:ln w="19050" cap="flat" cmpd="sng" algn="ctr">
            <a:solidFill>
              <a:srgbClr val="000C18">
                <a:shade val="95000"/>
                <a:satMod val="105000"/>
              </a:srgbClr>
            </a:solidFill>
            <a:prstDash val="solid"/>
            <a:round/>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734533776"/>
        <c:crosses val="autoZero"/>
        <c:auto val="1"/>
        <c:lblAlgn val="ctr"/>
        <c:lblOffset val="100"/>
        <c:noMultiLvlLbl val="0"/>
      </c:catAx>
      <c:valAx>
        <c:axId val="1734533776"/>
        <c:scaling>
          <c:orientation val="minMax"/>
        </c:scaling>
        <c:delete val="1"/>
        <c:axPos val="l"/>
        <c:numFmt formatCode="_(* #,##0.00_);_(* \(#,##0.00\);_(* &quot;-&quot;??_);_(@_)" sourceLinked="1"/>
        <c:majorTickMark val="none"/>
        <c:minorTickMark val="none"/>
        <c:tickLblPos val="nextTo"/>
        <c:crossAx val="1157478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showDLblsOverMax val="0"/>
  </c:chart>
  <c:spPr>
    <a:solidFill>
      <a:srgbClr val="FFFFFF">
        <a:alpha val="7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txPr>
    <a:bodyPr/>
    <a:lstStyle/>
    <a:p>
      <a:pPr>
        <a:defRPr>
          <a:solidFill>
            <a:schemeClr val="tx1"/>
          </a:solidFill>
          <a:latin typeface="Century Gothic" panose="020B0502020202020204" pitchFamily="34" charset="0"/>
          <a:ea typeface="+mn-ea"/>
          <a:cs typeface="+mn-cs"/>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r>
              <a:rPr lang="en-US" b="0"/>
              <a:t>Value of Transactions of cash in cash out at agents in Kes trill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lineChart>
        <c:grouping val="standard"/>
        <c:varyColors val="0"/>
        <c:ser>
          <c:idx val="0"/>
          <c:order val="0"/>
          <c:tx>
            <c:strRef>
              <c:f>CICO!$K$3</c:f>
              <c:strCache>
                <c:ptCount val="1"/>
                <c:pt idx="0">
                  <c:v>Cash In - Value trn</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ICO!$L$2:$P$2</c:f>
              <c:numCache>
                <c:formatCode>General</c:formatCode>
                <c:ptCount val="5"/>
                <c:pt idx="0">
                  <c:v>2020</c:v>
                </c:pt>
                <c:pt idx="1">
                  <c:v>2021</c:v>
                </c:pt>
                <c:pt idx="2">
                  <c:v>2022</c:v>
                </c:pt>
                <c:pt idx="3">
                  <c:v>2023</c:v>
                </c:pt>
                <c:pt idx="4">
                  <c:v>2024</c:v>
                </c:pt>
              </c:numCache>
            </c:numRef>
          </c:cat>
          <c:val>
            <c:numRef>
              <c:f>CICO!$L$3:$P$3</c:f>
              <c:numCache>
                <c:formatCode>_(* #,##0.00_);_(* \(#,##0.00\);_(* "-"??_);_(@_)</c:formatCode>
                <c:ptCount val="5"/>
                <c:pt idx="0">
                  <c:v>3.23088339460771</c:v>
                </c:pt>
                <c:pt idx="1">
                  <c:v>4.6047283070865799</c:v>
                </c:pt>
                <c:pt idx="2">
                  <c:v>5.5910177048205592</c:v>
                </c:pt>
                <c:pt idx="3">
                  <c:v>5.4602961786344597</c:v>
                </c:pt>
                <c:pt idx="4">
                  <c:v>6.0330755038095498</c:v>
                </c:pt>
              </c:numCache>
            </c:numRef>
          </c:val>
          <c:smooth val="0"/>
          <c:extLst>
            <c:ext xmlns:c16="http://schemas.microsoft.com/office/drawing/2014/chart" uri="{C3380CC4-5D6E-409C-BE32-E72D297353CC}">
              <c16:uniqueId val="{00000000-4704-45B5-88E9-2B42339F4F63}"/>
            </c:ext>
          </c:extLst>
        </c:ser>
        <c:ser>
          <c:idx val="1"/>
          <c:order val="1"/>
          <c:tx>
            <c:strRef>
              <c:f>CICO!$K$4</c:f>
              <c:strCache>
                <c:ptCount val="1"/>
                <c:pt idx="0">
                  <c:v>Cash out - Value trn</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ICO!$L$2:$P$2</c:f>
              <c:numCache>
                <c:formatCode>General</c:formatCode>
                <c:ptCount val="5"/>
                <c:pt idx="0">
                  <c:v>2020</c:v>
                </c:pt>
                <c:pt idx="1">
                  <c:v>2021</c:v>
                </c:pt>
                <c:pt idx="2">
                  <c:v>2022</c:v>
                </c:pt>
                <c:pt idx="3">
                  <c:v>2023</c:v>
                </c:pt>
                <c:pt idx="4">
                  <c:v>2024</c:v>
                </c:pt>
              </c:numCache>
            </c:numRef>
          </c:cat>
          <c:val>
            <c:numRef>
              <c:f>CICO!$L$4:$P$4</c:f>
              <c:numCache>
                <c:formatCode>_(* #,##0.00_);_(* \(#,##0.00\);_(* "-"??_);_(@_)</c:formatCode>
                <c:ptCount val="5"/>
                <c:pt idx="0">
                  <c:v>1.97759644513489</c:v>
                </c:pt>
                <c:pt idx="1">
                  <c:v>2.2630210722711497</c:v>
                </c:pt>
                <c:pt idx="2">
                  <c:v>2.31778674212807</c:v>
                </c:pt>
                <c:pt idx="3">
                  <c:v>2.4936190285378999</c:v>
                </c:pt>
                <c:pt idx="4">
                  <c:v>2.6648480385861402</c:v>
                </c:pt>
              </c:numCache>
            </c:numRef>
          </c:val>
          <c:smooth val="0"/>
          <c:extLst>
            <c:ext xmlns:c16="http://schemas.microsoft.com/office/drawing/2014/chart" uri="{C3380CC4-5D6E-409C-BE32-E72D297353CC}">
              <c16:uniqueId val="{00000001-4704-45B5-88E9-2B42339F4F63}"/>
            </c:ext>
          </c:extLst>
        </c:ser>
        <c:dLbls>
          <c:dLblPos val="t"/>
          <c:showLegendKey val="0"/>
          <c:showVal val="1"/>
          <c:showCatName val="0"/>
          <c:showSerName val="0"/>
          <c:showPercent val="0"/>
          <c:showBubbleSize val="0"/>
        </c:dLbls>
        <c:smooth val="0"/>
        <c:axId val="1735173152"/>
        <c:axId val="1735173632"/>
      </c:lineChart>
      <c:catAx>
        <c:axId val="1735173152"/>
        <c:scaling>
          <c:orientation val="minMax"/>
        </c:scaling>
        <c:delete val="0"/>
        <c:axPos val="b"/>
        <c:numFmt formatCode="General" sourceLinked="1"/>
        <c:majorTickMark val="none"/>
        <c:minorTickMark val="none"/>
        <c:tickLblPos val="nextTo"/>
        <c:spPr>
          <a:noFill/>
          <a:ln w="19050" cap="flat" cmpd="sng" algn="ctr">
            <a:solidFill>
              <a:srgbClr val="000C18">
                <a:shade val="95000"/>
                <a:satMod val="105000"/>
              </a:srgbClr>
            </a:solidFill>
            <a:prstDash val="solid"/>
            <a:round/>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735173632"/>
        <c:crosses val="autoZero"/>
        <c:auto val="1"/>
        <c:lblAlgn val="ctr"/>
        <c:lblOffset val="100"/>
        <c:noMultiLvlLbl val="0"/>
      </c:catAx>
      <c:valAx>
        <c:axId val="1735173632"/>
        <c:scaling>
          <c:orientation val="minMax"/>
        </c:scaling>
        <c:delete val="1"/>
        <c:axPos val="l"/>
        <c:numFmt formatCode="_(* #,##0.00_);_(* \(#,##0.00\);_(* &quot;-&quot;??_);_(@_)" sourceLinked="1"/>
        <c:majorTickMark val="none"/>
        <c:minorTickMark val="none"/>
        <c:tickLblPos val="nextTo"/>
        <c:crossAx val="1735173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showDLblsOverMax val="0"/>
  </c:chart>
  <c:spPr>
    <a:solidFill>
      <a:srgbClr val="FFFFFF">
        <a:alpha val="80000"/>
      </a:srgbClr>
    </a:solidFill>
    <a:ln>
      <a:noFill/>
    </a:ln>
    <a:effectLst>
      <a:outerShdw blurRad="40000" dist="23000" dir="5400000" sx="108000" sy="108000" rotWithShape="0">
        <a:srgbClr val="000000">
          <a:alpha val="5000"/>
        </a:srgbClr>
      </a:outerShdw>
    </a:effectLst>
    <a:scene3d>
      <a:camera prst="orthographicFront">
        <a:rot lat="0" lon="0" rev="0"/>
      </a:camera>
      <a:lightRig rig="threePt" dir="t">
        <a:rot lat="0" lon="0" rev="1200000"/>
      </a:lightRig>
    </a:scene3d>
    <a:sp3d>
      <a:bevelT w="63500" h="25400"/>
    </a:sp3d>
  </c:spPr>
  <c:txPr>
    <a:bodyPr/>
    <a:lstStyle/>
    <a:p>
      <a:pPr>
        <a:defRPr>
          <a:solidFill>
            <a:schemeClr val="tx1"/>
          </a:solidFill>
          <a:latin typeface="Century Gothic" panose="020B0502020202020204" pitchFamily="34" charset="0"/>
          <a:ea typeface="+mn-ea"/>
          <a:cs typeface="+mn-cs"/>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r>
              <a:rPr lang="en-US" sz="1100"/>
              <a:t>Number of transaction of B2E and E2B in Mill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endParaRPr lang="en-US"/>
        </a:p>
      </c:txPr>
    </c:title>
    <c:autoTitleDeleted val="0"/>
    <c:plotArea>
      <c:layout/>
      <c:lineChart>
        <c:grouping val="standard"/>
        <c:varyColors val="0"/>
        <c:ser>
          <c:idx val="0"/>
          <c:order val="0"/>
          <c:tx>
            <c:strRef>
              <c:f>B2E!$B$3</c:f>
              <c:strCache>
                <c:ptCount val="1"/>
                <c:pt idx="0">
                  <c:v>Bank to E-Wallet - Volume</c:v>
                </c:pt>
              </c:strCache>
            </c:strRef>
          </c:tx>
          <c:spPr>
            <a:ln w="28575" cap="rnd">
              <a:solidFill>
                <a:schemeClr val="accent1"/>
              </a:solidFill>
              <a:round/>
            </a:ln>
            <a:effectLst/>
          </c:spPr>
          <c:marker>
            <c:symbol val="none"/>
          </c:marker>
          <c:dLbls>
            <c:dLbl>
              <c:idx val="3"/>
              <c:layout>
                <c:manualLayout>
                  <c:x val="-5.7655860349127092E-2"/>
                  <c:y val="3.79947166401900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46-40E2-B71C-897C5977E796}"/>
                </c:ext>
              </c:extLst>
            </c:dLbl>
            <c:dLbl>
              <c:idx val="4"/>
              <c:layout>
                <c:manualLayout>
                  <c:x val="-2.2743142144638403E-2"/>
                  <c:y val="3.79947166401900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46-40E2-B71C-897C5977E796}"/>
                </c:ext>
              </c:extLst>
            </c:dLbl>
            <c:spPr>
              <a:solidFill>
                <a:schemeClr val="accent1"/>
              </a:solidFill>
              <a:ln>
                <a:noFill/>
              </a:ln>
              <a:effectLst/>
            </c:spPr>
            <c:txPr>
              <a:bodyPr rot="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2E!$C$2:$G$2</c:f>
              <c:numCache>
                <c:formatCode>General</c:formatCode>
                <c:ptCount val="5"/>
                <c:pt idx="0">
                  <c:v>2020</c:v>
                </c:pt>
                <c:pt idx="1">
                  <c:v>2021</c:v>
                </c:pt>
                <c:pt idx="2">
                  <c:v>2022</c:v>
                </c:pt>
                <c:pt idx="3">
                  <c:v>2023</c:v>
                </c:pt>
                <c:pt idx="4">
                  <c:v>2024</c:v>
                </c:pt>
              </c:numCache>
            </c:numRef>
          </c:cat>
          <c:val>
            <c:numRef>
              <c:f>B2E!$C$3:$G$3</c:f>
              <c:numCache>
                <c:formatCode>_(* #,##0.00_);_(* \(#,##0.00\);_(* "-"??_);_(@_)</c:formatCode>
                <c:ptCount val="5"/>
                <c:pt idx="0">
                  <c:v>217.43479400000001</c:v>
                </c:pt>
                <c:pt idx="1">
                  <c:v>375.223727</c:v>
                </c:pt>
                <c:pt idx="2">
                  <c:v>562.43098599999996</c:v>
                </c:pt>
                <c:pt idx="3">
                  <c:v>532.37002700000005</c:v>
                </c:pt>
                <c:pt idx="4">
                  <c:v>628.168995</c:v>
                </c:pt>
              </c:numCache>
            </c:numRef>
          </c:val>
          <c:smooth val="0"/>
          <c:extLst>
            <c:ext xmlns:c16="http://schemas.microsoft.com/office/drawing/2014/chart" uri="{C3380CC4-5D6E-409C-BE32-E72D297353CC}">
              <c16:uniqueId val="{00000002-0E46-40E2-B71C-897C5977E796}"/>
            </c:ext>
          </c:extLst>
        </c:ser>
        <c:ser>
          <c:idx val="1"/>
          <c:order val="1"/>
          <c:tx>
            <c:strRef>
              <c:f>B2E!$B$4</c:f>
              <c:strCache>
                <c:ptCount val="1"/>
                <c:pt idx="0">
                  <c:v>E-Wallet to Bank - Volume</c:v>
                </c:pt>
              </c:strCache>
            </c:strRef>
          </c:tx>
          <c:spPr>
            <a:ln w="28575" cap="rnd">
              <a:solidFill>
                <a:schemeClr val="accent2"/>
              </a:solidFill>
              <a:round/>
            </a:ln>
            <a:effectLst/>
          </c:spPr>
          <c:marker>
            <c:symbol val="none"/>
          </c:marker>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E46-40E2-B71C-897C5977E796}"/>
                </c:ext>
              </c:extLst>
            </c:dLbl>
            <c:dLbl>
              <c:idx val="3"/>
              <c:layout>
                <c:manualLayout>
                  <c:x val="-5.5162094763092272E-2"/>
                  <c:y val="-4.01371133921237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E46-40E2-B71C-897C5977E796}"/>
                </c:ext>
              </c:extLst>
            </c:dLbl>
            <c:dLbl>
              <c:idx val="4"/>
              <c:layout>
                <c:manualLayout>
                  <c:x val="-1.0274314214464023E-2"/>
                  <c:y val="-4.43587485743671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E46-40E2-B71C-897C5977E796}"/>
                </c:ext>
              </c:extLst>
            </c:dLbl>
            <c:spPr>
              <a:solidFill>
                <a:schemeClr val="tx1"/>
              </a:solidFill>
              <a:ln>
                <a:noFill/>
              </a:ln>
              <a:effectLst/>
            </c:spPr>
            <c:txPr>
              <a:bodyPr rot="0" spcFirstLastPara="1" vertOverflow="ellipsis" vert="horz" wrap="square" anchor="ctr" anchorCtr="1"/>
              <a:lstStyle/>
              <a:p>
                <a:pPr>
                  <a:defRPr sz="900" b="1" i="0" u="none" strike="noStrike" kern="1200" baseline="0">
                    <a:solidFill>
                      <a:schemeClr val="bg1"/>
                    </a:solidFill>
                    <a:latin typeface="Century Gothic" panose="020B0502020202020204" pitchFamily="34" charset="0"/>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2E!$C$2:$G$2</c:f>
              <c:numCache>
                <c:formatCode>General</c:formatCode>
                <c:ptCount val="5"/>
                <c:pt idx="0">
                  <c:v>2020</c:v>
                </c:pt>
                <c:pt idx="1">
                  <c:v>2021</c:v>
                </c:pt>
                <c:pt idx="2">
                  <c:v>2022</c:v>
                </c:pt>
                <c:pt idx="3">
                  <c:v>2023</c:v>
                </c:pt>
                <c:pt idx="4">
                  <c:v>2024</c:v>
                </c:pt>
              </c:numCache>
            </c:numRef>
          </c:cat>
          <c:val>
            <c:numRef>
              <c:f>B2E!$C$4:$G$4</c:f>
              <c:numCache>
                <c:formatCode>_(* #,##0.00_);_(* \(#,##0.00\);_(* "-"??_);_(@_)</c:formatCode>
                <c:ptCount val="5"/>
                <c:pt idx="0">
                  <c:v>91.325858999999994</c:v>
                </c:pt>
                <c:pt idx="1">
                  <c:v>221.334169</c:v>
                </c:pt>
                <c:pt idx="2">
                  <c:v>502.68501700000002</c:v>
                </c:pt>
                <c:pt idx="3">
                  <c:v>567.38109999999995</c:v>
                </c:pt>
                <c:pt idx="4">
                  <c:v>650.25413800000001</c:v>
                </c:pt>
              </c:numCache>
            </c:numRef>
          </c:val>
          <c:smooth val="0"/>
          <c:extLst>
            <c:ext xmlns:c16="http://schemas.microsoft.com/office/drawing/2014/chart" uri="{C3380CC4-5D6E-409C-BE32-E72D297353CC}">
              <c16:uniqueId val="{00000006-0E46-40E2-B71C-897C5977E796}"/>
            </c:ext>
          </c:extLst>
        </c:ser>
        <c:dLbls>
          <c:dLblPos val="t"/>
          <c:showLegendKey val="0"/>
          <c:showVal val="1"/>
          <c:showCatName val="0"/>
          <c:showSerName val="0"/>
          <c:showPercent val="0"/>
          <c:showBubbleSize val="0"/>
        </c:dLbls>
        <c:smooth val="0"/>
        <c:axId val="1735250832"/>
        <c:axId val="1735254192"/>
      </c:lineChart>
      <c:catAx>
        <c:axId val="1735250832"/>
        <c:scaling>
          <c:orientation val="minMax"/>
        </c:scaling>
        <c:delete val="0"/>
        <c:axPos val="b"/>
        <c:numFmt formatCode="General" sourceLinked="1"/>
        <c:majorTickMark val="none"/>
        <c:minorTickMark val="none"/>
        <c:tickLblPos val="nextTo"/>
        <c:spPr>
          <a:noFill/>
          <a:ln w="19050" cap="flat" cmpd="sng" algn="ctr">
            <a:solidFill>
              <a:srgbClr val="000C18">
                <a:shade val="95000"/>
                <a:satMod val="105000"/>
              </a:srgbClr>
            </a:solidFill>
            <a:prstDash val="solid"/>
            <a:round/>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735254192"/>
        <c:crosses val="autoZero"/>
        <c:auto val="1"/>
        <c:lblAlgn val="ctr"/>
        <c:lblOffset val="100"/>
        <c:noMultiLvlLbl val="0"/>
      </c:catAx>
      <c:valAx>
        <c:axId val="1735254192"/>
        <c:scaling>
          <c:orientation val="minMax"/>
        </c:scaling>
        <c:delete val="1"/>
        <c:axPos val="l"/>
        <c:numFmt formatCode="_(* #,##0.00_);_(* \(#,##0.00\);_(* &quot;-&quot;??_);_(@_)" sourceLinked="1"/>
        <c:majorTickMark val="none"/>
        <c:minorTickMark val="none"/>
        <c:tickLblPos val="nextTo"/>
        <c:crossAx val="1735250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legend>
    <c:plotVisOnly val="1"/>
    <c:dispBlanksAs val="gap"/>
    <c:showDLblsOverMax val="0"/>
  </c:chart>
  <c:spPr>
    <a:solidFill>
      <a:srgbClr val="FFFFFF"/>
    </a:solidFill>
    <a:ln>
      <a:noFill/>
    </a:ln>
    <a:effectLst/>
  </c:spPr>
  <c:txPr>
    <a:bodyPr/>
    <a:lstStyle/>
    <a:p>
      <a:pPr>
        <a:defRPr b="1">
          <a:solidFill>
            <a:srgbClr val="000C18"/>
          </a:solidFill>
          <a:latin typeface="Century Gothic" panose="020B0502020202020204" pitchFamily="34" charset="0"/>
          <a:ea typeface="+mn-ea"/>
          <a:cs typeface="+mn-cs"/>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r>
              <a:rPr lang="en-US" sz="1200"/>
              <a:t>Value of transactions of B2E and E2B in Trill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000C18"/>
              </a:solidFill>
              <a:latin typeface="Century Gothic" panose="020B0502020202020204" pitchFamily="34" charset="0"/>
              <a:ea typeface="+mn-ea"/>
              <a:cs typeface="+mn-cs"/>
            </a:defRPr>
          </a:pPr>
          <a:endParaRPr lang="en-US"/>
        </a:p>
      </c:txPr>
    </c:title>
    <c:autoTitleDeleted val="0"/>
    <c:plotArea>
      <c:layout>
        <c:manualLayout>
          <c:layoutTarget val="inner"/>
          <c:xMode val="edge"/>
          <c:yMode val="edge"/>
          <c:x val="6.1466503222861527E-2"/>
          <c:y val="0.13592302207494245"/>
          <c:w val="0.91422307134469338"/>
          <c:h val="0.69523271157834354"/>
        </c:manualLayout>
      </c:layout>
      <c:lineChart>
        <c:grouping val="standard"/>
        <c:varyColors val="0"/>
        <c:ser>
          <c:idx val="0"/>
          <c:order val="0"/>
          <c:tx>
            <c:strRef>
              <c:f>B2E!$I$3</c:f>
              <c:strCache>
                <c:ptCount val="1"/>
                <c:pt idx="0">
                  <c:v>Bank to E-Wallet - Value</c:v>
                </c:pt>
              </c:strCache>
            </c:strRef>
          </c:tx>
          <c:spPr>
            <a:ln w="28575" cap="rnd">
              <a:solidFill>
                <a:schemeClr val="accent1"/>
              </a:solidFill>
              <a:round/>
            </a:ln>
            <a:effectLst/>
          </c:spPr>
          <c:marker>
            <c:symbol val="none"/>
          </c:marker>
          <c:dLbls>
            <c:dLbl>
              <c:idx val="0"/>
              <c:layout>
                <c:manualLayout>
                  <c:x val="-4.2061747891611739E-2"/>
                  <c:y val="5.86348976327601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F73-4E3A-99BB-7EBE92B66F94}"/>
                </c:ext>
              </c:extLst>
            </c:dLbl>
            <c:dLbl>
              <c:idx val="3"/>
              <c:layout>
                <c:manualLayout>
                  <c:x val="-3.6577840112201963E-2"/>
                  <c:y val="2.93174488163800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F73-4E3A-99BB-7EBE92B66F94}"/>
                </c:ext>
              </c:extLst>
            </c:dLbl>
            <c:dLbl>
              <c:idx val="4"/>
              <c:layout>
                <c:manualLayout>
                  <c:x val="-4.0191715166039026E-2"/>
                  <c:y val="-2.19880866122850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73-4E3A-99BB-7EBE92B66F94}"/>
                </c:ext>
              </c:extLst>
            </c:dLbl>
            <c:spPr>
              <a:solidFill>
                <a:schemeClr val="tx1"/>
              </a:solidFill>
              <a:ln>
                <a:noFill/>
              </a:ln>
              <a:effectLst/>
            </c:spPr>
            <c:txPr>
              <a:bodyPr rot="0" spcFirstLastPara="1" vertOverflow="ellipsis" vert="horz" wrap="square" anchor="ctr" anchorCtr="1"/>
              <a:lstStyle/>
              <a:p>
                <a:pPr>
                  <a:defRPr sz="9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2E!$J$2:$N$2</c:f>
              <c:numCache>
                <c:formatCode>General</c:formatCode>
                <c:ptCount val="5"/>
                <c:pt idx="0">
                  <c:v>2020</c:v>
                </c:pt>
                <c:pt idx="1">
                  <c:v>2021</c:v>
                </c:pt>
                <c:pt idx="2">
                  <c:v>2022</c:v>
                </c:pt>
                <c:pt idx="3">
                  <c:v>2023</c:v>
                </c:pt>
                <c:pt idx="4">
                  <c:v>2024</c:v>
                </c:pt>
              </c:numCache>
            </c:numRef>
          </c:cat>
          <c:val>
            <c:numRef>
              <c:f>B2E!$J$3:$N$3</c:f>
              <c:numCache>
                <c:formatCode>_(* #,##0.00_);_(* \(#,##0.00\);_(* "-"??_);_(@_)</c:formatCode>
                <c:ptCount val="5"/>
                <c:pt idx="0">
                  <c:v>1.6370424462636999</c:v>
                </c:pt>
                <c:pt idx="1">
                  <c:v>2.6600704933990698</c:v>
                </c:pt>
                <c:pt idx="2">
                  <c:v>3.6963796071394501</c:v>
                </c:pt>
                <c:pt idx="3">
                  <c:v>3.5606461807660201</c:v>
                </c:pt>
                <c:pt idx="4">
                  <c:v>4.0874669945166602</c:v>
                </c:pt>
              </c:numCache>
            </c:numRef>
          </c:val>
          <c:smooth val="0"/>
          <c:extLst>
            <c:ext xmlns:c16="http://schemas.microsoft.com/office/drawing/2014/chart" uri="{C3380CC4-5D6E-409C-BE32-E72D297353CC}">
              <c16:uniqueId val="{00000003-8F73-4E3A-99BB-7EBE92B66F94}"/>
            </c:ext>
          </c:extLst>
        </c:ser>
        <c:ser>
          <c:idx val="1"/>
          <c:order val="1"/>
          <c:tx>
            <c:strRef>
              <c:f>B2E!$I$4</c:f>
              <c:strCache>
                <c:ptCount val="1"/>
                <c:pt idx="0">
                  <c:v>E-Wallet to Bank - Value</c:v>
                </c:pt>
              </c:strCache>
            </c:strRef>
          </c:tx>
          <c:spPr>
            <a:ln w="28575" cap="rnd">
              <a:solidFill>
                <a:schemeClr val="accent2"/>
              </a:solidFill>
              <a:round/>
            </a:ln>
            <a:effectLst/>
          </c:spPr>
          <c:marker>
            <c:symbol val="none"/>
          </c:marker>
          <c:dLbls>
            <c:dLbl>
              <c:idx val="0"/>
              <c:layout>
                <c:manualLayout>
                  <c:x val="-4.3931780617184439E-2"/>
                  <c:y val="-4.76408543266177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F73-4E3A-99BB-7EBE92B66F94}"/>
                </c:ext>
              </c:extLst>
            </c:dLbl>
            <c:dLbl>
              <c:idx val="3"/>
              <c:layout>
                <c:manualLayout>
                  <c:x val="-2.7101486087030145E-2"/>
                  <c:y val="-6.22995787348078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73-4E3A-99BB-7EBE92B66F94}"/>
                </c:ext>
              </c:extLst>
            </c:dLbl>
            <c:dLbl>
              <c:idx val="4"/>
              <c:layout>
                <c:manualLayout>
                  <c:x val="-3.271158426374824E-2"/>
                  <c:y val="2.93174488163801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F73-4E3A-99BB-7EBE92B66F94}"/>
                </c:ext>
              </c:extLst>
            </c:dLbl>
            <c:spPr>
              <a:solidFill>
                <a:schemeClr val="tx2">
                  <a:lumMod val="60000"/>
                  <a:lumOff val="40000"/>
                </a:schemeClr>
              </a:solidFill>
              <a:ln>
                <a:noFill/>
              </a:ln>
              <a:effectLst/>
            </c:spPr>
            <c:txPr>
              <a:bodyPr rot="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2E!$J$2:$N$2</c:f>
              <c:numCache>
                <c:formatCode>General</c:formatCode>
                <c:ptCount val="5"/>
                <c:pt idx="0">
                  <c:v>2020</c:v>
                </c:pt>
                <c:pt idx="1">
                  <c:v>2021</c:v>
                </c:pt>
                <c:pt idx="2">
                  <c:v>2022</c:v>
                </c:pt>
                <c:pt idx="3">
                  <c:v>2023</c:v>
                </c:pt>
                <c:pt idx="4">
                  <c:v>2024</c:v>
                </c:pt>
              </c:numCache>
            </c:numRef>
          </c:cat>
          <c:val>
            <c:numRef>
              <c:f>B2E!$J$4:$N$4</c:f>
              <c:numCache>
                <c:formatCode>_(* #,##0.00_);_(* \(#,##0.00\);_(* "-"??_);_(@_)</c:formatCode>
                <c:ptCount val="5"/>
                <c:pt idx="0">
                  <c:v>1.6637315417311298</c:v>
                </c:pt>
                <c:pt idx="1">
                  <c:v>3.4215646000822999</c:v>
                </c:pt>
                <c:pt idx="2">
                  <c:v>5.1868563132665404</c:v>
                </c:pt>
                <c:pt idx="3">
                  <c:v>3.5557971071420296</c:v>
                </c:pt>
                <c:pt idx="4">
                  <c:v>3.9137331773844504</c:v>
                </c:pt>
              </c:numCache>
            </c:numRef>
          </c:val>
          <c:smooth val="0"/>
          <c:extLst>
            <c:ext xmlns:c16="http://schemas.microsoft.com/office/drawing/2014/chart" uri="{C3380CC4-5D6E-409C-BE32-E72D297353CC}">
              <c16:uniqueId val="{00000007-8F73-4E3A-99BB-7EBE92B66F94}"/>
            </c:ext>
          </c:extLst>
        </c:ser>
        <c:dLbls>
          <c:dLblPos val="t"/>
          <c:showLegendKey val="0"/>
          <c:showVal val="1"/>
          <c:showCatName val="0"/>
          <c:showSerName val="0"/>
          <c:showPercent val="0"/>
          <c:showBubbleSize val="0"/>
        </c:dLbls>
        <c:smooth val="0"/>
        <c:axId val="1986570080"/>
        <c:axId val="1986565760"/>
      </c:lineChart>
      <c:catAx>
        <c:axId val="1986570080"/>
        <c:scaling>
          <c:orientation val="minMax"/>
        </c:scaling>
        <c:delete val="0"/>
        <c:axPos val="b"/>
        <c:numFmt formatCode="General" sourceLinked="1"/>
        <c:majorTickMark val="none"/>
        <c:minorTickMark val="none"/>
        <c:tickLblPos val="nextTo"/>
        <c:spPr>
          <a:noFill/>
          <a:ln w="19050" cap="flat" cmpd="sng" algn="ctr">
            <a:solidFill>
              <a:srgbClr val="000C18">
                <a:shade val="95000"/>
                <a:satMod val="105000"/>
              </a:srgbClr>
            </a:solidFill>
            <a:prstDash val="solid"/>
            <a:round/>
          </a:ln>
          <a:effectLst/>
        </c:spPr>
        <c:txPr>
          <a:bodyPr rot="-6000000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crossAx val="1986565760"/>
        <c:crosses val="autoZero"/>
        <c:auto val="1"/>
        <c:lblAlgn val="ctr"/>
        <c:lblOffset val="100"/>
        <c:noMultiLvlLbl val="0"/>
      </c:catAx>
      <c:valAx>
        <c:axId val="1986565760"/>
        <c:scaling>
          <c:orientation val="minMax"/>
        </c:scaling>
        <c:delete val="1"/>
        <c:axPos val="l"/>
        <c:numFmt formatCode="_(* #,##0.00_);_(* \(#,##0.00\);_(* &quot;-&quot;??_);_(@_)" sourceLinked="1"/>
        <c:majorTickMark val="none"/>
        <c:minorTickMark val="none"/>
        <c:tickLblPos val="nextTo"/>
        <c:crossAx val="1986570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0C18"/>
              </a:solidFill>
              <a:latin typeface="Century Gothic" panose="020B0502020202020204" pitchFamily="34" charset="0"/>
              <a:ea typeface="+mn-ea"/>
              <a:cs typeface="+mn-cs"/>
            </a:defRPr>
          </a:pPr>
          <a:endParaRPr lang="en-US"/>
        </a:p>
      </c:txPr>
    </c:legend>
    <c:plotVisOnly val="1"/>
    <c:dispBlanksAs val="gap"/>
    <c:showDLblsOverMax val="0"/>
  </c:chart>
  <c:spPr>
    <a:solidFill>
      <a:srgbClr val="FFFFFF"/>
    </a:solidFill>
    <a:ln>
      <a:noFill/>
    </a:ln>
    <a:effectLst/>
  </c:spPr>
  <c:txPr>
    <a:bodyPr/>
    <a:lstStyle/>
    <a:p>
      <a:pPr>
        <a:defRPr b="1">
          <a:solidFill>
            <a:srgbClr val="000C18"/>
          </a:solidFill>
          <a:latin typeface="Century Gothic" panose="020B0502020202020204" pitchFamily="34" charset="0"/>
          <a:ea typeface="+mn-ea"/>
          <a:cs typeface="+mn-cs"/>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r>
              <a:rPr lang="en-US" b="1"/>
              <a:t>Cheque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dk1"/>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Sheet1!$A$3</c:f>
              <c:strCache>
                <c:ptCount val="1"/>
                <c:pt idx="0">
                  <c:v>Items No</c:v>
                </c:pt>
              </c:strCache>
            </c:strRef>
          </c:tx>
          <c:spPr>
            <a:solidFill>
              <a:schemeClr val="accent1"/>
            </a:solidFill>
            <a:ln>
              <a:noFill/>
            </a:ln>
            <a:effectLst/>
          </c:spPr>
          <c:invertIfNegative val="0"/>
          <c:trendline>
            <c:spPr>
              <a:ln w="19050" cap="rnd">
                <a:solidFill>
                  <a:schemeClr val="accent1"/>
                </a:solidFill>
                <a:prstDash val="sysDot"/>
              </a:ln>
              <a:effectLst/>
            </c:spPr>
            <c:trendlineType val="linear"/>
            <c:dispRSqr val="0"/>
            <c:dispEq val="0"/>
          </c:trendline>
          <c:cat>
            <c:numRef>
              <c:f>Sheet1!$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B$3:$K$3</c:f>
              <c:numCache>
                <c:formatCode>" "* #,##0.0" ";"-"* #,##0.0" ";" "* "-"#.0" ";" "@" "</c:formatCode>
                <c:ptCount val="10"/>
                <c:pt idx="0">
                  <c:v>19.706288000000001</c:v>
                </c:pt>
                <c:pt idx="1">
                  <c:v>19.408930999999999</c:v>
                </c:pt>
                <c:pt idx="2">
                  <c:v>18.337847</c:v>
                </c:pt>
                <c:pt idx="3">
                  <c:v>18.235208</c:v>
                </c:pt>
                <c:pt idx="4">
                  <c:v>18.201772999999999</c:v>
                </c:pt>
                <c:pt idx="5">
                  <c:v>15.081854</c:v>
                </c:pt>
                <c:pt idx="6">
                  <c:v>16.381637999999999</c:v>
                </c:pt>
                <c:pt idx="7">
                  <c:v>15.686700999999999</c:v>
                </c:pt>
                <c:pt idx="8">
                  <c:v>14.861520000000001</c:v>
                </c:pt>
                <c:pt idx="9">
                  <c:v>14.252962999999999</c:v>
                </c:pt>
              </c:numCache>
            </c:numRef>
          </c:val>
          <c:extLst>
            <c:ext xmlns:c16="http://schemas.microsoft.com/office/drawing/2014/chart" uri="{C3380CC4-5D6E-409C-BE32-E72D297353CC}">
              <c16:uniqueId val="{00000000-4742-4C44-AEA1-1234AD30FD00}"/>
            </c:ext>
          </c:extLst>
        </c:ser>
        <c:dLbls>
          <c:showLegendKey val="0"/>
          <c:showVal val="0"/>
          <c:showCatName val="0"/>
          <c:showSerName val="0"/>
          <c:showPercent val="0"/>
          <c:showBubbleSize val="0"/>
        </c:dLbls>
        <c:gapWidth val="150"/>
        <c:axId val="912234992"/>
        <c:axId val="912234032"/>
      </c:barChart>
      <c:lineChart>
        <c:grouping val="standard"/>
        <c:varyColors val="0"/>
        <c:ser>
          <c:idx val="1"/>
          <c:order val="1"/>
          <c:tx>
            <c:strRef>
              <c:f>Sheet1!$A$4</c:f>
              <c:strCache>
                <c:ptCount val="1"/>
                <c:pt idx="0">
                  <c:v>Value</c:v>
                </c:pt>
              </c:strCache>
            </c:strRef>
          </c:tx>
          <c:spPr>
            <a:ln w="28575" cap="rnd">
              <a:solidFill>
                <a:schemeClr val="accent2"/>
              </a:solidFill>
              <a:round/>
            </a:ln>
            <a:effectLst/>
          </c:spPr>
          <c:marker>
            <c:symbol val="none"/>
          </c:marker>
          <c:cat>
            <c:numRef>
              <c:f>Sheet1!$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B$4:$K$4</c:f>
              <c:numCache>
                <c:formatCode>" "* #,##0.00" ";"-"* #,##0.00" ";" "* "-"#.00" ";" "@" "</c:formatCode>
                <c:ptCount val="10"/>
                <c:pt idx="0">
                  <c:v>2.6478138304750996</c:v>
                </c:pt>
                <c:pt idx="1">
                  <c:v>2.6348470693203496</c:v>
                </c:pt>
                <c:pt idx="2">
                  <c:v>2.5370267944803997</c:v>
                </c:pt>
                <c:pt idx="3">
                  <c:v>2.5851686576174995</c:v>
                </c:pt>
                <c:pt idx="4">
                  <c:v>2.6064387944439495</c:v>
                </c:pt>
                <c:pt idx="5">
                  <c:v>2.3279077249387501</c:v>
                </c:pt>
                <c:pt idx="6">
                  <c:v>2.5404907492977502</c:v>
                </c:pt>
                <c:pt idx="7">
                  <c:v>2.5542985108091498</c:v>
                </c:pt>
                <c:pt idx="8">
                  <c:v>2.5400085797099998</c:v>
                </c:pt>
                <c:pt idx="9">
                  <c:v>2.4810016686699998</c:v>
                </c:pt>
              </c:numCache>
            </c:numRef>
          </c:val>
          <c:smooth val="0"/>
          <c:extLst>
            <c:ext xmlns:c16="http://schemas.microsoft.com/office/drawing/2014/chart" uri="{C3380CC4-5D6E-409C-BE32-E72D297353CC}">
              <c16:uniqueId val="{00000001-4742-4C44-AEA1-1234AD30FD00}"/>
            </c:ext>
          </c:extLst>
        </c:ser>
        <c:dLbls>
          <c:showLegendKey val="0"/>
          <c:showVal val="0"/>
          <c:showCatName val="0"/>
          <c:showSerName val="0"/>
          <c:showPercent val="0"/>
          <c:showBubbleSize val="0"/>
        </c:dLbls>
        <c:marker val="1"/>
        <c:smooth val="0"/>
        <c:axId val="2062938592"/>
        <c:axId val="2062939552"/>
      </c:lineChart>
      <c:catAx>
        <c:axId val="912234992"/>
        <c:scaling>
          <c:orientation val="minMax"/>
        </c:scaling>
        <c:delete val="0"/>
        <c:axPos val="b"/>
        <c:numFmt formatCode="General" sourceLinked="1"/>
        <c:majorTickMark val="none"/>
        <c:minorTickMark val="none"/>
        <c:tickLblPos val="nextTo"/>
        <c:spPr>
          <a:noFill/>
          <a:ln w="12700" cap="flat" cmpd="sng" algn="ctr">
            <a:solidFill>
              <a:schemeClr val="dk1"/>
            </a:solidFill>
            <a:prstDash val="solid"/>
            <a:miter lim="800000"/>
          </a:ln>
          <a:effectLst/>
        </c:spPr>
        <c:txPr>
          <a:bodyPr rot="-60000000" spcFirstLastPara="1" vertOverflow="ellipsis" vert="horz" wrap="square" anchor="ctr" anchorCtr="1"/>
          <a:lstStyle/>
          <a:p>
            <a:pPr>
              <a:defRPr sz="900" b="0" i="0" u="none" strike="noStrike" kern="1200" baseline="0">
                <a:solidFill>
                  <a:schemeClr val="dk1"/>
                </a:solidFill>
                <a:latin typeface="Century Gothic" panose="020B0502020202020204" pitchFamily="34" charset="0"/>
                <a:ea typeface="+mn-ea"/>
                <a:cs typeface="+mn-cs"/>
              </a:defRPr>
            </a:pPr>
            <a:endParaRPr lang="en-US"/>
          </a:p>
        </c:txPr>
        <c:crossAx val="912234032"/>
        <c:crosses val="autoZero"/>
        <c:auto val="1"/>
        <c:lblAlgn val="ctr"/>
        <c:lblOffset val="100"/>
        <c:noMultiLvlLbl val="0"/>
      </c:catAx>
      <c:valAx>
        <c:axId val="91223403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Century Gothic" panose="020B0502020202020204" pitchFamily="34" charset="0"/>
                    <a:ea typeface="+mn-ea"/>
                    <a:cs typeface="+mn-cs"/>
                  </a:defRPr>
                </a:pPr>
                <a:r>
                  <a:rPr lang="en-US" b="0">
                    <a:solidFill>
                      <a:schemeClr val="tx1"/>
                    </a:solidFill>
                  </a:rPr>
                  <a:t>Number of items in M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Century Gothic" panose="020B0502020202020204" pitchFamily="34" charset="0"/>
                  <a:ea typeface="+mn-ea"/>
                  <a:cs typeface="+mn-cs"/>
                </a:defRPr>
              </a:pPr>
              <a:endParaRPr lang="en-US"/>
            </a:p>
          </c:txPr>
        </c:title>
        <c:numFmt formatCode="&quot; &quot;* #,##0.0&quot; &quot;;&quot;-&quot;* #,##0.0&quot; &quot;;&quot; &quot;* &quot;-&quot;#.0&quot; &quot;;&quot; &quot;@&quot; &quot;" sourceLinked="1"/>
        <c:majorTickMark val="none"/>
        <c:minorTickMark val="none"/>
        <c:tickLblPos val="nextTo"/>
        <c:spPr>
          <a:noFill/>
          <a:ln w="12700" cap="flat" cmpd="sng" algn="ctr">
            <a:solidFill>
              <a:schemeClr val="dk1"/>
            </a:solidFill>
            <a:prstDash val="solid"/>
            <a:miter lim="800000"/>
          </a:ln>
          <a:effectLst/>
        </c:spPr>
        <c:txPr>
          <a:bodyPr rot="-6000000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crossAx val="912234992"/>
        <c:crosses val="autoZero"/>
        <c:crossBetween val="between"/>
      </c:valAx>
      <c:valAx>
        <c:axId val="206293955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dk1"/>
                    </a:solidFill>
                    <a:latin typeface="Century Gothic" panose="020B0502020202020204" pitchFamily="34" charset="0"/>
                    <a:ea typeface="+mn-ea"/>
                    <a:cs typeface="+mn-cs"/>
                  </a:defRPr>
                </a:pPr>
                <a:r>
                  <a:rPr lang="en-US" b="0"/>
                  <a:t>Value in Trillions</a:t>
                </a:r>
              </a:p>
              <a:p>
                <a:pPr>
                  <a:defRPr/>
                </a:pPr>
                <a:endParaRPr lang="en-US" b="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dk1"/>
                  </a:solidFill>
                  <a:latin typeface="Century Gothic" panose="020B0502020202020204" pitchFamily="34" charset="0"/>
                  <a:ea typeface="+mn-ea"/>
                  <a:cs typeface="+mn-cs"/>
                </a:defRPr>
              </a:pPr>
              <a:endParaRPr lang="en-US"/>
            </a:p>
          </c:txPr>
        </c:title>
        <c:numFmt formatCode="&quot; &quot;* #,##0.00&quot; &quot;;&quot;-&quot;* #,##0.00&quot; &quot;;&quot; &quot;* &quot;-&quot;#.00&quot; &quot;;&quot; &quot;@&quot; &quot;"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crossAx val="2062938592"/>
        <c:crosses val="max"/>
        <c:crossBetween val="between"/>
      </c:valAx>
      <c:catAx>
        <c:axId val="2062938592"/>
        <c:scaling>
          <c:orientation val="minMax"/>
        </c:scaling>
        <c:delete val="1"/>
        <c:axPos val="b"/>
        <c:numFmt formatCode="General" sourceLinked="1"/>
        <c:majorTickMark val="out"/>
        <c:minorTickMark val="none"/>
        <c:tickLblPos val="nextTo"/>
        <c:crossAx val="206293955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dk1"/>
              </a:solidFill>
              <a:latin typeface="Century Gothic" panose="020B0502020202020204" pitchFamily="34" charset="0"/>
              <a:ea typeface="+mn-ea"/>
              <a:cs typeface="+mn-cs"/>
            </a:defRPr>
          </a:pPr>
          <a:endParaRPr lang="en-US"/>
        </a:p>
      </c:txPr>
    </c:legend>
    <c:plotVisOnly val="1"/>
    <c:dispBlanksAs val="gap"/>
    <c:showDLblsOverMax val="0"/>
  </c:chart>
  <c:spPr>
    <a:solidFill>
      <a:schemeClr val="lt1"/>
    </a:solidFill>
    <a:ln w="19050" cap="flat" cmpd="sng" algn="ctr">
      <a:solidFill>
        <a:schemeClr val="bg1"/>
      </a:solidFill>
      <a:prstDash val="solid"/>
      <a:miter lim="800000"/>
    </a:ln>
    <a:effectLst/>
  </c:spPr>
  <c:txPr>
    <a:bodyPr/>
    <a:lstStyle/>
    <a:p>
      <a:pPr>
        <a:defRPr>
          <a:solidFill>
            <a:schemeClr val="dk1"/>
          </a:solidFill>
          <a:latin typeface="Century Gothic" panose="020B0502020202020204" pitchFamily="34" charset="0"/>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99D662-5A28-4A3B-9362-42249204C333}" type="doc">
      <dgm:prSet loTypeId="urn:microsoft.com/office/officeart/2005/8/layout/venn1" loCatId="relationship" qsTypeId="urn:microsoft.com/office/officeart/2005/8/quickstyle/3d3" qsCatId="3D" csTypeId="urn:microsoft.com/office/officeart/2005/8/colors/colorful2" csCatId="colorful" phldr="1"/>
      <dgm:spPr/>
      <dgm:t>
        <a:bodyPr/>
        <a:lstStyle/>
        <a:p>
          <a:endParaRPr lang="en-US"/>
        </a:p>
      </dgm:t>
    </dgm:pt>
    <dgm:pt modelId="{47A5797B-1BBD-423D-BF23-F8BC2E40DC73}">
      <dgm:prSet custT="1"/>
      <dgm:spPr/>
      <dgm:t>
        <a:bodyPr/>
        <a:lstStyle/>
        <a:p>
          <a:endParaRPr lang="en-US" sz="1800">
            <a:latin typeface="Times New Roman" panose="02020603050405020304" pitchFamily="18" charset="0"/>
            <a:cs typeface="Times New Roman" panose="02020603050405020304" pitchFamily="18" charset="0"/>
          </a:endParaRPr>
        </a:p>
        <a:p>
          <a:endParaRPr lang="en-US" sz="1800">
            <a:latin typeface="Times New Roman" panose="02020603050405020304" pitchFamily="18" charset="0"/>
            <a:cs typeface="Times New Roman" panose="02020603050405020304" pitchFamily="18" charset="0"/>
          </a:endParaRPr>
        </a:p>
        <a:p>
          <a:r>
            <a:rPr lang="en-US" sz="2000" b="1">
              <a:solidFill>
                <a:schemeClr val="tx1"/>
              </a:solidFill>
              <a:latin typeface=" century gothic"/>
              <a:cs typeface="Times New Roman" panose="02020603050405020304" pitchFamily="18" charset="0"/>
            </a:rPr>
            <a:t>CBK</a:t>
          </a:r>
          <a:endParaRPr lang="en-US" sz="1600" b="1">
            <a:solidFill>
              <a:schemeClr val="tx1"/>
            </a:solidFill>
            <a:latin typeface=" century gothic"/>
            <a:cs typeface="Times New Roman" panose="02020603050405020304" pitchFamily="18" charset="0"/>
          </a:endParaRPr>
        </a:p>
      </dgm:t>
    </dgm:pt>
    <dgm:pt modelId="{F9C8262F-9A9F-4ACF-BD1F-6528819E0D03}" type="parTrans" cxnId="{6151B51F-B5F6-48C2-B102-2B8C18EB3C5B}">
      <dgm:prSet/>
      <dgm:spPr/>
      <dgm:t>
        <a:bodyPr/>
        <a:lstStyle/>
        <a:p>
          <a:endParaRPr lang="en-US"/>
        </a:p>
      </dgm:t>
    </dgm:pt>
    <dgm:pt modelId="{14BD210F-CC0F-41E6-A9B7-6E604DA41C53}" type="sibTrans" cxnId="{6151B51F-B5F6-48C2-B102-2B8C18EB3C5B}">
      <dgm:prSet/>
      <dgm:spPr/>
      <dgm:t>
        <a:bodyPr/>
        <a:lstStyle/>
        <a:p>
          <a:endParaRPr lang="en-US"/>
        </a:p>
      </dgm:t>
    </dgm:pt>
    <dgm:pt modelId="{FB0F22ED-F7EC-41C9-A937-8F8C553ABF5E}">
      <dgm:prSet custT="1"/>
      <dgm:spPr/>
      <dgm:t>
        <a:bodyPr/>
        <a:lstStyle/>
        <a:p>
          <a:endParaRPr lang="en-US" sz="1800">
            <a:solidFill>
              <a:schemeClr val="tx1"/>
            </a:solidFill>
            <a:latin typeface="Times New Roman" panose="02020603050405020304" pitchFamily="18" charset="0"/>
            <a:cs typeface="Times New Roman" panose="02020603050405020304" pitchFamily="18" charset="0"/>
          </a:endParaRPr>
        </a:p>
      </dgm:t>
    </dgm:pt>
    <dgm:pt modelId="{23BB8A89-CB22-4A72-B378-E96AA54D8331}" type="parTrans" cxnId="{28A29D74-4C96-438A-BDB7-D187280DC33D}">
      <dgm:prSet/>
      <dgm:spPr/>
      <dgm:t>
        <a:bodyPr/>
        <a:lstStyle/>
        <a:p>
          <a:endParaRPr lang="en-US"/>
        </a:p>
      </dgm:t>
    </dgm:pt>
    <dgm:pt modelId="{0C33D1C7-0935-455E-B726-6D9630A09809}" type="sibTrans" cxnId="{28A29D74-4C96-438A-BDB7-D187280DC33D}">
      <dgm:prSet/>
      <dgm:spPr/>
      <dgm:t>
        <a:bodyPr/>
        <a:lstStyle/>
        <a:p>
          <a:endParaRPr lang="en-US"/>
        </a:p>
      </dgm:t>
    </dgm:pt>
    <dgm:pt modelId="{0B3F6652-473F-4D53-8C73-17E301E79BDB}">
      <dgm:prSet custT="1"/>
      <dgm:spPr/>
      <dgm:t>
        <a:bodyPr/>
        <a:lstStyle/>
        <a:p>
          <a:endParaRPr lang="en-US" sz="1800">
            <a:latin typeface="Times New Roman" panose="02020603050405020304" pitchFamily="18" charset="0"/>
            <a:cs typeface="Times New Roman" panose="02020603050405020304" pitchFamily="18" charset="0"/>
          </a:endParaRPr>
        </a:p>
      </dgm:t>
    </dgm:pt>
    <dgm:pt modelId="{02531FB6-E049-4B1B-B83D-2979822574A5}" type="parTrans" cxnId="{F1AD4208-35F1-4879-8925-216F15F21BBE}">
      <dgm:prSet/>
      <dgm:spPr/>
      <dgm:t>
        <a:bodyPr/>
        <a:lstStyle/>
        <a:p>
          <a:endParaRPr lang="en-US"/>
        </a:p>
      </dgm:t>
    </dgm:pt>
    <dgm:pt modelId="{05445B24-FFA9-45FD-874E-226A03DD715B}" type="sibTrans" cxnId="{F1AD4208-35F1-4879-8925-216F15F21BBE}">
      <dgm:prSet/>
      <dgm:spPr/>
      <dgm:t>
        <a:bodyPr/>
        <a:lstStyle/>
        <a:p>
          <a:endParaRPr lang="en-US"/>
        </a:p>
      </dgm:t>
    </dgm:pt>
    <dgm:pt modelId="{AFB40416-AEF0-4224-9604-C4C94E335061}">
      <dgm:prSet custT="1"/>
      <dgm:spPr/>
      <dgm:t>
        <a:bodyPr/>
        <a:lstStyle/>
        <a:p>
          <a:pPr algn="l"/>
          <a:endParaRPr lang="en-US" sz="1800">
            <a:latin typeface="Times New Roman" panose="02020603050405020304" pitchFamily="18" charset="0"/>
            <a:cs typeface="Times New Roman" panose="02020603050405020304" pitchFamily="18" charset="0"/>
          </a:endParaRPr>
        </a:p>
      </dgm:t>
    </dgm:pt>
    <dgm:pt modelId="{D0C5DEFC-B3FA-4B2F-A910-FDFCF3948BF7}" type="parTrans" cxnId="{EA50AD7E-FF70-492F-8CA6-9AE40B0FC5B8}">
      <dgm:prSet/>
      <dgm:spPr/>
      <dgm:t>
        <a:bodyPr/>
        <a:lstStyle/>
        <a:p>
          <a:endParaRPr lang="en-US"/>
        </a:p>
      </dgm:t>
    </dgm:pt>
    <dgm:pt modelId="{5EF9BB28-D357-43C7-9B34-D982FF2FB057}" type="sibTrans" cxnId="{EA50AD7E-FF70-492F-8CA6-9AE40B0FC5B8}">
      <dgm:prSet/>
      <dgm:spPr/>
      <dgm:t>
        <a:bodyPr/>
        <a:lstStyle/>
        <a:p>
          <a:endParaRPr lang="en-US"/>
        </a:p>
      </dgm:t>
    </dgm:pt>
    <dgm:pt modelId="{3A0C45C1-2751-4EC9-B565-7BAD3D48EBD1}" type="pres">
      <dgm:prSet presAssocID="{6299D662-5A28-4A3B-9362-42249204C333}" presName="compositeShape" presStyleCnt="0">
        <dgm:presLayoutVars>
          <dgm:chMax val="7"/>
          <dgm:dir/>
          <dgm:resizeHandles val="exact"/>
        </dgm:presLayoutVars>
      </dgm:prSet>
      <dgm:spPr/>
    </dgm:pt>
    <dgm:pt modelId="{6B927657-54C5-4D61-B85B-EA5599659393}" type="pres">
      <dgm:prSet presAssocID="{47A5797B-1BBD-423D-BF23-F8BC2E40DC73}" presName="circ1" presStyleLbl="vennNode1" presStyleIdx="0" presStyleCnt="4" custLinFactNeighborX="14896" custLinFactNeighborY="13339"/>
      <dgm:spPr/>
    </dgm:pt>
    <dgm:pt modelId="{C6788B3F-ECE3-4636-A539-A891DE0A3F38}" type="pres">
      <dgm:prSet presAssocID="{47A5797B-1BBD-423D-BF23-F8BC2E40DC73}" presName="circ1Tx" presStyleLbl="revTx" presStyleIdx="0" presStyleCnt="0">
        <dgm:presLayoutVars>
          <dgm:chMax val="0"/>
          <dgm:chPref val="0"/>
          <dgm:bulletEnabled val="1"/>
        </dgm:presLayoutVars>
      </dgm:prSet>
      <dgm:spPr/>
    </dgm:pt>
    <dgm:pt modelId="{1CF3A38E-73CA-45FF-BB56-B3E3C08F5D77}" type="pres">
      <dgm:prSet presAssocID="{FB0F22ED-F7EC-41C9-A937-8F8C553ABF5E}" presName="circ2" presStyleLbl="vennNode1" presStyleIdx="1" presStyleCnt="4" custLinFactNeighborX="55475" custLinFactNeighborY="-33900"/>
      <dgm:spPr/>
    </dgm:pt>
    <dgm:pt modelId="{151B23C8-14F9-460A-99A5-24D13C4A2D42}" type="pres">
      <dgm:prSet presAssocID="{FB0F22ED-F7EC-41C9-A937-8F8C553ABF5E}" presName="circ2Tx" presStyleLbl="revTx" presStyleIdx="0" presStyleCnt="0">
        <dgm:presLayoutVars>
          <dgm:chMax val="0"/>
          <dgm:chPref val="0"/>
          <dgm:bulletEnabled val="1"/>
        </dgm:presLayoutVars>
      </dgm:prSet>
      <dgm:spPr/>
    </dgm:pt>
    <dgm:pt modelId="{6CBB97EE-C9A4-43B9-A66A-FEBD09496F7F}" type="pres">
      <dgm:prSet presAssocID="{0B3F6652-473F-4D53-8C73-17E301E79BDB}" presName="circ3" presStyleLbl="vennNode1" presStyleIdx="2" presStyleCnt="4" custLinFactNeighborX="20403" custLinFactNeighborY="-4358"/>
      <dgm:spPr/>
    </dgm:pt>
    <dgm:pt modelId="{CED5B48F-9F7A-451F-9308-5D7785B0E838}" type="pres">
      <dgm:prSet presAssocID="{0B3F6652-473F-4D53-8C73-17E301E79BDB}" presName="circ3Tx" presStyleLbl="revTx" presStyleIdx="0" presStyleCnt="0">
        <dgm:presLayoutVars>
          <dgm:chMax val="0"/>
          <dgm:chPref val="0"/>
          <dgm:bulletEnabled val="1"/>
        </dgm:presLayoutVars>
      </dgm:prSet>
      <dgm:spPr/>
    </dgm:pt>
    <dgm:pt modelId="{947898BC-FFF1-4B45-8E01-EDA51ABA8124}" type="pres">
      <dgm:prSet presAssocID="{AFB40416-AEF0-4224-9604-C4C94E335061}" presName="circ4" presStyleLbl="vennNode1" presStyleIdx="3" presStyleCnt="4" custLinFactNeighborX="-17807" custLinFactNeighborY="-23652"/>
      <dgm:spPr/>
    </dgm:pt>
    <dgm:pt modelId="{E361F405-0E86-422C-9AE4-00AA8C210851}" type="pres">
      <dgm:prSet presAssocID="{AFB40416-AEF0-4224-9604-C4C94E335061}" presName="circ4Tx" presStyleLbl="revTx" presStyleIdx="0" presStyleCnt="0">
        <dgm:presLayoutVars>
          <dgm:chMax val="0"/>
          <dgm:chPref val="0"/>
          <dgm:bulletEnabled val="1"/>
        </dgm:presLayoutVars>
      </dgm:prSet>
      <dgm:spPr/>
    </dgm:pt>
  </dgm:ptLst>
  <dgm:cxnLst>
    <dgm:cxn modelId="{F1AD4208-35F1-4879-8925-216F15F21BBE}" srcId="{6299D662-5A28-4A3B-9362-42249204C333}" destId="{0B3F6652-473F-4D53-8C73-17E301E79BDB}" srcOrd="2" destOrd="0" parTransId="{02531FB6-E049-4B1B-B83D-2979822574A5}" sibTransId="{05445B24-FFA9-45FD-874E-226A03DD715B}"/>
    <dgm:cxn modelId="{6151B51F-B5F6-48C2-B102-2B8C18EB3C5B}" srcId="{6299D662-5A28-4A3B-9362-42249204C333}" destId="{47A5797B-1BBD-423D-BF23-F8BC2E40DC73}" srcOrd="0" destOrd="0" parTransId="{F9C8262F-9A9F-4ACF-BD1F-6528819E0D03}" sibTransId="{14BD210F-CC0F-41E6-A9B7-6E604DA41C53}"/>
    <dgm:cxn modelId="{28A29D74-4C96-438A-BDB7-D187280DC33D}" srcId="{6299D662-5A28-4A3B-9362-42249204C333}" destId="{FB0F22ED-F7EC-41C9-A937-8F8C553ABF5E}" srcOrd="1" destOrd="0" parTransId="{23BB8A89-CB22-4A72-B378-E96AA54D8331}" sibTransId="{0C33D1C7-0935-455E-B726-6D9630A09809}"/>
    <dgm:cxn modelId="{C447F876-3F87-4C98-B2D2-8446E0C9A92B}" type="presOf" srcId="{FB0F22ED-F7EC-41C9-A937-8F8C553ABF5E}" destId="{151B23C8-14F9-460A-99A5-24D13C4A2D42}" srcOrd="1" destOrd="0" presId="urn:microsoft.com/office/officeart/2005/8/layout/venn1"/>
    <dgm:cxn modelId="{F33E215A-29E2-4756-8ED6-986480E3A236}" type="presOf" srcId="{0B3F6652-473F-4D53-8C73-17E301E79BDB}" destId="{6CBB97EE-C9A4-43B9-A66A-FEBD09496F7F}" srcOrd="0" destOrd="0" presId="urn:microsoft.com/office/officeart/2005/8/layout/venn1"/>
    <dgm:cxn modelId="{EA50AD7E-FF70-492F-8CA6-9AE40B0FC5B8}" srcId="{6299D662-5A28-4A3B-9362-42249204C333}" destId="{AFB40416-AEF0-4224-9604-C4C94E335061}" srcOrd="3" destOrd="0" parTransId="{D0C5DEFC-B3FA-4B2F-A910-FDFCF3948BF7}" sibTransId="{5EF9BB28-D357-43C7-9B34-D982FF2FB057}"/>
    <dgm:cxn modelId="{795CEDA6-6D82-463C-9777-F7AA4DD8BB78}" type="presOf" srcId="{FB0F22ED-F7EC-41C9-A937-8F8C553ABF5E}" destId="{1CF3A38E-73CA-45FF-BB56-B3E3C08F5D77}" srcOrd="0" destOrd="0" presId="urn:microsoft.com/office/officeart/2005/8/layout/venn1"/>
    <dgm:cxn modelId="{7FA060B9-103F-42D3-A736-9D51B72728F8}" type="presOf" srcId="{47A5797B-1BBD-423D-BF23-F8BC2E40DC73}" destId="{C6788B3F-ECE3-4636-A539-A891DE0A3F38}" srcOrd="1" destOrd="0" presId="urn:microsoft.com/office/officeart/2005/8/layout/venn1"/>
    <dgm:cxn modelId="{5E13EABC-485E-4C67-AD69-DE34487E327C}" type="presOf" srcId="{0B3F6652-473F-4D53-8C73-17E301E79BDB}" destId="{CED5B48F-9F7A-451F-9308-5D7785B0E838}" srcOrd="1" destOrd="0" presId="urn:microsoft.com/office/officeart/2005/8/layout/venn1"/>
    <dgm:cxn modelId="{9DB0B6E9-170E-4412-920F-069058D5E223}" type="presOf" srcId="{AFB40416-AEF0-4224-9604-C4C94E335061}" destId="{E361F405-0E86-422C-9AE4-00AA8C210851}" srcOrd="1" destOrd="0" presId="urn:microsoft.com/office/officeart/2005/8/layout/venn1"/>
    <dgm:cxn modelId="{F343F9EA-BF59-4BC5-B6E7-A48161CA55E8}" type="presOf" srcId="{AFB40416-AEF0-4224-9604-C4C94E335061}" destId="{947898BC-FFF1-4B45-8E01-EDA51ABA8124}" srcOrd="0" destOrd="0" presId="urn:microsoft.com/office/officeart/2005/8/layout/venn1"/>
    <dgm:cxn modelId="{2B37E2ED-9C84-41B2-8E99-9D45ACFB6444}" type="presOf" srcId="{47A5797B-1BBD-423D-BF23-F8BC2E40DC73}" destId="{6B927657-54C5-4D61-B85B-EA5599659393}" srcOrd="0" destOrd="0" presId="urn:microsoft.com/office/officeart/2005/8/layout/venn1"/>
    <dgm:cxn modelId="{70D5BDFD-06DB-4C69-8866-9A243DD8E12D}" type="presOf" srcId="{6299D662-5A28-4A3B-9362-42249204C333}" destId="{3A0C45C1-2751-4EC9-B565-7BAD3D48EBD1}" srcOrd="0" destOrd="0" presId="urn:microsoft.com/office/officeart/2005/8/layout/venn1"/>
    <dgm:cxn modelId="{8D02052B-6E6C-4BF7-BBC2-5AFC5B46B2C7}" type="presParOf" srcId="{3A0C45C1-2751-4EC9-B565-7BAD3D48EBD1}" destId="{6B927657-54C5-4D61-B85B-EA5599659393}" srcOrd="0" destOrd="0" presId="urn:microsoft.com/office/officeart/2005/8/layout/venn1"/>
    <dgm:cxn modelId="{EEC615C2-B4EF-4830-BDFF-1AB86E7C7D9B}" type="presParOf" srcId="{3A0C45C1-2751-4EC9-B565-7BAD3D48EBD1}" destId="{C6788B3F-ECE3-4636-A539-A891DE0A3F38}" srcOrd="1" destOrd="0" presId="urn:microsoft.com/office/officeart/2005/8/layout/venn1"/>
    <dgm:cxn modelId="{4CFA0357-C019-4BB7-A6F4-4A1A19CF1598}" type="presParOf" srcId="{3A0C45C1-2751-4EC9-B565-7BAD3D48EBD1}" destId="{1CF3A38E-73CA-45FF-BB56-B3E3C08F5D77}" srcOrd="2" destOrd="0" presId="urn:microsoft.com/office/officeart/2005/8/layout/venn1"/>
    <dgm:cxn modelId="{FFB87D16-ECAD-402A-8AB3-AB39933DA3CF}" type="presParOf" srcId="{3A0C45C1-2751-4EC9-B565-7BAD3D48EBD1}" destId="{151B23C8-14F9-460A-99A5-24D13C4A2D42}" srcOrd="3" destOrd="0" presId="urn:microsoft.com/office/officeart/2005/8/layout/venn1"/>
    <dgm:cxn modelId="{7D8EA5AF-1839-4160-A5C5-213E6D393114}" type="presParOf" srcId="{3A0C45C1-2751-4EC9-B565-7BAD3D48EBD1}" destId="{6CBB97EE-C9A4-43B9-A66A-FEBD09496F7F}" srcOrd="4" destOrd="0" presId="urn:microsoft.com/office/officeart/2005/8/layout/venn1"/>
    <dgm:cxn modelId="{0A138006-48C5-4E85-AABF-A1F74E87FD4B}" type="presParOf" srcId="{3A0C45C1-2751-4EC9-B565-7BAD3D48EBD1}" destId="{CED5B48F-9F7A-451F-9308-5D7785B0E838}" srcOrd="5" destOrd="0" presId="urn:microsoft.com/office/officeart/2005/8/layout/venn1"/>
    <dgm:cxn modelId="{F6A3FFC5-B817-4E8C-BD47-592FA8222485}" type="presParOf" srcId="{3A0C45C1-2751-4EC9-B565-7BAD3D48EBD1}" destId="{947898BC-FFF1-4B45-8E01-EDA51ABA8124}" srcOrd="6" destOrd="0" presId="urn:microsoft.com/office/officeart/2005/8/layout/venn1"/>
    <dgm:cxn modelId="{85101988-52AF-4874-9815-BB10DE212692}" type="presParOf" srcId="{3A0C45C1-2751-4EC9-B565-7BAD3D48EBD1}" destId="{E361F405-0E86-422C-9AE4-00AA8C210851}" srcOrd="7"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B828DD-CFAA-4C46-AB72-E9745EC771E8}"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229EDD1-E87D-4EF4-B8BB-CC687B4825DF}">
      <dgm:prSet phldrT="[Text]"/>
      <dgm:spPr/>
      <dgm:t>
        <a:bodyPr/>
        <a:lstStyle/>
        <a:p>
          <a:r>
            <a:rPr lang="en-US" b="1" dirty="0">
              <a:latin typeface="Century Gothic" panose="020B0502020202020204" pitchFamily="34" charset="0"/>
            </a:rPr>
            <a:t>ACH</a:t>
          </a:r>
        </a:p>
      </dgm:t>
    </dgm:pt>
    <dgm:pt modelId="{DA62B25F-D1FC-4088-B3F6-F9972E9212D4}" type="parTrans" cxnId="{A1A53B74-CF39-4002-8B03-177D5B17FCA8}">
      <dgm:prSet/>
      <dgm:spPr/>
      <dgm:t>
        <a:bodyPr/>
        <a:lstStyle/>
        <a:p>
          <a:endParaRPr lang="en-US"/>
        </a:p>
      </dgm:t>
    </dgm:pt>
    <dgm:pt modelId="{3F532559-498C-468A-A9C1-62D4D1C0EB26}" type="sibTrans" cxnId="{A1A53B74-CF39-4002-8B03-177D5B17FCA8}">
      <dgm:prSet/>
      <dgm:spPr/>
      <dgm:t>
        <a:bodyPr/>
        <a:lstStyle/>
        <a:p>
          <a:endParaRPr lang="en-US"/>
        </a:p>
      </dgm:t>
    </dgm:pt>
    <dgm:pt modelId="{62B4496B-03D5-41E7-9578-2F2017899F72}">
      <dgm:prSet phldrT="[Text]" custT="1"/>
      <dgm:spPr/>
      <dgm:t>
        <a:bodyPr/>
        <a:lstStyle/>
        <a:p>
          <a:r>
            <a:rPr lang="en-US" sz="1600" b="1" dirty="0">
              <a:latin typeface="Century Gothic" panose="020B0502020202020204" pitchFamily="34" charset="0"/>
            </a:rPr>
            <a:t>EFT</a:t>
          </a:r>
        </a:p>
      </dgm:t>
    </dgm:pt>
    <dgm:pt modelId="{ADF16727-588A-4E4B-B75E-D0893CD009C5}" type="parTrans" cxnId="{943E8ED7-6021-4B3F-A41B-0BE138338B34}">
      <dgm:prSet/>
      <dgm:spPr/>
      <dgm:t>
        <a:bodyPr/>
        <a:lstStyle/>
        <a:p>
          <a:endParaRPr lang="en-US"/>
        </a:p>
      </dgm:t>
    </dgm:pt>
    <dgm:pt modelId="{2D4C3C22-F720-4FE4-A560-FBFB04366F1D}" type="sibTrans" cxnId="{943E8ED7-6021-4B3F-A41B-0BE138338B34}">
      <dgm:prSet/>
      <dgm:spPr/>
      <dgm:t>
        <a:bodyPr/>
        <a:lstStyle/>
        <a:p>
          <a:endParaRPr lang="en-US"/>
        </a:p>
      </dgm:t>
    </dgm:pt>
    <dgm:pt modelId="{AF39E423-E765-439D-B6B1-1B6E56F23963}">
      <dgm:prSet phldrT="[Text]" custT="1"/>
      <dgm:spPr/>
      <dgm:t>
        <a:bodyPr/>
        <a:lstStyle/>
        <a:p>
          <a:r>
            <a:rPr lang="en-US" sz="1600" b="1" dirty="0">
              <a:latin typeface="Century Gothic" panose="020B0502020202020204" pitchFamily="34" charset="0"/>
            </a:rPr>
            <a:t>CHEQUES</a:t>
          </a:r>
        </a:p>
      </dgm:t>
    </dgm:pt>
    <dgm:pt modelId="{EA20801A-8683-42CE-AA74-EEF97BD338D7}" type="parTrans" cxnId="{55C47942-C2B1-4D81-B406-8461316377B1}">
      <dgm:prSet/>
      <dgm:spPr/>
      <dgm:t>
        <a:bodyPr/>
        <a:lstStyle/>
        <a:p>
          <a:endParaRPr lang="en-US"/>
        </a:p>
      </dgm:t>
    </dgm:pt>
    <dgm:pt modelId="{57026204-7FB1-4F07-81FC-FA387A84B83E}" type="sibTrans" cxnId="{55C47942-C2B1-4D81-B406-8461316377B1}">
      <dgm:prSet/>
      <dgm:spPr/>
      <dgm:t>
        <a:bodyPr/>
        <a:lstStyle/>
        <a:p>
          <a:endParaRPr lang="en-US"/>
        </a:p>
      </dgm:t>
    </dgm:pt>
    <dgm:pt modelId="{07B18050-7BA8-492D-ACD4-5BFF7B237281}">
      <dgm:prSet custT="1"/>
      <dgm:spPr>
        <a:ln w="12700"/>
      </dgm:spPr>
      <dgm:t>
        <a:bodyPr/>
        <a:lstStyle/>
        <a:p>
          <a:r>
            <a:rPr lang="en-US" sz="1600" b="1" dirty="0">
              <a:latin typeface="Century Gothic" panose="020B0502020202020204" pitchFamily="34" charset="0"/>
            </a:rPr>
            <a:t>DFCC</a:t>
          </a:r>
        </a:p>
      </dgm:t>
    </dgm:pt>
    <dgm:pt modelId="{B47D03E9-3E77-43C2-900B-F29982D58492}" type="parTrans" cxnId="{8EE26D15-12EF-4D6F-B12A-36613BB6DCD7}">
      <dgm:prSet/>
      <dgm:spPr/>
      <dgm:t>
        <a:bodyPr/>
        <a:lstStyle/>
        <a:p>
          <a:endParaRPr lang="en-US"/>
        </a:p>
      </dgm:t>
    </dgm:pt>
    <dgm:pt modelId="{05D2A5DC-E315-4D3A-BBF5-6478A5E44F55}" type="sibTrans" cxnId="{8EE26D15-12EF-4D6F-B12A-36613BB6DCD7}">
      <dgm:prSet/>
      <dgm:spPr/>
      <dgm:t>
        <a:bodyPr/>
        <a:lstStyle/>
        <a:p>
          <a:endParaRPr lang="en-US"/>
        </a:p>
      </dgm:t>
    </dgm:pt>
    <dgm:pt modelId="{09D31DE2-A45F-42BE-916F-29F19E22FBCA}" type="pres">
      <dgm:prSet presAssocID="{AFB828DD-CFAA-4C46-AB72-E9745EC771E8}" presName="hierChild1" presStyleCnt="0">
        <dgm:presLayoutVars>
          <dgm:orgChart val="1"/>
          <dgm:chPref val="1"/>
          <dgm:dir/>
          <dgm:animOne val="branch"/>
          <dgm:animLvl val="lvl"/>
          <dgm:resizeHandles/>
        </dgm:presLayoutVars>
      </dgm:prSet>
      <dgm:spPr/>
    </dgm:pt>
    <dgm:pt modelId="{41F102C6-5D2E-4077-865C-EF91C39FD276}" type="pres">
      <dgm:prSet presAssocID="{8229EDD1-E87D-4EF4-B8BB-CC687B4825DF}" presName="hierRoot1" presStyleCnt="0">
        <dgm:presLayoutVars>
          <dgm:hierBranch val="init"/>
        </dgm:presLayoutVars>
      </dgm:prSet>
      <dgm:spPr/>
    </dgm:pt>
    <dgm:pt modelId="{64E35A9C-FE13-4561-9645-86F698D38586}" type="pres">
      <dgm:prSet presAssocID="{8229EDD1-E87D-4EF4-B8BB-CC687B4825DF}" presName="rootComposite1" presStyleCnt="0"/>
      <dgm:spPr/>
    </dgm:pt>
    <dgm:pt modelId="{DD6FC14C-039E-4D46-9D63-1A2F18EA09DF}" type="pres">
      <dgm:prSet presAssocID="{8229EDD1-E87D-4EF4-B8BB-CC687B4825DF}" presName="rootText1" presStyleLbl="node0" presStyleIdx="0" presStyleCnt="1">
        <dgm:presLayoutVars>
          <dgm:chPref val="3"/>
        </dgm:presLayoutVars>
      </dgm:prSet>
      <dgm:spPr/>
    </dgm:pt>
    <dgm:pt modelId="{787D9AAB-9EB6-4C73-8ECD-69D2F58F7B2F}" type="pres">
      <dgm:prSet presAssocID="{8229EDD1-E87D-4EF4-B8BB-CC687B4825DF}" presName="rootConnector1" presStyleLbl="node1" presStyleIdx="0" presStyleCnt="0"/>
      <dgm:spPr/>
    </dgm:pt>
    <dgm:pt modelId="{0B71ACE8-9937-4782-9FD6-3BFA64A64607}" type="pres">
      <dgm:prSet presAssocID="{8229EDD1-E87D-4EF4-B8BB-CC687B4825DF}" presName="hierChild2" presStyleCnt="0"/>
      <dgm:spPr/>
    </dgm:pt>
    <dgm:pt modelId="{2BE242DE-86F3-4906-8BDD-73191435A087}" type="pres">
      <dgm:prSet presAssocID="{ADF16727-588A-4E4B-B75E-D0893CD009C5}" presName="Name64" presStyleLbl="parChTrans1D2" presStyleIdx="0" presStyleCnt="3"/>
      <dgm:spPr/>
    </dgm:pt>
    <dgm:pt modelId="{F59DC95A-D25B-4EF4-8F5C-A2194F87A37B}" type="pres">
      <dgm:prSet presAssocID="{62B4496B-03D5-41E7-9578-2F2017899F72}" presName="hierRoot2" presStyleCnt="0">
        <dgm:presLayoutVars>
          <dgm:hierBranch val="init"/>
        </dgm:presLayoutVars>
      </dgm:prSet>
      <dgm:spPr/>
    </dgm:pt>
    <dgm:pt modelId="{483756DF-AAB4-4CFF-8C38-E7FB9FED95FA}" type="pres">
      <dgm:prSet presAssocID="{62B4496B-03D5-41E7-9578-2F2017899F72}" presName="rootComposite" presStyleCnt="0"/>
      <dgm:spPr/>
    </dgm:pt>
    <dgm:pt modelId="{5C10A62C-18F4-47F9-8765-D2F3B1FF9EA0}" type="pres">
      <dgm:prSet presAssocID="{62B4496B-03D5-41E7-9578-2F2017899F72}" presName="rootText" presStyleLbl="node2" presStyleIdx="0" presStyleCnt="3">
        <dgm:presLayoutVars>
          <dgm:chPref val="3"/>
        </dgm:presLayoutVars>
      </dgm:prSet>
      <dgm:spPr/>
    </dgm:pt>
    <dgm:pt modelId="{C4059117-D720-4DFF-B816-A93B0F5A419F}" type="pres">
      <dgm:prSet presAssocID="{62B4496B-03D5-41E7-9578-2F2017899F72}" presName="rootConnector" presStyleLbl="node2" presStyleIdx="0" presStyleCnt="3"/>
      <dgm:spPr/>
    </dgm:pt>
    <dgm:pt modelId="{0E1011B2-93BB-4291-BEB0-1F0F9AD23B25}" type="pres">
      <dgm:prSet presAssocID="{62B4496B-03D5-41E7-9578-2F2017899F72}" presName="hierChild4" presStyleCnt="0"/>
      <dgm:spPr/>
    </dgm:pt>
    <dgm:pt modelId="{03F09638-60FE-436C-88C2-5B3424D29375}" type="pres">
      <dgm:prSet presAssocID="{62B4496B-03D5-41E7-9578-2F2017899F72}" presName="hierChild5" presStyleCnt="0"/>
      <dgm:spPr/>
    </dgm:pt>
    <dgm:pt modelId="{97737C16-F391-479E-B25E-FF5216A16C0B}" type="pres">
      <dgm:prSet presAssocID="{B47D03E9-3E77-43C2-900B-F29982D58492}" presName="Name64" presStyleLbl="parChTrans1D2" presStyleIdx="1" presStyleCnt="3"/>
      <dgm:spPr/>
    </dgm:pt>
    <dgm:pt modelId="{4B62522E-F44F-4284-B50B-2B9B179A7F7C}" type="pres">
      <dgm:prSet presAssocID="{07B18050-7BA8-492D-ACD4-5BFF7B237281}" presName="hierRoot2" presStyleCnt="0">
        <dgm:presLayoutVars>
          <dgm:hierBranch val="init"/>
        </dgm:presLayoutVars>
      </dgm:prSet>
      <dgm:spPr/>
    </dgm:pt>
    <dgm:pt modelId="{B3CD7AFF-661E-45EC-B28C-03B3B627DF13}" type="pres">
      <dgm:prSet presAssocID="{07B18050-7BA8-492D-ACD4-5BFF7B237281}" presName="rootComposite" presStyleCnt="0"/>
      <dgm:spPr/>
    </dgm:pt>
    <dgm:pt modelId="{9E7925F4-765C-415B-8BF7-DB1C4F5F538B}" type="pres">
      <dgm:prSet presAssocID="{07B18050-7BA8-492D-ACD4-5BFF7B237281}" presName="rootText" presStyleLbl="node2" presStyleIdx="1" presStyleCnt="3">
        <dgm:presLayoutVars>
          <dgm:chPref val="3"/>
        </dgm:presLayoutVars>
      </dgm:prSet>
      <dgm:spPr/>
    </dgm:pt>
    <dgm:pt modelId="{B2AC85A4-F70D-41A2-9A8F-3A527ED81E78}" type="pres">
      <dgm:prSet presAssocID="{07B18050-7BA8-492D-ACD4-5BFF7B237281}" presName="rootConnector" presStyleLbl="node2" presStyleIdx="1" presStyleCnt="3"/>
      <dgm:spPr/>
    </dgm:pt>
    <dgm:pt modelId="{33ACC4B4-CB07-492A-A22E-2416BF7526C0}" type="pres">
      <dgm:prSet presAssocID="{07B18050-7BA8-492D-ACD4-5BFF7B237281}" presName="hierChild4" presStyleCnt="0"/>
      <dgm:spPr/>
    </dgm:pt>
    <dgm:pt modelId="{24001A02-A687-43BB-A51C-771709DBFE00}" type="pres">
      <dgm:prSet presAssocID="{07B18050-7BA8-492D-ACD4-5BFF7B237281}" presName="hierChild5" presStyleCnt="0"/>
      <dgm:spPr/>
    </dgm:pt>
    <dgm:pt modelId="{5F30C7A1-29B9-4B2D-BAC8-5B0E9FB4A8B8}" type="pres">
      <dgm:prSet presAssocID="{EA20801A-8683-42CE-AA74-EEF97BD338D7}" presName="Name64" presStyleLbl="parChTrans1D2" presStyleIdx="2" presStyleCnt="3"/>
      <dgm:spPr/>
    </dgm:pt>
    <dgm:pt modelId="{029692AC-1F72-4FAF-8D8D-57F3BF32E384}" type="pres">
      <dgm:prSet presAssocID="{AF39E423-E765-439D-B6B1-1B6E56F23963}" presName="hierRoot2" presStyleCnt="0">
        <dgm:presLayoutVars>
          <dgm:hierBranch val="init"/>
        </dgm:presLayoutVars>
      </dgm:prSet>
      <dgm:spPr/>
    </dgm:pt>
    <dgm:pt modelId="{3E109830-71F1-426E-A787-D15300EB9CFB}" type="pres">
      <dgm:prSet presAssocID="{AF39E423-E765-439D-B6B1-1B6E56F23963}" presName="rootComposite" presStyleCnt="0"/>
      <dgm:spPr/>
    </dgm:pt>
    <dgm:pt modelId="{558B312D-9E85-4DB7-883B-16916AE107C9}" type="pres">
      <dgm:prSet presAssocID="{AF39E423-E765-439D-B6B1-1B6E56F23963}" presName="rootText" presStyleLbl="node2" presStyleIdx="2" presStyleCnt="3">
        <dgm:presLayoutVars>
          <dgm:chPref val="3"/>
        </dgm:presLayoutVars>
      </dgm:prSet>
      <dgm:spPr/>
    </dgm:pt>
    <dgm:pt modelId="{F3246B86-4524-45FC-85C0-B85BE200A1D4}" type="pres">
      <dgm:prSet presAssocID="{AF39E423-E765-439D-B6B1-1B6E56F23963}" presName="rootConnector" presStyleLbl="node2" presStyleIdx="2" presStyleCnt="3"/>
      <dgm:spPr/>
    </dgm:pt>
    <dgm:pt modelId="{F915C4B3-46F7-45E5-9779-B62F7D834D0E}" type="pres">
      <dgm:prSet presAssocID="{AF39E423-E765-439D-B6B1-1B6E56F23963}" presName="hierChild4" presStyleCnt="0"/>
      <dgm:spPr/>
    </dgm:pt>
    <dgm:pt modelId="{1E127F6B-6A83-498C-8379-CADBBF047F32}" type="pres">
      <dgm:prSet presAssocID="{AF39E423-E765-439D-B6B1-1B6E56F23963}" presName="hierChild5" presStyleCnt="0"/>
      <dgm:spPr/>
    </dgm:pt>
    <dgm:pt modelId="{F75B8F7D-0377-425C-9CD6-3E88B8A7AA9A}" type="pres">
      <dgm:prSet presAssocID="{8229EDD1-E87D-4EF4-B8BB-CC687B4825DF}" presName="hierChild3" presStyleCnt="0"/>
      <dgm:spPr/>
    </dgm:pt>
  </dgm:ptLst>
  <dgm:cxnLst>
    <dgm:cxn modelId="{8EE26D15-12EF-4D6F-B12A-36613BB6DCD7}" srcId="{8229EDD1-E87D-4EF4-B8BB-CC687B4825DF}" destId="{07B18050-7BA8-492D-ACD4-5BFF7B237281}" srcOrd="1" destOrd="0" parTransId="{B47D03E9-3E77-43C2-900B-F29982D58492}" sibTransId="{05D2A5DC-E315-4D3A-BBF5-6478A5E44F55}"/>
    <dgm:cxn modelId="{BC600E5F-84A1-47C5-8308-403966BD48A7}" type="presOf" srcId="{07B18050-7BA8-492D-ACD4-5BFF7B237281}" destId="{9E7925F4-765C-415B-8BF7-DB1C4F5F538B}" srcOrd="0" destOrd="0" presId="urn:microsoft.com/office/officeart/2009/3/layout/HorizontalOrganizationChart"/>
    <dgm:cxn modelId="{55C47942-C2B1-4D81-B406-8461316377B1}" srcId="{8229EDD1-E87D-4EF4-B8BB-CC687B4825DF}" destId="{AF39E423-E765-439D-B6B1-1B6E56F23963}" srcOrd="2" destOrd="0" parTransId="{EA20801A-8683-42CE-AA74-EEF97BD338D7}" sibTransId="{57026204-7FB1-4F07-81FC-FA387A84B83E}"/>
    <dgm:cxn modelId="{5CE25947-0386-42AB-9C5F-035D65FB3084}" type="presOf" srcId="{8229EDD1-E87D-4EF4-B8BB-CC687B4825DF}" destId="{787D9AAB-9EB6-4C73-8ECD-69D2F58F7B2F}" srcOrd="1" destOrd="0" presId="urn:microsoft.com/office/officeart/2009/3/layout/HorizontalOrganizationChart"/>
    <dgm:cxn modelId="{2CBAA350-594A-406A-883B-1D72EE118C6D}" type="presOf" srcId="{62B4496B-03D5-41E7-9578-2F2017899F72}" destId="{5C10A62C-18F4-47F9-8765-D2F3B1FF9EA0}" srcOrd="0" destOrd="0" presId="urn:microsoft.com/office/officeart/2009/3/layout/HorizontalOrganizationChart"/>
    <dgm:cxn modelId="{A1A53B74-CF39-4002-8B03-177D5B17FCA8}" srcId="{AFB828DD-CFAA-4C46-AB72-E9745EC771E8}" destId="{8229EDD1-E87D-4EF4-B8BB-CC687B4825DF}" srcOrd="0" destOrd="0" parTransId="{DA62B25F-D1FC-4088-B3F6-F9972E9212D4}" sibTransId="{3F532559-498C-468A-A9C1-62D4D1C0EB26}"/>
    <dgm:cxn modelId="{324B2479-4D4C-4CAD-912A-59EE7758ADE6}" type="presOf" srcId="{ADF16727-588A-4E4B-B75E-D0893CD009C5}" destId="{2BE242DE-86F3-4906-8BDD-73191435A087}" srcOrd="0" destOrd="0" presId="urn:microsoft.com/office/officeart/2009/3/layout/HorizontalOrganizationChart"/>
    <dgm:cxn modelId="{0AA1418B-5175-40BC-AFA7-096CE977A367}" type="presOf" srcId="{EA20801A-8683-42CE-AA74-EEF97BD338D7}" destId="{5F30C7A1-29B9-4B2D-BAC8-5B0E9FB4A8B8}" srcOrd="0" destOrd="0" presId="urn:microsoft.com/office/officeart/2009/3/layout/HorizontalOrganizationChart"/>
    <dgm:cxn modelId="{390C168F-2AFA-4F6A-9FE2-74A793B17B49}" type="presOf" srcId="{AF39E423-E765-439D-B6B1-1B6E56F23963}" destId="{558B312D-9E85-4DB7-883B-16916AE107C9}" srcOrd="0" destOrd="0" presId="urn:microsoft.com/office/officeart/2009/3/layout/HorizontalOrganizationChart"/>
    <dgm:cxn modelId="{E571D4A3-FDAD-42A3-B30A-67D7C6868624}" type="presOf" srcId="{07B18050-7BA8-492D-ACD4-5BFF7B237281}" destId="{B2AC85A4-F70D-41A2-9A8F-3A527ED81E78}" srcOrd="1" destOrd="0" presId="urn:microsoft.com/office/officeart/2009/3/layout/HorizontalOrganizationChart"/>
    <dgm:cxn modelId="{CA0488A6-2DA7-4A90-8024-75E87A1BA311}" type="presOf" srcId="{AF39E423-E765-439D-B6B1-1B6E56F23963}" destId="{F3246B86-4524-45FC-85C0-B85BE200A1D4}" srcOrd="1" destOrd="0" presId="urn:microsoft.com/office/officeart/2009/3/layout/HorizontalOrganizationChart"/>
    <dgm:cxn modelId="{914906AA-CA1B-4B6E-BD20-3BBC96D0D7AD}" type="presOf" srcId="{62B4496B-03D5-41E7-9578-2F2017899F72}" destId="{C4059117-D720-4DFF-B816-A93B0F5A419F}" srcOrd="1" destOrd="0" presId="urn:microsoft.com/office/officeart/2009/3/layout/HorizontalOrganizationChart"/>
    <dgm:cxn modelId="{D26CFDCE-7DD4-4D22-9BFC-E21BE3476664}" type="presOf" srcId="{B47D03E9-3E77-43C2-900B-F29982D58492}" destId="{97737C16-F391-479E-B25E-FF5216A16C0B}" srcOrd="0" destOrd="0" presId="urn:microsoft.com/office/officeart/2009/3/layout/HorizontalOrganizationChart"/>
    <dgm:cxn modelId="{7DAA3CCF-C4E3-401A-B8C7-F406F0EB3D54}" type="presOf" srcId="{8229EDD1-E87D-4EF4-B8BB-CC687B4825DF}" destId="{DD6FC14C-039E-4D46-9D63-1A2F18EA09DF}" srcOrd="0" destOrd="0" presId="urn:microsoft.com/office/officeart/2009/3/layout/HorizontalOrganizationChart"/>
    <dgm:cxn modelId="{943E8ED7-6021-4B3F-A41B-0BE138338B34}" srcId="{8229EDD1-E87D-4EF4-B8BB-CC687B4825DF}" destId="{62B4496B-03D5-41E7-9578-2F2017899F72}" srcOrd="0" destOrd="0" parTransId="{ADF16727-588A-4E4B-B75E-D0893CD009C5}" sibTransId="{2D4C3C22-F720-4FE4-A560-FBFB04366F1D}"/>
    <dgm:cxn modelId="{D0B452E0-B041-467D-B6B6-97B47189346F}" type="presOf" srcId="{AFB828DD-CFAA-4C46-AB72-E9745EC771E8}" destId="{09D31DE2-A45F-42BE-916F-29F19E22FBCA}" srcOrd="0" destOrd="0" presId="urn:microsoft.com/office/officeart/2009/3/layout/HorizontalOrganizationChart"/>
    <dgm:cxn modelId="{7AFDFF60-EC25-42B4-B6E7-E74CC31F22A0}" type="presParOf" srcId="{09D31DE2-A45F-42BE-916F-29F19E22FBCA}" destId="{41F102C6-5D2E-4077-865C-EF91C39FD276}" srcOrd="0" destOrd="0" presId="urn:microsoft.com/office/officeart/2009/3/layout/HorizontalOrganizationChart"/>
    <dgm:cxn modelId="{14A3AF63-006D-4FC4-B200-6B6D1998E7BC}" type="presParOf" srcId="{41F102C6-5D2E-4077-865C-EF91C39FD276}" destId="{64E35A9C-FE13-4561-9645-86F698D38586}" srcOrd="0" destOrd="0" presId="urn:microsoft.com/office/officeart/2009/3/layout/HorizontalOrganizationChart"/>
    <dgm:cxn modelId="{195C7FAC-82C7-49EE-887B-3881EB7A343F}" type="presParOf" srcId="{64E35A9C-FE13-4561-9645-86F698D38586}" destId="{DD6FC14C-039E-4D46-9D63-1A2F18EA09DF}" srcOrd="0" destOrd="0" presId="urn:microsoft.com/office/officeart/2009/3/layout/HorizontalOrganizationChart"/>
    <dgm:cxn modelId="{9D0E0B7A-B41A-4189-AD3D-33BA8A9FD9AA}" type="presParOf" srcId="{64E35A9C-FE13-4561-9645-86F698D38586}" destId="{787D9AAB-9EB6-4C73-8ECD-69D2F58F7B2F}" srcOrd="1" destOrd="0" presId="urn:microsoft.com/office/officeart/2009/3/layout/HorizontalOrganizationChart"/>
    <dgm:cxn modelId="{6646FC69-A6E5-403F-878F-3C3D91B42E74}" type="presParOf" srcId="{41F102C6-5D2E-4077-865C-EF91C39FD276}" destId="{0B71ACE8-9937-4782-9FD6-3BFA64A64607}" srcOrd="1" destOrd="0" presId="urn:microsoft.com/office/officeart/2009/3/layout/HorizontalOrganizationChart"/>
    <dgm:cxn modelId="{53ED8330-D3BF-4E29-8B1C-7AC9615B9B44}" type="presParOf" srcId="{0B71ACE8-9937-4782-9FD6-3BFA64A64607}" destId="{2BE242DE-86F3-4906-8BDD-73191435A087}" srcOrd="0" destOrd="0" presId="urn:microsoft.com/office/officeart/2009/3/layout/HorizontalOrganizationChart"/>
    <dgm:cxn modelId="{373567FD-A43D-475F-AB7A-83E25F538B99}" type="presParOf" srcId="{0B71ACE8-9937-4782-9FD6-3BFA64A64607}" destId="{F59DC95A-D25B-4EF4-8F5C-A2194F87A37B}" srcOrd="1" destOrd="0" presId="urn:microsoft.com/office/officeart/2009/3/layout/HorizontalOrganizationChart"/>
    <dgm:cxn modelId="{73F35A52-8566-4FEA-B395-0EDDA626C18E}" type="presParOf" srcId="{F59DC95A-D25B-4EF4-8F5C-A2194F87A37B}" destId="{483756DF-AAB4-4CFF-8C38-E7FB9FED95FA}" srcOrd="0" destOrd="0" presId="urn:microsoft.com/office/officeart/2009/3/layout/HorizontalOrganizationChart"/>
    <dgm:cxn modelId="{57A120E5-3829-47B4-AACC-A8F4950CDDEE}" type="presParOf" srcId="{483756DF-AAB4-4CFF-8C38-E7FB9FED95FA}" destId="{5C10A62C-18F4-47F9-8765-D2F3B1FF9EA0}" srcOrd="0" destOrd="0" presId="urn:microsoft.com/office/officeart/2009/3/layout/HorizontalOrganizationChart"/>
    <dgm:cxn modelId="{91CDDC63-82B7-4FBB-B650-3396A5AF0CBA}" type="presParOf" srcId="{483756DF-AAB4-4CFF-8C38-E7FB9FED95FA}" destId="{C4059117-D720-4DFF-B816-A93B0F5A419F}" srcOrd="1" destOrd="0" presId="urn:microsoft.com/office/officeart/2009/3/layout/HorizontalOrganizationChart"/>
    <dgm:cxn modelId="{38B4A1EA-C947-4EF9-8C07-6F8998B0E272}" type="presParOf" srcId="{F59DC95A-D25B-4EF4-8F5C-A2194F87A37B}" destId="{0E1011B2-93BB-4291-BEB0-1F0F9AD23B25}" srcOrd="1" destOrd="0" presId="urn:microsoft.com/office/officeart/2009/3/layout/HorizontalOrganizationChart"/>
    <dgm:cxn modelId="{F0764670-A7A5-49E7-88A1-040B7F979A23}" type="presParOf" srcId="{F59DC95A-D25B-4EF4-8F5C-A2194F87A37B}" destId="{03F09638-60FE-436C-88C2-5B3424D29375}" srcOrd="2" destOrd="0" presId="urn:microsoft.com/office/officeart/2009/3/layout/HorizontalOrganizationChart"/>
    <dgm:cxn modelId="{75AC4C00-DCF7-4BE0-8C7B-BF6B71988FFD}" type="presParOf" srcId="{0B71ACE8-9937-4782-9FD6-3BFA64A64607}" destId="{97737C16-F391-479E-B25E-FF5216A16C0B}" srcOrd="2" destOrd="0" presId="urn:microsoft.com/office/officeart/2009/3/layout/HorizontalOrganizationChart"/>
    <dgm:cxn modelId="{71B1E483-9E95-4DC9-B879-196D2A54D92C}" type="presParOf" srcId="{0B71ACE8-9937-4782-9FD6-3BFA64A64607}" destId="{4B62522E-F44F-4284-B50B-2B9B179A7F7C}" srcOrd="3" destOrd="0" presId="urn:microsoft.com/office/officeart/2009/3/layout/HorizontalOrganizationChart"/>
    <dgm:cxn modelId="{B3FB1FA5-9A14-4B1F-BF21-DAB15FB17A31}" type="presParOf" srcId="{4B62522E-F44F-4284-B50B-2B9B179A7F7C}" destId="{B3CD7AFF-661E-45EC-B28C-03B3B627DF13}" srcOrd="0" destOrd="0" presId="urn:microsoft.com/office/officeart/2009/3/layout/HorizontalOrganizationChart"/>
    <dgm:cxn modelId="{D6E4D540-692A-4AC5-B40C-35E657D2BF66}" type="presParOf" srcId="{B3CD7AFF-661E-45EC-B28C-03B3B627DF13}" destId="{9E7925F4-765C-415B-8BF7-DB1C4F5F538B}" srcOrd="0" destOrd="0" presId="urn:microsoft.com/office/officeart/2009/3/layout/HorizontalOrganizationChart"/>
    <dgm:cxn modelId="{F26F3981-A3E6-4654-B9CD-D31B63205361}" type="presParOf" srcId="{B3CD7AFF-661E-45EC-B28C-03B3B627DF13}" destId="{B2AC85A4-F70D-41A2-9A8F-3A527ED81E78}" srcOrd="1" destOrd="0" presId="urn:microsoft.com/office/officeart/2009/3/layout/HorizontalOrganizationChart"/>
    <dgm:cxn modelId="{2B77A65C-6889-4D4B-BEAA-19FD69B77BE7}" type="presParOf" srcId="{4B62522E-F44F-4284-B50B-2B9B179A7F7C}" destId="{33ACC4B4-CB07-492A-A22E-2416BF7526C0}" srcOrd="1" destOrd="0" presId="urn:microsoft.com/office/officeart/2009/3/layout/HorizontalOrganizationChart"/>
    <dgm:cxn modelId="{0ED0E7D4-AA40-4C44-83DE-0777C89289FC}" type="presParOf" srcId="{4B62522E-F44F-4284-B50B-2B9B179A7F7C}" destId="{24001A02-A687-43BB-A51C-771709DBFE00}" srcOrd="2" destOrd="0" presId="urn:microsoft.com/office/officeart/2009/3/layout/HorizontalOrganizationChart"/>
    <dgm:cxn modelId="{C04A676C-D5AA-439C-8DB5-2A1526C4FFF0}" type="presParOf" srcId="{0B71ACE8-9937-4782-9FD6-3BFA64A64607}" destId="{5F30C7A1-29B9-4B2D-BAC8-5B0E9FB4A8B8}" srcOrd="4" destOrd="0" presId="urn:microsoft.com/office/officeart/2009/3/layout/HorizontalOrganizationChart"/>
    <dgm:cxn modelId="{49614E03-50DC-43F6-B8B8-C137C965FF6E}" type="presParOf" srcId="{0B71ACE8-9937-4782-9FD6-3BFA64A64607}" destId="{029692AC-1F72-4FAF-8D8D-57F3BF32E384}" srcOrd="5" destOrd="0" presId="urn:microsoft.com/office/officeart/2009/3/layout/HorizontalOrganizationChart"/>
    <dgm:cxn modelId="{C21E7319-9A4E-4A4C-81EB-6F1EE0AC5C14}" type="presParOf" srcId="{029692AC-1F72-4FAF-8D8D-57F3BF32E384}" destId="{3E109830-71F1-426E-A787-D15300EB9CFB}" srcOrd="0" destOrd="0" presId="urn:microsoft.com/office/officeart/2009/3/layout/HorizontalOrganizationChart"/>
    <dgm:cxn modelId="{17AE95FE-67AA-4DC2-B216-5EFD1D974312}" type="presParOf" srcId="{3E109830-71F1-426E-A787-D15300EB9CFB}" destId="{558B312D-9E85-4DB7-883B-16916AE107C9}" srcOrd="0" destOrd="0" presId="urn:microsoft.com/office/officeart/2009/3/layout/HorizontalOrganizationChart"/>
    <dgm:cxn modelId="{5F4C44F6-B219-40BF-BB75-FF6587976F1F}" type="presParOf" srcId="{3E109830-71F1-426E-A787-D15300EB9CFB}" destId="{F3246B86-4524-45FC-85C0-B85BE200A1D4}" srcOrd="1" destOrd="0" presId="urn:microsoft.com/office/officeart/2009/3/layout/HorizontalOrganizationChart"/>
    <dgm:cxn modelId="{B25BE091-88C5-4F4F-A13E-8C80D459A5B5}" type="presParOf" srcId="{029692AC-1F72-4FAF-8D8D-57F3BF32E384}" destId="{F915C4B3-46F7-45E5-9779-B62F7D834D0E}" srcOrd="1" destOrd="0" presId="urn:microsoft.com/office/officeart/2009/3/layout/HorizontalOrganizationChart"/>
    <dgm:cxn modelId="{C3DE4599-5F68-4624-B139-B49E4AC417D5}" type="presParOf" srcId="{029692AC-1F72-4FAF-8D8D-57F3BF32E384}" destId="{1E127F6B-6A83-498C-8379-CADBBF047F32}" srcOrd="2" destOrd="0" presId="urn:microsoft.com/office/officeart/2009/3/layout/HorizontalOrganizationChart"/>
    <dgm:cxn modelId="{8DA7DD10-71A2-431F-945B-3200380F549E}" type="presParOf" srcId="{41F102C6-5D2E-4077-865C-EF91C39FD276}" destId="{F75B8F7D-0377-425C-9CD6-3E88B8A7AA9A}" srcOrd="2" destOrd="0" presId="urn:microsoft.com/office/officeart/2009/3/layout/HorizontalOrganizationChart"/>
  </dgm:cxnLst>
  <dgm:bg>
    <a:solidFill>
      <a:schemeClr val="bg1"/>
    </a:solidFill>
  </dgm:bg>
  <dgm:whole>
    <a:ln w="12700">
      <a:solidFill>
        <a:schemeClr val="tx1"/>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B828DD-CFAA-4C46-AB72-E9745EC771E8}"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US"/>
        </a:p>
      </dgm:t>
    </dgm:pt>
    <dgm:pt modelId="{8229EDD1-E87D-4EF4-B8BB-CC687B4825DF}">
      <dgm:prSet phldrT="[Text]" custT="1"/>
      <dgm:spPr/>
      <dgm:t>
        <a:bodyPr/>
        <a:lstStyle/>
        <a:p>
          <a:pPr algn="ctr"/>
          <a:r>
            <a:rPr lang="en-US" sz="2000" b="1" dirty="0">
              <a:solidFill>
                <a:schemeClr val="tx1"/>
              </a:solidFill>
            </a:rPr>
            <a:t>RTGS- KEPSS</a:t>
          </a:r>
        </a:p>
      </dgm:t>
    </dgm:pt>
    <dgm:pt modelId="{DA62B25F-D1FC-4088-B3F6-F9972E9212D4}" type="parTrans" cxnId="{A1A53B74-CF39-4002-8B03-177D5B17FCA8}">
      <dgm:prSet/>
      <dgm:spPr/>
      <dgm:t>
        <a:bodyPr/>
        <a:lstStyle/>
        <a:p>
          <a:endParaRPr lang="en-US"/>
        </a:p>
      </dgm:t>
    </dgm:pt>
    <dgm:pt modelId="{3F532559-498C-468A-A9C1-62D4D1C0EB26}" type="sibTrans" cxnId="{A1A53B74-CF39-4002-8B03-177D5B17FCA8}">
      <dgm:prSet/>
      <dgm:spPr/>
      <dgm:t>
        <a:bodyPr/>
        <a:lstStyle/>
        <a:p>
          <a:endParaRPr lang="en-US"/>
        </a:p>
      </dgm:t>
    </dgm:pt>
    <dgm:pt modelId="{62B4496B-03D5-41E7-9578-2F2017899F72}">
      <dgm:prSet phldrT="[Text]"/>
      <dgm:spPr/>
      <dgm:t>
        <a:bodyPr/>
        <a:lstStyle/>
        <a:p>
          <a:r>
            <a:rPr lang="en-US" dirty="0"/>
            <a:t>USD</a:t>
          </a:r>
        </a:p>
      </dgm:t>
    </dgm:pt>
    <dgm:pt modelId="{ADF16727-588A-4E4B-B75E-D0893CD009C5}" type="parTrans" cxnId="{943E8ED7-6021-4B3F-A41B-0BE138338B34}">
      <dgm:prSet/>
      <dgm:spPr/>
      <dgm:t>
        <a:bodyPr/>
        <a:lstStyle/>
        <a:p>
          <a:endParaRPr lang="en-US"/>
        </a:p>
      </dgm:t>
    </dgm:pt>
    <dgm:pt modelId="{2D4C3C22-F720-4FE4-A560-FBFB04366F1D}" type="sibTrans" cxnId="{943E8ED7-6021-4B3F-A41B-0BE138338B34}">
      <dgm:prSet/>
      <dgm:spPr/>
      <dgm:t>
        <a:bodyPr/>
        <a:lstStyle/>
        <a:p>
          <a:endParaRPr lang="en-US"/>
        </a:p>
      </dgm:t>
    </dgm:pt>
    <dgm:pt modelId="{AF39E423-E765-439D-B6B1-1B6E56F23963}">
      <dgm:prSet phldrT="[Text]"/>
      <dgm:spPr/>
      <dgm:t>
        <a:bodyPr/>
        <a:lstStyle/>
        <a:p>
          <a:r>
            <a:rPr lang="en-US" dirty="0"/>
            <a:t>Etc.</a:t>
          </a:r>
        </a:p>
      </dgm:t>
    </dgm:pt>
    <dgm:pt modelId="{EA20801A-8683-42CE-AA74-EEF97BD338D7}" type="parTrans" cxnId="{55C47942-C2B1-4D81-B406-8461316377B1}">
      <dgm:prSet/>
      <dgm:spPr/>
      <dgm:t>
        <a:bodyPr/>
        <a:lstStyle/>
        <a:p>
          <a:endParaRPr lang="en-US"/>
        </a:p>
      </dgm:t>
    </dgm:pt>
    <dgm:pt modelId="{57026204-7FB1-4F07-81FC-FA387A84B83E}" type="sibTrans" cxnId="{55C47942-C2B1-4D81-B406-8461316377B1}">
      <dgm:prSet/>
      <dgm:spPr/>
      <dgm:t>
        <a:bodyPr/>
        <a:lstStyle/>
        <a:p>
          <a:endParaRPr lang="en-US"/>
        </a:p>
      </dgm:t>
    </dgm:pt>
    <dgm:pt modelId="{07B18050-7BA8-492D-ACD4-5BFF7B237281}">
      <dgm:prSet/>
      <dgm:spPr/>
      <dgm:t>
        <a:bodyPr/>
        <a:lstStyle/>
        <a:p>
          <a:r>
            <a:rPr lang="en-US" dirty="0"/>
            <a:t>KES</a:t>
          </a:r>
        </a:p>
      </dgm:t>
    </dgm:pt>
    <dgm:pt modelId="{B47D03E9-3E77-43C2-900B-F29982D58492}" type="parTrans" cxnId="{8EE26D15-12EF-4D6F-B12A-36613BB6DCD7}">
      <dgm:prSet/>
      <dgm:spPr/>
      <dgm:t>
        <a:bodyPr/>
        <a:lstStyle/>
        <a:p>
          <a:endParaRPr lang="en-US"/>
        </a:p>
      </dgm:t>
    </dgm:pt>
    <dgm:pt modelId="{05D2A5DC-E315-4D3A-BBF5-6478A5E44F55}" type="sibTrans" cxnId="{8EE26D15-12EF-4D6F-B12A-36613BB6DCD7}">
      <dgm:prSet/>
      <dgm:spPr/>
      <dgm:t>
        <a:bodyPr/>
        <a:lstStyle/>
        <a:p>
          <a:endParaRPr lang="en-US"/>
        </a:p>
      </dgm:t>
    </dgm:pt>
    <dgm:pt modelId="{A9F1C26C-AD5D-4DE3-B8BE-B3F9D5D4301C}" type="pres">
      <dgm:prSet presAssocID="{AFB828DD-CFAA-4C46-AB72-E9745EC771E8}" presName="hierChild1" presStyleCnt="0">
        <dgm:presLayoutVars>
          <dgm:chPref val="1"/>
          <dgm:dir/>
          <dgm:animOne val="branch"/>
          <dgm:animLvl val="lvl"/>
          <dgm:resizeHandles/>
        </dgm:presLayoutVars>
      </dgm:prSet>
      <dgm:spPr/>
    </dgm:pt>
    <dgm:pt modelId="{C58359DC-3297-4194-A19B-C9BEFD2B6EF0}" type="pres">
      <dgm:prSet presAssocID="{8229EDD1-E87D-4EF4-B8BB-CC687B4825DF}" presName="hierRoot1" presStyleCnt="0"/>
      <dgm:spPr/>
    </dgm:pt>
    <dgm:pt modelId="{C059D739-2ED4-4FAE-8EC2-667A3339A1C0}" type="pres">
      <dgm:prSet presAssocID="{8229EDD1-E87D-4EF4-B8BB-CC687B4825DF}" presName="composite" presStyleCnt="0"/>
      <dgm:spPr/>
    </dgm:pt>
    <dgm:pt modelId="{505B1300-C03B-4568-8A51-412393DB2055}" type="pres">
      <dgm:prSet presAssocID="{8229EDD1-E87D-4EF4-B8BB-CC687B4825DF}" presName="image" presStyleLbl="node0" presStyleIdx="0" presStyleCnt="1" custScaleX="293671" custScaleY="113408" custLinFactNeighborX="45109" custLinFactNeighborY="-3049"/>
      <dgm:spPr>
        <a:blipFill>
          <a:blip xmlns:r="http://schemas.openxmlformats.org/officeDocument/2006/relationships" r:embed="rId1">
            <a:extLst>
              <a:ext uri="{96DAC541-7B7A-43D3-8B79-37D633B846F1}">
                <asvg:svgBlip xmlns:asvg="http://schemas.microsoft.com/office/drawing/2016/SVG/main" r:embed="rId2"/>
              </a:ext>
            </a:extLst>
          </a:blip>
          <a:srcRect/>
          <a:stretch>
            <a:fillRect t="-79000" b="-79000"/>
          </a:stretch>
        </a:blipFill>
      </dgm:spPr>
      <dgm:extLst>
        <a:ext uri="{E40237B7-FDA0-4F09-8148-C483321AD2D9}">
          <dgm14:cNvPr xmlns:dgm14="http://schemas.microsoft.com/office/drawing/2010/diagram" id="0" name="" descr="Bridge scene outline"/>
        </a:ext>
      </dgm:extLst>
    </dgm:pt>
    <dgm:pt modelId="{6BA08A54-48FD-4FEF-A0EC-ED17F2DF15A5}" type="pres">
      <dgm:prSet presAssocID="{8229EDD1-E87D-4EF4-B8BB-CC687B4825DF}" presName="text" presStyleLbl="revTx" presStyleIdx="0" presStyleCnt="4" custScaleX="600939" custScaleY="181775" custLinFactY="-55063" custLinFactNeighborX="-56462" custLinFactNeighborY="-100000">
        <dgm:presLayoutVars>
          <dgm:chPref val="3"/>
        </dgm:presLayoutVars>
      </dgm:prSet>
      <dgm:spPr/>
    </dgm:pt>
    <dgm:pt modelId="{F8FD2C00-B6AE-4C0B-9FC5-DA5AABA3B16E}" type="pres">
      <dgm:prSet presAssocID="{8229EDD1-E87D-4EF4-B8BB-CC687B4825DF}" presName="hierChild2" presStyleCnt="0"/>
      <dgm:spPr/>
    </dgm:pt>
    <dgm:pt modelId="{31054996-4AE4-4401-9F4B-1AC4C174A3C7}" type="pres">
      <dgm:prSet presAssocID="{ADF16727-588A-4E4B-B75E-D0893CD009C5}" presName="Name10" presStyleLbl="parChTrans1D2" presStyleIdx="0" presStyleCnt="3"/>
      <dgm:spPr/>
    </dgm:pt>
    <dgm:pt modelId="{DD169711-9F81-429B-B29E-011F6F65DD47}" type="pres">
      <dgm:prSet presAssocID="{62B4496B-03D5-41E7-9578-2F2017899F72}" presName="hierRoot2" presStyleCnt="0"/>
      <dgm:spPr/>
    </dgm:pt>
    <dgm:pt modelId="{A176B77A-D002-4BCA-92C4-E625FC108172}" type="pres">
      <dgm:prSet presAssocID="{62B4496B-03D5-41E7-9578-2F2017899F72}" presName="composite2" presStyleCnt="0"/>
      <dgm:spPr/>
    </dgm:pt>
    <dgm:pt modelId="{C756C339-0BB5-41F9-BEBF-96972DC27E1C}" type="pres">
      <dgm:prSet presAssocID="{62B4496B-03D5-41E7-9578-2F2017899F72}" presName="image2" presStyleLbl="node2" presStyleIdx="0" presStyleCnt="3" custScaleX="155077" custScaleY="245370"/>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ollar with solid fill"/>
        </a:ext>
      </dgm:extLst>
    </dgm:pt>
    <dgm:pt modelId="{53894F20-0B0D-4CF1-B9AF-FE68CE5205F9}" type="pres">
      <dgm:prSet presAssocID="{62B4496B-03D5-41E7-9578-2F2017899F72}" presName="text2" presStyleLbl="revTx" presStyleIdx="1" presStyleCnt="4">
        <dgm:presLayoutVars>
          <dgm:chPref val="3"/>
        </dgm:presLayoutVars>
      </dgm:prSet>
      <dgm:spPr/>
    </dgm:pt>
    <dgm:pt modelId="{7BE04382-D9D6-4F00-B00E-948256984FBF}" type="pres">
      <dgm:prSet presAssocID="{62B4496B-03D5-41E7-9578-2F2017899F72}" presName="hierChild3" presStyleCnt="0"/>
      <dgm:spPr/>
    </dgm:pt>
    <dgm:pt modelId="{780D744D-5B1C-4421-A633-4951FBB03F3D}" type="pres">
      <dgm:prSet presAssocID="{B47D03E9-3E77-43C2-900B-F29982D58492}" presName="Name10" presStyleLbl="parChTrans1D2" presStyleIdx="1" presStyleCnt="3"/>
      <dgm:spPr/>
    </dgm:pt>
    <dgm:pt modelId="{36D32C21-7DC1-4A99-BA7A-B09EEEC2EE06}" type="pres">
      <dgm:prSet presAssocID="{07B18050-7BA8-492D-ACD4-5BFF7B237281}" presName="hierRoot2" presStyleCnt="0"/>
      <dgm:spPr/>
    </dgm:pt>
    <dgm:pt modelId="{1B70DCB7-8D5B-48FA-8515-B33636DD6617}" type="pres">
      <dgm:prSet presAssocID="{07B18050-7BA8-492D-ACD4-5BFF7B237281}" presName="composite2" presStyleCnt="0"/>
      <dgm:spPr/>
    </dgm:pt>
    <dgm:pt modelId="{69503148-3B44-4289-8057-5A1874582AFB}" type="pres">
      <dgm:prSet presAssocID="{07B18050-7BA8-492D-ACD4-5BFF7B237281}" presName="image2" presStyleLbl="node2" presStyleIdx="1" presStyleCnt="3" custScaleX="178806" custScaleY="214878"/>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olar system outline"/>
        </a:ext>
      </dgm:extLst>
    </dgm:pt>
    <dgm:pt modelId="{B51C3B2C-2BD1-45FE-88A8-2EC73B033086}" type="pres">
      <dgm:prSet presAssocID="{07B18050-7BA8-492D-ACD4-5BFF7B237281}" presName="text2" presStyleLbl="revTx" presStyleIdx="2" presStyleCnt="4">
        <dgm:presLayoutVars>
          <dgm:chPref val="3"/>
        </dgm:presLayoutVars>
      </dgm:prSet>
      <dgm:spPr/>
    </dgm:pt>
    <dgm:pt modelId="{36075563-86FE-426C-AEAB-9DA439486656}" type="pres">
      <dgm:prSet presAssocID="{07B18050-7BA8-492D-ACD4-5BFF7B237281}" presName="hierChild3" presStyleCnt="0"/>
      <dgm:spPr/>
    </dgm:pt>
    <dgm:pt modelId="{CE788F1C-9128-41DB-A5E1-0F2EAE1351E7}" type="pres">
      <dgm:prSet presAssocID="{EA20801A-8683-42CE-AA74-EEF97BD338D7}" presName="Name10" presStyleLbl="parChTrans1D2" presStyleIdx="2" presStyleCnt="3"/>
      <dgm:spPr/>
    </dgm:pt>
    <dgm:pt modelId="{00F0D212-402F-42AC-8F00-EA2FC835FAB4}" type="pres">
      <dgm:prSet presAssocID="{AF39E423-E765-439D-B6B1-1B6E56F23963}" presName="hierRoot2" presStyleCnt="0"/>
      <dgm:spPr/>
    </dgm:pt>
    <dgm:pt modelId="{C128A63E-44B4-44C9-84CA-8B35F575AEA0}" type="pres">
      <dgm:prSet presAssocID="{AF39E423-E765-439D-B6B1-1B6E56F23963}" presName="composite2" presStyleCnt="0"/>
      <dgm:spPr/>
    </dgm:pt>
    <dgm:pt modelId="{088DA28C-D856-4302-826B-63621B55C3C3}" type="pres">
      <dgm:prSet presAssocID="{AF39E423-E765-439D-B6B1-1B6E56F23963}" presName="image2" presStyleLbl="node2" presStyleIdx="2" presStyleCnt="3" custScaleX="168700" custScaleY="216540"/>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Advertising with solid fill"/>
        </a:ext>
      </dgm:extLst>
    </dgm:pt>
    <dgm:pt modelId="{FC11F16B-FEC0-466A-919B-1276792FDB62}" type="pres">
      <dgm:prSet presAssocID="{AF39E423-E765-439D-B6B1-1B6E56F23963}" presName="text2" presStyleLbl="revTx" presStyleIdx="3" presStyleCnt="4">
        <dgm:presLayoutVars>
          <dgm:chPref val="3"/>
        </dgm:presLayoutVars>
      </dgm:prSet>
      <dgm:spPr/>
    </dgm:pt>
    <dgm:pt modelId="{9F01D272-16E9-497E-8968-44E133CB06BD}" type="pres">
      <dgm:prSet presAssocID="{AF39E423-E765-439D-B6B1-1B6E56F23963}" presName="hierChild3" presStyleCnt="0"/>
      <dgm:spPr/>
    </dgm:pt>
  </dgm:ptLst>
  <dgm:cxnLst>
    <dgm:cxn modelId="{8EE26D15-12EF-4D6F-B12A-36613BB6DCD7}" srcId="{8229EDD1-E87D-4EF4-B8BB-CC687B4825DF}" destId="{07B18050-7BA8-492D-ACD4-5BFF7B237281}" srcOrd="1" destOrd="0" parTransId="{B47D03E9-3E77-43C2-900B-F29982D58492}" sibTransId="{05D2A5DC-E315-4D3A-BBF5-6478A5E44F55}"/>
    <dgm:cxn modelId="{A1711721-6583-492B-A79F-59F29A3E19EE}" type="presOf" srcId="{8229EDD1-E87D-4EF4-B8BB-CC687B4825DF}" destId="{6BA08A54-48FD-4FEF-A0EC-ED17F2DF15A5}" srcOrd="0" destOrd="0" presId="urn:microsoft.com/office/officeart/2009/layout/CirclePictureHierarchy"/>
    <dgm:cxn modelId="{DE0C662F-3652-4079-ABB5-A761B0A077D8}" type="presOf" srcId="{B47D03E9-3E77-43C2-900B-F29982D58492}" destId="{780D744D-5B1C-4421-A633-4951FBB03F3D}" srcOrd="0" destOrd="0" presId="urn:microsoft.com/office/officeart/2009/layout/CirclePictureHierarchy"/>
    <dgm:cxn modelId="{86A75A36-5741-414D-B7F8-BFD5DD0DD3C8}" type="presOf" srcId="{AFB828DD-CFAA-4C46-AB72-E9745EC771E8}" destId="{A9F1C26C-AD5D-4DE3-B8BE-B3F9D5D4301C}" srcOrd="0" destOrd="0" presId="urn:microsoft.com/office/officeart/2009/layout/CirclePictureHierarchy"/>
    <dgm:cxn modelId="{55C47942-C2B1-4D81-B406-8461316377B1}" srcId="{8229EDD1-E87D-4EF4-B8BB-CC687B4825DF}" destId="{AF39E423-E765-439D-B6B1-1B6E56F23963}" srcOrd="2" destOrd="0" parTransId="{EA20801A-8683-42CE-AA74-EEF97BD338D7}" sibTransId="{57026204-7FB1-4F07-81FC-FA387A84B83E}"/>
    <dgm:cxn modelId="{F4FC4C4A-63DD-4A37-A653-38B4DBD9B683}" type="presOf" srcId="{EA20801A-8683-42CE-AA74-EEF97BD338D7}" destId="{CE788F1C-9128-41DB-A5E1-0F2EAE1351E7}" srcOrd="0" destOrd="0" presId="urn:microsoft.com/office/officeart/2009/layout/CirclePictureHierarchy"/>
    <dgm:cxn modelId="{A1A53B74-CF39-4002-8B03-177D5B17FCA8}" srcId="{AFB828DD-CFAA-4C46-AB72-E9745EC771E8}" destId="{8229EDD1-E87D-4EF4-B8BB-CC687B4825DF}" srcOrd="0" destOrd="0" parTransId="{DA62B25F-D1FC-4088-B3F6-F9972E9212D4}" sibTransId="{3F532559-498C-468A-A9C1-62D4D1C0EB26}"/>
    <dgm:cxn modelId="{6E735594-C278-464F-B41B-31BFA0338FEA}" type="presOf" srcId="{ADF16727-588A-4E4B-B75E-D0893CD009C5}" destId="{31054996-4AE4-4401-9F4B-1AC4C174A3C7}" srcOrd="0" destOrd="0" presId="urn:microsoft.com/office/officeart/2009/layout/CirclePictureHierarchy"/>
    <dgm:cxn modelId="{943E8ED7-6021-4B3F-A41B-0BE138338B34}" srcId="{8229EDD1-E87D-4EF4-B8BB-CC687B4825DF}" destId="{62B4496B-03D5-41E7-9578-2F2017899F72}" srcOrd="0" destOrd="0" parTransId="{ADF16727-588A-4E4B-B75E-D0893CD009C5}" sibTransId="{2D4C3C22-F720-4FE4-A560-FBFB04366F1D}"/>
    <dgm:cxn modelId="{CF3EA9E4-3C15-4BF0-B4AA-19BE9753E628}" type="presOf" srcId="{AF39E423-E765-439D-B6B1-1B6E56F23963}" destId="{FC11F16B-FEC0-466A-919B-1276792FDB62}" srcOrd="0" destOrd="0" presId="urn:microsoft.com/office/officeart/2009/layout/CirclePictureHierarchy"/>
    <dgm:cxn modelId="{2A876BE5-5BCF-45FB-A2B3-56E77C66C73B}" type="presOf" srcId="{62B4496B-03D5-41E7-9578-2F2017899F72}" destId="{53894F20-0B0D-4CF1-B9AF-FE68CE5205F9}" srcOrd="0" destOrd="0" presId="urn:microsoft.com/office/officeart/2009/layout/CirclePictureHierarchy"/>
    <dgm:cxn modelId="{CDD074E8-4949-4568-8FE5-DDEB8F7D6D6E}" type="presOf" srcId="{07B18050-7BA8-492D-ACD4-5BFF7B237281}" destId="{B51C3B2C-2BD1-45FE-88A8-2EC73B033086}" srcOrd="0" destOrd="0" presId="urn:microsoft.com/office/officeart/2009/layout/CirclePictureHierarchy"/>
    <dgm:cxn modelId="{A2C10C5D-336E-4824-8D9A-18A757158FA3}" type="presParOf" srcId="{A9F1C26C-AD5D-4DE3-B8BE-B3F9D5D4301C}" destId="{C58359DC-3297-4194-A19B-C9BEFD2B6EF0}" srcOrd="0" destOrd="0" presId="urn:microsoft.com/office/officeart/2009/layout/CirclePictureHierarchy"/>
    <dgm:cxn modelId="{F1AD3E71-261E-4181-A6A0-3A56190C53BA}" type="presParOf" srcId="{C58359DC-3297-4194-A19B-C9BEFD2B6EF0}" destId="{C059D739-2ED4-4FAE-8EC2-667A3339A1C0}" srcOrd="0" destOrd="0" presId="urn:microsoft.com/office/officeart/2009/layout/CirclePictureHierarchy"/>
    <dgm:cxn modelId="{FB28BAAA-4AC1-498F-ADC8-956B6C02F8ED}" type="presParOf" srcId="{C059D739-2ED4-4FAE-8EC2-667A3339A1C0}" destId="{505B1300-C03B-4568-8A51-412393DB2055}" srcOrd="0" destOrd="0" presId="urn:microsoft.com/office/officeart/2009/layout/CirclePictureHierarchy"/>
    <dgm:cxn modelId="{CA184D26-6137-4223-AB7C-1E0334B86294}" type="presParOf" srcId="{C059D739-2ED4-4FAE-8EC2-667A3339A1C0}" destId="{6BA08A54-48FD-4FEF-A0EC-ED17F2DF15A5}" srcOrd="1" destOrd="0" presId="urn:microsoft.com/office/officeart/2009/layout/CirclePictureHierarchy"/>
    <dgm:cxn modelId="{578C78C3-A016-4B34-91DB-0B76139A3F42}" type="presParOf" srcId="{C58359DC-3297-4194-A19B-C9BEFD2B6EF0}" destId="{F8FD2C00-B6AE-4C0B-9FC5-DA5AABA3B16E}" srcOrd="1" destOrd="0" presId="urn:microsoft.com/office/officeart/2009/layout/CirclePictureHierarchy"/>
    <dgm:cxn modelId="{7F6F74F7-2EEB-4C23-90EA-16556C17EF57}" type="presParOf" srcId="{F8FD2C00-B6AE-4C0B-9FC5-DA5AABA3B16E}" destId="{31054996-4AE4-4401-9F4B-1AC4C174A3C7}" srcOrd="0" destOrd="0" presId="urn:microsoft.com/office/officeart/2009/layout/CirclePictureHierarchy"/>
    <dgm:cxn modelId="{50BCDC85-9622-43EC-924C-73D397DA6A29}" type="presParOf" srcId="{F8FD2C00-B6AE-4C0B-9FC5-DA5AABA3B16E}" destId="{DD169711-9F81-429B-B29E-011F6F65DD47}" srcOrd="1" destOrd="0" presId="urn:microsoft.com/office/officeart/2009/layout/CirclePictureHierarchy"/>
    <dgm:cxn modelId="{0C183A3C-963A-4AAD-97A8-253830EE0138}" type="presParOf" srcId="{DD169711-9F81-429B-B29E-011F6F65DD47}" destId="{A176B77A-D002-4BCA-92C4-E625FC108172}" srcOrd="0" destOrd="0" presId="urn:microsoft.com/office/officeart/2009/layout/CirclePictureHierarchy"/>
    <dgm:cxn modelId="{EACAC18D-1DE0-4541-AB90-7B53918C4060}" type="presParOf" srcId="{A176B77A-D002-4BCA-92C4-E625FC108172}" destId="{C756C339-0BB5-41F9-BEBF-96972DC27E1C}" srcOrd="0" destOrd="0" presId="urn:microsoft.com/office/officeart/2009/layout/CirclePictureHierarchy"/>
    <dgm:cxn modelId="{E8028F71-297A-4021-8A8D-5E6B143D0894}" type="presParOf" srcId="{A176B77A-D002-4BCA-92C4-E625FC108172}" destId="{53894F20-0B0D-4CF1-B9AF-FE68CE5205F9}" srcOrd="1" destOrd="0" presId="urn:microsoft.com/office/officeart/2009/layout/CirclePictureHierarchy"/>
    <dgm:cxn modelId="{4F6A277D-E798-41B0-8F25-A5FD90D6A6A8}" type="presParOf" srcId="{DD169711-9F81-429B-B29E-011F6F65DD47}" destId="{7BE04382-D9D6-4F00-B00E-948256984FBF}" srcOrd="1" destOrd="0" presId="urn:microsoft.com/office/officeart/2009/layout/CirclePictureHierarchy"/>
    <dgm:cxn modelId="{E77A3DFA-C89C-45F1-A4B2-B20C1E897F1A}" type="presParOf" srcId="{F8FD2C00-B6AE-4C0B-9FC5-DA5AABA3B16E}" destId="{780D744D-5B1C-4421-A633-4951FBB03F3D}" srcOrd="2" destOrd="0" presId="urn:microsoft.com/office/officeart/2009/layout/CirclePictureHierarchy"/>
    <dgm:cxn modelId="{F3F94ED7-E185-4685-86C8-A9ED2AE9C52E}" type="presParOf" srcId="{F8FD2C00-B6AE-4C0B-9FC5-DA5AABA3B16E}" destId="{36D32C21-7DC1-4A99-BA7A-B09EEEC2EE06}" srcOrd="3" destOrd="0" presId="urn:microsoft.com/office/officeart/2009/layout/CirclePictureHierarchy"/>
    <dgm:cxn modelId="{4DF23E61-AC22-4E64-884D-B6EA70D12BE5}" type="presParOf" srcId="{36D32C21-7DC1-4A99-BA7A-B09EEEC2EE06}" destId="{1B70DCB7-8D5B-48FA-8515-B33636DD6617}" srcOrd="0" destOrd="0" presId="urn:microsoft.com/office/officeart/2009/layout/CirclePictureHierarchy"/>
    <dgm:cxn modelId="{BDFCCC8E-198F-449F-89A2-C51108167AE8}" type="presParOf" srcId="{1B70DCB7-8D5B-48FA-8515-B33636DD6617}" destId="{69503148-3B44-4289-8057-5A1874582AFB}" srcOrd="0" destOrd="0" presId="urn:microsoft.com/office/officeart/2009/layout/CirclePictureHierarchy"/>
    <dgm:cxn modelId="{7BCD4591-9CDF-4EFC-97B8-43C4FC6360C4}" type="presParOf" srcId="{1B70DCB7-8D5B-48FA-8515-B33636DD6617}" destId="{B51C3B2C-2BD1-45FE-88A8-2EC73B033086}" srcOrd="1" destOrd="0" presId="urn:microsoft.com/office/officeart/2009/layout/CirclePictureHierarchy"/>
    <dgm:cxn modelId="{5A581E15-ACFE-484E-AC69-FCEB74E0801D}" type="presParOf" srcId="{36D32C21-7DC1-4A99-BA7A-B09EEEC2EE06}" destId="{36075563-86FE-426C-AEAB-9DA439486656}" srcOrd="1" destOrd="0" presId="urn:microsoft.com/office/officeart/2009/layout/CirclePictureHierarchy"/>
    <dgm:cxn modelId="{00B08A5F-668B-4FE0-94E2-61879C9F2CAA}" type="presParOf" srcId="{F8FD2C00-B6AE-4C0B-9FC5-DA5AABA3B16E}" destId="{CE788F1C-9128-41DB-A5E1-0F2EAE1351E7}" srcOrd="4" destOrd="0" presId="urn:microsoft.com/office/officeart/2009/layout/CirclePictureHierarchy"/>
    <dgm:cxn modelId="{397C27AB-BDAD-4EA0-AB84-EFE77B4D1FB5}" type="presParOf" srcId="{F8FD2C00-B6AE-4C0B-9FC5-DA5AABA3B16E}" destId="{00F0D212-402F-42AC-8F00-EA2FC835FAB4}" srcOrd="5" destOrd="0" presId="urn:microsoft.com/office/officeart/2009/layout/CirclePictureHierarchy"/>
    <dgm:cxn modelId="{795CFD2B-554B-4524-A339-55DDD1FDCF97}" type="presParOf" srcId="{00F0D212-402F-42AC-8F00-EA2FC835FAB4}" destId="{C128A63E-44B4-44C9-84CA-8B35F575AEA0}" srcOrd="0" destOrd="0" presId="urn:microsoft.com/office/officeart/2009/layout/CirclePictureHierarchy"/>
    <dgm:cxn modelId="{07E35A32-085B-4441-B253-865229A29B1D}" type="presParOf" srcId="{C128A63E-44B4-44C9-84CA-8B35F575AEA0}" destId="{088DA28C-D856-4302-826B-63621B55C3C3}" srcOrd="0" destOrd="0" presId="urn:microsoft.com/office/officeart/2009/layout/CirclePictureHierarchy"/>
    <dgm:cxn modelId="{8A4772F6-A710-4364-AFC9-9BE99E78B8C8}" type="presParOf" srcId="{C128A63E-44B4-44C9-84CA-8B35F575AEA0}" destId="{FC11F16B-FEC0-466A-919B-1276792FDB62}" srcOrd="1" destOrd="0" presId="urn:microsoft.com/office/officeart/2009/layout/CirclePictureHierarchy"/>
    <dgm:cxn modelId="{074D8EC5-20CE-469F-91CC-AFBE505EA857}" type="presParOf" srcId="{00F0D212-402F-42AC-8F00-EA2FC835FAB4}" destId="{9F01D272-16E9-497E-8968-44E133CB06BD}" srcOrd="1" destOrd="0" presId="urn:microsoft.com/office/officeart/2009/layout/CirclePictureHierarchy"/>
  </dgm:cxnLst>
  <dgm:bg>
    <a:solidFill>
      <a:schemeClr val="bg1"/>
    </a:solidFill>
  </dgm:bg>
  <dgm:whole>
    <a:ln w="12700">
      <a:solidFill>
        <a:schemeClr val="tx1"/>
      </a:solidFill>
    </a:ln>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3300981-ED31-4C06-9CD5-66DC9FEB20B6}"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A388D227-84F4-4598-BC97-CE059CF5F08D}">
      <dgm:prSet phldrT="[Text]"/>
      <dgm:spPr/>
      <dgm:t>
        <a:bodyPr/>
        <a:lstStyle/>
        <a:p>
          <a:r>
            <a:rPr lang="en-US" b="1" dirty="0"/>
            <a:t>East African Payment Systems</a:t>
          </a:r>
        </a:p>
      </dgm:t>
    </dgm:pt>
    <dgm:pt modelId="{4068A590-ADD0-49D0-B94E-2982AAB5A0CE}" type="parTrans" cxnId="{6F61CD40-9D71-4AD9-AF40-770A186D3D45}">
      <dgm:prSet/>
      <dgm:spPr/>
      <dgm:t>
        <a:bodyPr/>
        <a:lstStyle/>
        <a:p>
          <a:endParaRPr lang="en-US"/>
        </a:p>
      </dgm:t>
    </dgm:pt>
    <dgm:pt modelId="{F6DA6BFF-1EC8-4DB3-BDF7-B90738AB16B4}" type="sibTrans" cxnId="{6F61CD40-9D71-4AD9-AF40-770A186D3D45}">
      <dgm:prSet/>
      <dgm:spPr/>
      <dgm:t>
        <a:bodyPr/>
        <a:lstStyle/>
        <a:p>
          <a:endParaRPr lang="en-US"/>
        </a:p>
      </dgm:t>
    </dgm:pt>
    <dgm:pt modelId="{94CD6A93-2282-4ADE-9C55-72BA2567ED71}">
      <dgm:prSet phldrT="[Text]" custT="1"/>
      <dgm:spPr/>
      <dgm:t>
        <a:bodyPr/>
        <a:lstStyle/>
        <a:p>
          <a:r>
            <a:rPr lang="en-US" sz="2000" b="1" dirty="0">
              <a:latin typeface="Century Gothic" panose="020B0502020202020204" pitchFamily="34" charset="0"/>
            </a:rPr>
            <a:t>EAPS</a:t>
          </a:r>
        </a:p>
      </dgm:t>
    </dgm:pt>
    <dgm:pt modelId="{62BC8701-DEE6-440A-B814-3BDBA8D42D4F}" type="parTrans" cxnId="{92CCCE95-ADF8-49B1-B9F8-8AF8ACCEF521}">
      <dgm:prSet/>
      <dgm:spPr/>
      <dgm:t>
        <a:bodyPr/>
        <a:lstStyle/>
        <a:p>
          <a:endParaRPr lang="en-US"/>
        </a:p>
      </dgm:t>
    </dgm:pt>
    <dgm:pt modelId="{2766D5C2-B74B-4713-B704-4BFB33B95C09}" type="sibTrans" cxnId="{92CCCE95-ADF8-49B1-B9F8-8AF8ACCEF521}">
      <dgm:prSet/>
      <dgm:spPr/>
      <dgm:t>
        <a:bodyPr/>
        <a:lstStyle/>
        <a:p>
          <a:endParaRPr lang="en-US"/>
        </a:p>
      </dgm:t>
    </dgm:pt>
    <dgm:pt modelId="{6E8907B4-6CB2-4554-97E7-600FF677CEA6}">
      <dgm:prSet/>
      <dgm:spPr/>
      <dgm:t>
        <a:bodyPr/>
        <a:lstStyle/>
        <a:p>
          <a:r>
            <a:rPr lang="en-US" b="1" dirty="0">
              <a:latin typeface="Century Gothic" panose="020B0502020202020204" pitchFamily="34" charset="0"/>
            </a:rPr>
            <a:t>Regional Payment and Settlement System</a:t>
          </a:r>
        </a:p>
      </dgm:t>
    </dgm:pt>
    <dgm:pt modelId="{1453A44F-2525-4CC4-A935-0EA5AFE3ED76}" type="sibTrans" cxnId="{6B4760A5-D64D-426F-B989-E83F0C61CDC1}">
      <dgm:prSet/>
      <dgm:spPr/>
      <dgm:t>
        <a:bodyPr/>
        <a:lstStyle/>
        <a:p>
          <a:endParaRPr lang="en-US"/>
        </a:p>
      </dgm:t>
    </dgm:pt>
    <dgm:pt modelId="{76BF7A26-61F3-4F97-B1C5-5C31A3CC0BCD}" type="parTrans" cxnId="{6B4760A5-D64D-426F-B989-E83F0C61CDC1}">
      <dgm:prSet/>
      <dgm:spPr/>
      <dgm:t>
        <a:bodyPr/>
        <a:lstStyle/>
        <a:p>
          <a:endParaRPr lang="en-US"/>
        </a:p>
      </dgm:t>
    </dgm:pt>
    <dgm:pt modelId="{28CDB110-6A99-46F4-B1F0-8336E8411726}" type="pres">
      <dgm:prSet presAssocID="{13300981-ED31-4C06-9CD5-66DC9FEB20B6}" presName="Name0" presStyleCnt="0">
        <dgm:presLayoutVars>
          <dgm:chMax/>
          <dgm:chPref val="3"/>
          <dgm:dir/>
          <dgm:animOne val="branch"/>
          <dgm:animLvl val="lvl"/>
        </dgm:presLayoutVars>
      </dgm:prSet>
      <dgm:spPr/>
    </dgm:pt>
    <dgm:pt modelId="{817CF869-0F38-483B-AEA3-CCABEB28C4AC}" type="pres">
      <dgm:prSet presAssocID="{A388D227-84F4-4598-BC97-CE059CF5F08D}" presName="composite" presStyleCnt="0"/>
      <dgm:spPr/>
    </dgm:pt>
    <dgm:pt modelId="{10ED1C57-2DD2-4D69-9078-DE5D7B351987}" type="pres">
      <dgm:prSet presAssocID="{A388D227-84F4-4598-BC97-CE059CF5F08D}" presName="FirstChild" presStyleLbl="revTx" presStyleIdx="0" presStyleCnt="2">
        <dgm:presLayoutVars>
          <dgm:chMax val="0"/>
          <dgm:chPref val="0"/>
          <dgm:bulletEnabled val="1"/>
        </dgm:presLayoutVars>
      </dgm:prSet>
      <dgm:spPr/>
    </dgm:pt>
    <dgm:pt modelId="{E0680DFB-BAC8-46FB-AF07-E2EF48D12E1F}" type="pres">
      <dgm:prSet presAssocID="{A388D227-84F4-4598-BC97-CE059CF5F08D}" presName="Parent" presStyleLbl="alignNode1" presStyleIdx="0" presStyleCnt="2">
        <dgm:presLayoutVars>
          <dgm:chMax val="3"/>
          <dgm:chPref val="3"/>
          <dgm:bulletEnabled val="1"/>
        </dgm:presLayoutVars>
      </dgm:prSet>
      <dgm:spPr/>
    </dgm:pt>
    <dgm:pt modelId="{39BD00E7-E339-43E8-8E38-1D243BED017D}" type="pres">
      <dgm:prSet presAssocID="{A388D227-84F4-4598-BC97-CE059CF5F08D}" presName="Accent" presStyleLbl="parChTrans1D1" presStyleIdx="0" presStyleCnt="2"/>
      <dgm:spPr/>
    </dgm:pt>
    <dgm:pt modelId="{FBCB0CC5-2DEC-4509-BAFE-5371306EF6CB}" type="pres">
      <dgm:prSet presAssocID="{F6DA6BFF-1EC8-4DB3-BDF7-B90738AB16B4}" presName="sibTrans" presStyleCnt="0"/>
      <dgm:spPr/>
    </dgm:pt>
    <dgm:pt modelId="{2A9EDF4B-A6B7-45B5-84C1-08F93F4244ED}" type="pres">
      <dgm:prSet presAssocID="{6E8907B4-6CB2-4554-97E7-600FF677CEA6}" presName="composite" presStyleCnt="0"/>
      <dgm:spPr/>
    </dgm:pt>
    <dgm:pt modelId="{AB396FA5-DFF0-4C59-B1B5-7ABFB58886D8}" type="pres">
      <dgm:prSet presAssocID="{6E8907B4-6CB2-4554-97E7-600FF677CEA6}" presName="FirstChild" presStyleLbl="revTx" presStyleIdx="1" presStyleCnt="2">
        <dgm:presLayoutVars>
          <dgm:chMax val="0"/>
          <dgm:chPref val="0"/>
          <dgm:bulletEnabled val="1"/>
        </dgm:presLayoutVars>
      </dgm:prSet>
      <dgm:spPr/>
    </dgm:pt>
    <dgm:pt modelId="{3B1943BF-F04F-4C8B-A67E-8233D2AE5C39}" type="pres">
      <dgm:prSet presAssocID="{6E8907B4-6CB2-4554-97E7-600FF677CEA6}" presName="Parent" presStyleLbl="alignNode1" presStyleIdx="1" presStyleCnt="2">
        <dgm:presLayoutVars>
          <dgm:chMax val="3"/>
          <dgm:chPref val="3"/>
          <dgm:bulletEnabled val="1"/>
        </dgm:presLayoutVars>
      </dgm:prSet>
      <dgm:spPr/>
    </dgm:pt>
    <dgm:pt modelId="{89E3592B-EBAA-49FC-B8B0-90E79AE7FF18}" type="pres">
      <dgm:prSet presAssocID="{6E8907B4-6CB2-4554-97E7-600FF677CEA6}" presName="Accent" presStyleLbl="parChTrans1D1" presStyleIdx="1" presStyleCnt="2"/>
      <dgm:spPr/>
    </dgm:pt>
  </dgm:ptLst>
  <dgm:cxnLst>
    <dgm:cxn modelId="{197E2B1F-B188-4719-8B77-8452968512CF}" type="presOf" srcId="{94CD6A93-2282-4ADE-9C55-72BA2567ED71}" destId="{10ED1C57-2DD2-4D69-9078-DE5D7B351987}" srcOrd="0" destOrd="0" presId="urn:microsoft.com/office/officeart/2011/layout/TabList"/>
    <dgm:cxn modelId="{6F61CD40-9D71-4AD9-AF40-770A186D3D45}" srcId="{13300981-ED31-4C06-9CD5-66DC9FEB20B6}" destId="{A388D227-84F4-4598-BC97-CE059CF5F08D}" srcOrd="0" destOrd="0" parTransId="{4068A590-ADD0-49D0-B94E-2982AAB5A0CE}" sibTransId="{F6DA6BFF-1EC8-4DB3-BDF7-B90738AB16B4}"/>
    <dgm:cxn modelId="{7961BA66-4FC8-4B8A-9B45-E3DC27E0CC10}" type="presOf" srcId="{A388D227-84F4-4598-BC97-CE059CF5F08D}" destId="{E0680DFB-BAC8-46FB-AF07-E2EF48D12E1F}" srcOrd="0" destOrd="0" presId="urn:microsoft.com/office/officeart/2011/layout/TabList"/>
    <dgm:cxn modelId="{DB0C7A85-DE90-4DF1-8DA0-0D60558D4DE4}" type="presOf" srcId="{13300981-ED31-4C06-9CD5-66DC9FEB20B6}" destId="{28CDB110-6A99-46F4-B1F0-8336E8411726}" srcOrd="0" destOrd="0" presId="urn:microsoft.com/office/officeart/2011/layout/TabList"/>
    <dgm:cxn modelId="{92CCCE95-ADF8-49B1-B9F8-8AF8ACCEF521}" srcId="{A388D227-84F4-4598-BC97-CE059CF5F08D}" destId="{94CD6A93-2282-4ADE-9C55-72BA2567ED71}" srcOrd="0" destOrd="0" parTransId="{62BC8701-DEE6-440A-B814-3BDBA8D42D4F}" sibTransId="{2766D5C2-B74B-4713-B704-4BFB33B95C09}"/>
    <dgm:cxn modelId="{6B4760A5-D64D-426F-B989-E83F0C61CDC1}" srcId="{13300981-ED31-4C06-9CD5-66DC9FEB20B6}" destId="{6E8907B4-6CB2-4554-97E7-600FF677CEA6}" srcOrd="1" destOrd="0" parTransId="{76BF7A26-61F3-4F97-B1C5-5C31A3CC0BCD}" sibTransId="{1453A44F-2525-4CC4-A935-0EA5AFE3ED76}"/>
    <dgm:cxn modelId="{CA7A5DDF-15A8-4866-ACDE-C54A06EA240A}" type="presOf" srcId="{6E8907B4-6CB2-4554-97E7-600FF677CEA6}" destId="{3B1943BF-F04F-4C8B-A67E-8233D2AE5C39}" srcOrd="0" destOrd="0" presId="urn:microsoft.com/office/officeart/2011/layout/TabList"/>
    <dgm:cxn modelId="{1AAFFBB1-7922-43C1-AA6E-099B032086E5}" type="presParOf" srcId="{28CDB110-6A99-46F4-B1F0-8336E8411726}" destId="{817CF869-0F38-483B-AEA3-CCABEB28C4AC}" srcOrd="0" destOrd="0" presId="urn:microsoft.com/office/officeart/2011/layout/TabList"/>
    <dgm:cxn modelId="{4374B8A5-3581-4B6B-BBC1-0C062DD2A712}" type="presParOf" srcId="{817CF869-0F38-483B-AEA3-CCABEB28C4AC}" destId="{10ED1C57-2DD2-4D69-9078-DE5D7B351987}" srcOrd="0" destOrd="0" presId="urn:microsoft.com/office/officeart/2011/layout/TabList"/>
    <dgm:cxn modelId="{0655AFF2-2166-4A0E-B359-520284E650D0}" type="presParOf" srcId="{817CF869-0F38-483B-AEA3-CCABEB28C4AC}" destId="{E0680DFB-BAC8-46FB-AF07-E2EF48D12E1F}" srcOrd="1" destOrd="0" presId="urn:microsoft.com/office/officeart/2011/layout/TabList"/>
    <dgm:cxn modelId="{37E6D1DA-2355-4375-A06B-62FD295367CC}" type="presParOf" srcId="{817CF869-0F38-483B-AEA3-CCABEB28C4AC}" destId="{39BD00E7-E339-43E8-8E38-1D243BED017D}" srcOrd="2" destOrd="0" presId="urn:microsoft.com/office/officeart/2011/layout/TabList"/>
    <dgm:cxn modelId="{59337DB8-6A36-4BF1-93E9-41EF96C6C75A}" type="presParOf" srcId="{28CDB110-6A99-46F4-B1F0-8336E8411726}" destId="{FBCB0CC5-2DEC-4509-BAFE-5371306EF6CB}" srcOrd="1" destOrd="0" presId="urn:microsoft.com/office/officeart/2011/layout/TabList"/>
    <dgm:cxn modelId="{21246721-1F4D-4C33-865E-472574C4632C}" type="presParOf" srcId="{28CDB110-6A99-46F4-B1F0-8336E8411726}" destId="{2A9EDF4B-A6B7-45B5-84C1-08F93F4244ED}" srcOrd="2" destOrd="0" presId="urn:microsoft.com/office/officeart/2011/layout/TabList"/>
    <dgm:cxn modelId="{3163C114-4CC0-4C40-908D-A23F383E43F9}" type="presParOf" srcId="{2A9EDF4B-A6B7-45B5-84C1-08F93F4244ED}" destId="{AB396FA5-DFF0-4C59-B1B5-7ABFB58886D8}" srcOrd="0" destOrd="0" presId="urn:microsoft.com/office/officeart/2011/layout/TabList"/>
    <dgm:cxn modelId="{B966BE4F-9DE4-468D-B922-BED127E56D9E}" type="presParOf" srcId="{2A9EDF4B-A6B7-45B5-84C1-08F93F4244ED}" destId="{3B1943BF-F04F-4C8B-A67E-8233D2AE5C39}" srcOrd="1" destOrd="0" presId="urn:microsoft.com/office/officeart/2011/layout/TabList"/>
    <dgm:cxn modelId="{C50AC4A0-C231-4007-8806-48E1F6D1A457}" type="presParOf" srcId="{2A9EDF4B-A6B7-45B5-84C1-08F93F4244ED}" destId="{89E3592B-EBAA-49FC-B8B0-90E79AE7FF18}" srcOrd="2" destOrd="0" presId="urn:microsoft.com/office/officeart/2011/layout/TabList"/>
  </dgm:cxnLst>
  <dgm:bg>
    <a:solidFill>
      <a:schemeClr val="bg1"/>
    </a:solidFill>
  </dgm:bg>
  <dgm:whole>
    <a:ln w="12700">
      <a:solidFill>
        <a:schemeClr val="tx1"/>
      </a:solidFill>
    </a:ln>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0B9F39-79AE-4A5F-8805-0AC94ED23D2B}" type="doc">
      <dgm:prSet loTypeId="urn:microsoft.com/office/officeart/2005/8/layout/gear1" loCatId="cycle" qsTypeId="urn:microsoft.com/office/officeart/2005/8/quickstyle/3d7" qsCatId="3D" csTypeId="urn:microsoft.com/office/officeart/2005/8/colors/accent1_2" csCatId="accent1" phldr="1"/>
      <dgm:spPr/>
    </dgm:pt>
    <dgm:pt modelId="{8C36D145-E6B3-4EBB-95C2-05792FCFDDB8}">
      <dgm:prSet phldrT="[Text]"/>
      <dgm:spPr/>
      <dgm:t>
        <a:bodyPr/>
        <a:lstStyle/>
        <a:p>
          <a:r>
            <a:rPr lang="en-US" b="1" dirty="0">
              <a:latin typeface="Century Gothic" panose="020B0502020202020204" pitchFamily="34" charset="0"/>
            </a:rPr>
            <a:t>SWIFT RAILS</a:t>
          </a:r>
        </a:p>
      </dgm:t>
    </dgm:pt>
    <dgm:pt modelId="{FA57254B-A600-4592-A4D3-966B31602BDD}" type="parTrans" cxnId="{A749A017-E4D0-4C6A-BD20-D04263C56920}">
      <dgm:prSet/>
      <dgm:spPr/>
      <dgm:t>
        <a:bodyPr/>
        <a:lstStyle/>
        <a:p>
          <a:endParaRPr lang="en-US"/>
        </a:p>
      </dgm:t>
    </dgm:pt>
    <dgm:pt modelId="{7DE18466-1C66-43BF-B64F-A69DDCAEE36A}" type="sibTrans" cxnId="{A749A017-E4D0-4C6A-BD20-D04263C56920}">
      <dgm:prSet>
        <dgm:style>
          <a:lnRef idx="2">
            <a:schemeClr val="accent6"/>
          </a:lnRef>
          <a:fillRef idx="1">
            <a:schemeClr val="lt1"/>
          </a:fillRef>
          <a:effectRef idx="0">
            <a:schemeClr val="accent6"/>
          </a:effectRef>
          <a:fontRef idx="minor">
            <a:schemeClr val="dk1"/>
          </a:fontRef>
        </dgm:style>
      </dgm:prSet>
      <dgm:spPr/>
      <dgm:t>
        <a:bodyPr/>
        <a:lstStyle/>
        <a:p>
          <a:endParaRPr lang="en-US"/>
        </a:p>
      </dgm:t>
    </dgm:pt>
    <dgm:pt modelId="{1D753DE7-452F-4980-8D76-6BE5F3E2EE86}" type="pres">
      <dgm:prSet presAssocID="{F40B9F39-79AE-4A5F-8805-0AC94ED23D2B}" presName="composite" presStyleCnt="0">
        <dgm:presLayoutVars>
          <dgm:chMax val="3"/>
          <dgm:animLvl val="lvl"/>
          <dgm:resizeHandles val="exact"/>
        </dgm:presLayoutVars>
      </dgm:prSet>
      <dgm:spPr/>
    </dgm:pt>
    <dgm:pt modelId="{435DD43D-8D78-40F1-B27F-A65DA6A585CC}" type="pres">
      <dgm:prSet presAssocID="{8C36D145-E6B3-4EBB-95C2-05792FCFDDB8}" presName="gear1" presStyleLbl="node1" presStyleIdx="0" presStyleCnt="1">
        <dgm:presLayoutVars>
          <dgm:chMax val="1"/>
          <dgm:bulletEnabled val="1"/>
        </dgm:presLayoutVars>
      </dgm:prSet>
      <dgm:spPr/>
    </dgm:pt>
    <dgm:pt modelId="{59888F8A-D14B-4642-B770-6882E45C46EB}" type="pres">
      <dgm:prSet presAssocID="{8C36D145-E6B3-4EBB-95C2-05792FCFDDB8}" presName="gear1srcNode" presStyleLbl="node1" presStyleIdx="0" presStyleCnt="1"/>
      <dgm:spPr/>
    </dgm:pt>
    <dgm:pt modelId="{40CEB7F6-314E-4ED4-A0AF-CD3C098BF595}" type="pres">
      <dgm:prSet presAssocID="{8C36D145-E6B3-4EBB-95C2-05792FCFDDB8}" presName="gear1dstNode" presStyleLbl="node1" presStyleIdx="0" presStyleCnt="1"/>
      <dgm:spPr/>
    </dgm:pt>
    <dgm:pt modelId="{E3397532-EB20-4641-BA01-C4B629904125}" type="pres">
      <dgm:prSet presAssocID="{7DE18466-1C66-43BF-B64F-A69DDCAEE36A}" presName="connector1" presStyleLbl="sibTrans2D1" presStyleIdx="0" presStyleCnt="1"/>
      <dgm:spPr/>
    </dgm:pt>
  </dgm:ptLst>
  <dgm:cxnLst>
    <dgm:cxn modelId="{6B9AEB04-CAD6-4E16-8DE6-9CD8208BEE74}" type="presOf" srcId="{8C36D145-E6B3-4EBB-95C2-05792FCFDDB8}" destId="{435DD43D-8D78-40F1-B27F-A65DA6A585CC}" srcOrd="0" destOrd="0" presId="urn:microsoft.com/office/officeart/2005/8/layout/gear1"/>
    <dgm:cxn modelId="{A749A017-E4D0-4C6A-BD20-D04263C56920}" srcId="{F40B9F39-79AE-4A5F-8805-0AC94ED23D2B}" destId="{8C36D145-E6B3-4EBB-95C2-05792FCFDDB8}" srcOrd="0" destOrd="0" parTransId="{FA57254B-A600-4592-A4D3-966B31602BDD}" sibTransId="{7DE18466-1C66-43BF-B64F-A69DDCAEE36A}"/>
    <dgm:cxn modelId="{FBA89C29-4383-44A4-8BED-855F93FE97A9}" type="presOf" srcId="{8C36D145-E6B3-4EBB-95C2-05792FCFDDB8}" destId="{59888F8A-D14B-4642-B770-6882E45C46EB}" srcOrd="1" destOrd="0" presId="urn:microsoft.com/office/officeart/2005/8/layout/gear1"/>
    <dgm:cxn modelId="{2917163F-338B-457E-8D01-3AFC41DC98A1}" type="presOf" srcId="{F40B9F39-79AE-4A5F-8805-0AC94ED23D2B}" destId="{1D753DE7-452F-4980-8D76-6BE5F3E2EE86}" srcOrd="0" destOrd="0" presId="urn:microsoft.com/office/officeart/2005/8/layout/gear1"/>
    <dgm:cxn modelId="{AD665177-C393-4B20-AF09-F618E612F16C}" type="presOf" srcId="{7DE18466-1C66-43BF-B64F-A69DDCAEE36A}" destId="{E3397532-EB20-4641-BA01-C4B629904125}" srcOrd="0" destOrd="0" presId="urn:microsoft.com/office/officeart/2005/8/layout/gear1"/>
    <dgm:cxn modelId="{36699D82-1A03-4D21-9892-F674ACFF908D}" type="presOf" srcId="{8C36D145-E6B3-4EBB-95C2-05792FCFDDB8}" destId="{40CEB7F6-314E-4ED4-A0AF-CD3C098BF595}" srcOrd="2" destOrd="0" presId="urn:microsoft.com/office/officeart/2005/8/layout/gear1"/>
    <dgm:cxn modelId="{B613D6C6-6B7F-48D3-A0DC-3F1D38E8C472}" type="presParOf" srcId="{1D753DE7-452F-4980-8D76-6BE5F3E2EE86}" destId="{435DD43D-8D78-40F1-B27F-A65DA6A585CC}" srcOrd="0" destOrd="0" presId="urn:microsoft.com/office/officeart/2005/8/layout/gear1"/>
    <dgm:cxn modelId="{F078544D-2572-497F-9D4D-65D61DDB5859}" type="presParOf" srcId="{1D753DE7-452F-4980-8D76-6BE5F3E2EE86}" destId="{59888F8A-D14B-4642-B770-6882E45C46EB}" srcOrd="1" destOrd="0" presId="urn:microsoft.com/office/officeart/2005/8/layout/gear1"/>
    <dgm:cxn modelId="{620CE821-E2D8-40F6-8779-9501581BD0B2}" type="presParOf" srcId="{1D753DE7-452F-4980-8D76-6BE5F3E2EE86}" destId="{40CEB7F6-314E-4ED4-A0AF-CD3C098BF595}" srcOrd="2" destOrd="0" presId="urn:microsoft.com/office/officeart/2005/8/layout/gear1"/>
    <dgm:cxn modelId="{B488F2E3-1DAA-4548-A36F-19FB8E9F22AD}" type="presParOf" srcId="{1D753DE7-452F-4980-8D76-6BE5F3E2EE86}" destId="{E3397532-EB20-4641-BA01-C4B629904125}" srcOrd="3" destOrd="0" presId="urn:microsoft.com/office/officeart/2005/8/layout/gear1"/>
  </dgm:cxnLst>
  <dgm:bg>
    <a:solidFill>
      <a:schemeClr val="bg1"/>
    </a:solidFill>
  </dgm:bg>
  <dgm:whole>
    <a:ln w="12700">
      <a:solidFill>
        <a:schemeClr val="tx1"/>
      </a:solidFill>
    </a:ln>
  </dgm:whole>
  <dgm:extLst>
    <a:ext uri="http://schemas.microsoft.com/office/drawing/2008/diagram">
      <dsp:dataModelExt xmlns:dsp="http://schemas.microsoft.com/office/drawing/2008/diagram" relId="rId2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8133815-E1E7-4B8A-AD54-27EE4A7A693D}" type="doc">
      <dgm:prSet loTypeId="urn:diagrams.loki3.com/BracketList" loCatId="list" qsTypeId="urn:microsoft.com/office/officeart/2005/8/quickstyle/simple3" qsCatId="simple" csTypeId="urn:microsoft.com/office/officeart/2005/8/colors/accent1_2" csCatId="accent1" phldr="1"/>
      <dgm:spPr/>
      <dgm:t>
        <a:bodyPr/>
        <a:lstStyle/>
        <a:p>
          <a:endParaRPr lang="en-US"/>
        </a:p>
      </dgm:t>
    </dgm:pt>
    <dgm:pt modelId="{36C177B7-C5A3-4D17-A2A0-A5DDF8E1A32B}">
      <dgm:prSet phldrT="[Text]" custT="1"/>
      <dgm:spPr>
        <a:solidFill>
          <a:schemeClr val="bg1">
            <a:lumMod val="85000"/>
          </a:schemeClr>
        </a:solidFill>
      </dgm:spPr>
      <dgm:t>
        <a:bodyPr/>
        <a:lstStyle/>
        <a:p>
          <a:pPr algn="l"/>
          <a:r>
            <a:rPr lang="en-US" sz="1700" dirty="0">
              <a:latin typeface=" century gothic"/>
            </a:rPr>
            <a:t>Lack of Shared Infrastructure</a:t>
          </a:r>
        </a:p>
      </dgm:t>
    </dgm:pt>
    <dgm:pt modelId="{0E27E1E9-723C-4A9C-863A-79BEDBBC4260}" type="parTrans" cxnId="{4FA5CC40-1E49-4B04-B1C8-5A06149B30AF}">
      <dgm:prSet/>
      <dgm:spPr/>
      <dgm:t>
        <a:bodyPr/>
        <a:lstStyle/>
        <a:p>
          <a:endParaRPr lang="en-US" sz="1700">
            <a:latin typeface=" century gothic"/>
          </a:endParaRPr>
        </a:p>
      </dgm:t>
    </dgm:pt>
    <dgm:pt modelId="{E23BAF7B-A7D2-4C0D-97E9-34F55EB0E848}" type="sibTrans" cxnId="{4FA5CC40-1E49-4B04-B1C8-5A06149B30AF}">
      <dgm:prSet/>
      <dgm:spPr/>
      <dgm:t>
        <a:bodyPr/>
        <a:lstStyle/>
        <a:p>
          <a:endParaRPr lang="en-US" sz="1700">
            <a:latin typeface=" century gothic"/>
          </a:endParaRPr>
        </a:p>
      </dgm:t>
    </dgm:pt>
    <dgm:pt modelId="{524F6F0F-2904-462D-A48E-A95F7CF6AEE8}">
      <dgm:prSet phldrT="[Text]" custT="1"/>
      <dgm:spPr/>
      <dgm:t>
        <a:bodyPr/>
        <a:lstStyle/>
        <a:p>
          <a:r>
            <a:rPr lang="en-US" sz="1500" dirty="0">
              <a:latin typeface=" century gothic"/>
            </a:rPr>
            <a:t>The absence of unified infrastructure results in fragmented and underutilized ATMs and POS devices, driving up operational costs. Establishing shared ATM/POS networks would lower costs and expand accessibility, particularly in underserved areas.</a:t>
          </a:r>
        </a:p>
      </dgm:t>
    </dgm:pt>
    <dgm:pt modelId="{23A4E758-BF4F-4DD7-BB99-C34B2D09D98D}" type="parTrans" cxnId="{7D3EC05F-FC62-4801-864F-36258F07F50A}">
      <dgm:prSet/>
      <dgm:spPr/>
      <dgm:t>
        <a:bodyPr/>
        <a:lstStyle/>
        <a:p>
          <a:endParaRPr lang="en-US" sz="1700">
            <a:latin typeface=" century gothic"/>
          </a:endParaRPr>
        </a:p>
      </dgm:t>
    </dgm:pt>
    <dgm:pt modelId="{6BAE4398-470E-46E3-821E-D072DF723BAE}" type="sibTrans" cxnId="{7D3EC05F-FC62-4801-864F-36258F07F50A}">
      <dgm:prSet/>
      <dgm:spPr/>
      <dgm:t>
        <a:bodyPr/>
        <a:lstStyle/>
        <a:p>
          <a:endParaRPr lang="en-US" sz="1700">
            <a:latin typeface=" century gothic"/>
          </a:endParaRPr>
        </a:p>
      </dgm:t>
    </dgm:pt>
    <dgm:pt modelId="{11F6AE4F-6838-4A00-AABA-4006910CB8C8}">
      <dgm:prSet phldrT="[Text]" custT="1"/>
      <dgm:spPr>
        <a:solidFill>
          <a:schemeClr val="bg1">
            <a:lumMod val="85000"/>
          </a:schemeClr>
        </a:solidFill>
      </dgm:spPr>
      <dgm:t>
        <a:bodyPr/>
        <a:lstStyle/>
        <a:p>
          <a:pPr algn="l"/>
          <a:r>
            <a:rPr lang="en-US" sz="1700" b="0" dirty="0">
              <a:latin typeface=" century gothic"/>
            </a:rPr>
            <a:t>Lack of Open Multilateral Platforms</a:t>
          </a:r>
        </a:p>
      </dgm:t>
    </dgm:pt>
    <dgm:pt modelId="{92510B92-4065-4F8F-931C-D873AB15BD37}" type="parTrans" cxnId="{B6976903-7D29-4690-9439-B4E0B7229EB9}">
      <dgm:prSet/>
      <dgm:spPr/>
      <dgm:t>
        <a:bodyPr/>
        <a:lstStyle/>
        <a:p>
          <a:endParaRPr lang="en-US" sz="1700">
            <a:latin typeface=" century gothic"/>
          </a:endParaRPr>
        </a:p>
      </dgm:t>
    </dgm:pt>
    <dgm:pt modelId="{7B06F0C3-E2AE-4722-B01B-B77FAA4A5E65}" type="sibTrans" cxnId="{B6976903-7D29-4690-9439-B4E0B7229EB9}">
      <dgm:prSet/>
      <dgm:spPr/>
      <dgm:t>
        <a:bodyPr/>
        <a:lstStyle/>
        <a:p>
          <a:endParaRPr lang="en-US" sz="1700">
            <a:latin typeface=" century gothic"/>
          </a:endParaRPr>
        </a:p>
      </dgm:t>
    </dgm:pt>
    <dgm:pt modelId="{7FA7C89F-85FF-496A-95DE-5DBA7B407150}">
      <dgm:prSet phldrT="[Text]" custT="1"/>
      <dgm:spPr/>
      <dgm:t>
        <a:bodyPr/>
        <a:lstStyle/>
        <a:p>
          <a:r>
            <a:rPr lang="en-US" sz="1500" dirty="0">
              <a:latin typeface=" century gothic"/>
            </a:rPr>
            <a:t>Reliance on bilateral agreements increases operational complexity and costs, restricting scalability for smaller players. Promoting open collaboration among telcos, banks, and non-banks can improve efficiency and broaden market reach.</a:t>
          </a:r>
        </a:p>
      </dgm:t>
    </dgm:pt>
    <dgm:pt modelId="{7EDA7F28-21D0-4119-A18D-69D55E13EBD6}" type="parTrans" cxnId="{B9308AC8-293F-4DEC-8425-65ABCFE5D52A}">
      <dgm:prSet/>
      <dgm:spPr/>
      <dgm:t>
        <a:bodyPr/>
        <a:lstStyle/>
        <a:p>
          <a:endParaRPr lang="en-US" sz="1700">
            <a:latin typeface=" century gothic"/>
          </a:endParaRPr>
        </a:p>
      </dgm:t>
    </dgm:pt>
    <dgm:pt modelId="{F447717A-388E-4AFB-B349-9EE4E722476E}" type="sibTrans" cxnId="{B9308AC8-293F-4DEC-8425-65ABCFE5D52A}">
      <dgm:prSet/>
      <dgm:spPr/>
      <dgm:t>
        <a:bodyPr/>
        <a:lstStyle/>
        <a:p>
          <a:endParaRPr lang="en-US" sz="1700">
            <a:latin typeface=" century gothic"/>
          </a:endParaRPr>
        </a:p>
      </dgm:t>
    </dgm:pt>
    <dgm:pt modelId="{6EDDBD2D-5574-419B-83B3-4C7C228AF0C1}">
      <dgm:prSet phldrT="[Text]" custT="1"/>
      <dgm:spPr>
        <a:solidFill>
          <a:schemeClr val="bg1">
            <a:lumMod val="85000"/>
          </a:schemeClr>
        </a:solidFill>
      </dgm:spPr>
      <dgm:t>
        <a:bodyPr/>
        <a:lstStyle/>
        <a:p>
          <a:pPr algn="l"/>
          <a:r>
            <a:rPr lang="en-US" sz="1700" dirty="0">
              <a:latin typeface=" century gothic"/>
            </a:rPr>
            <a:t>Technical</a:t>
          </a:r>
          <a:r>
            <a:rPr lang="en-US" sz="1500" dirty="0">
              <a:latin typeface=" century gothic"/>
            </a:rPr>
            <a:t> Incompatibility  </a:t>
          </a:r>
        </a:p>
      </dgm:t>
    </dgm:pt>
    <dgm:pt modelId="{FC124838-427B-4283-9C11-3C8BB68D9043}" type="parTrans" cxnId="{E7030677-AEE5-44E2-B7BB-5531A1A3F40B}">
      <dgm:prSet/>
      <dgm:spPr/>
      <dgm:t>
        <a:bodyPr/>
        <a:lstStyle/>
        <a:p>
          <a:endParaRPr lang="en-US"/>
        </a:p>
      </dgm:t>
    </dgm:pt>
    <dgm:pt modelId="{9F4B50E8-5BE3-4E64-9ED3-B432E4A3D9EF}" type="sibTrans" cxnId="{E7030677-AEE5-44E2-B7BB-5531A1A3F40B}">
      <dgm:prSet/>
      <dgm:spPr/>
      <dgm:t>
        <a:bodyPr/>
        <a:lstStyle/>
        <a:p>
          <a:endParaRPr lang="en-US"/>
        </a:p>
      </dgm:t>
    </dgm:pt>
    <dgm:pt modelId="{B8FBC3CF-960C-48BC-B730-B467F679B957}">
      <dgm:prSet phldrT="[Text]" custT="1"/>
      <dgm:spPr/>
      <dgm:t>
        <a:bodyPr/>
        <a:lstStyle/>
        <a:p>
          <a:r>
            <a:rPr lang="en-US" sz="1500" dirty="0">
              <a:latin typeface=" century gothic"/>
            </a:rPr>
            <a:t>Banks, telcos, and </a:t>
          </a:r>
          <a:r>
            <a:rPr lang="en-US" sz="1500" dirty="0" err="1">
              <a:latin typeface=" century gothic"/>
            </a:rPr>
            <a:t>fintechs</a:t>
          </a:r>
          <a:r>
            <a:rPr lang="en-US" sz="1500" dirty="0">
              <a:latin typeface=" century gothic"/>
            </a:rPr>
            <a:t> use different systems, APIs, and security protocols, making integrations costly, time-consuming, and prone to errors. Legacy infrastructure and mismatched processing methods further hinder seamless interoperability.</a:t>
          </a:r>
        </a:p>
      </dgm:t>
    </dgm:pt>
    <dgm:pt modelId="{1556B942-0E99-4547-AC46-87C6598BE7B8}" type="parTrans" cxnId="{73DAE6B6-E8D6-446F-AEF6-2858825CA959}">
      <dgm:prSet/>
      <dgm:spPr/>
      <dgm:t>
        <a:bodyPr/>
        <a:lstStyle/>
        <a:p>
          <a:endParaRPr lang="en-US"/>
        </a:p>
      </dgm:t>
    </dgm:pt>
    <dgm:pt modelId="{F21413A1-11E6-4EA8-92FE-05DFCDD07AB3}" type="sibTrans" cxnId="{73DAE6B6-E8D6-446F-AEF6-2858825CA959}">
      <dgm:prSet/>
      <dgm:spPr/>
      <dgm:t>
        <a:bodyPr/>
        <a:lstStyle/>
        <a:p>
          <a:endParaRPr lang="en-US"/>
        </a:p>
      </dgm:t>
    </dgm:pt>
    <dgm:pt modelId="{007E66D1-0F5B-4142-B4F6-163091E6C52A}" type="pres">
      <dgm:prSet presAssocID="{B8133815-E1E7-4B8A-AD54-27EE4A7A693D}" presName="Name0" presStyleCnt="0">
        <dgm:presLayoutVars>
          <dgm:dir/>
          <dgm:animLvl val="lvl"/>
          <dgm:resizeHandles val="exact"/>
        </dgm:presLayoutVars>
      </dgm:prSet>
      <dgm:spPr/>
    </dgm:pt>
    <dgm:pt modelId="{527CF127-46EC-4D11-8F68-4247F4905588}" type="pres">
      <dgm:prSet presAssocID="{36C177B7-C5A3-4D17-A2A0-A5DDF8E1A32B}" presName="linNode" presStyleCnt="0"/>
      <dgm:spPr/>
    </dgm:pt>
    <dgm:pt modelId="{F738DA05-5A45-47B9-9392-BFACABEEA75E}" type="pres">
      <dgm:prSet presAssocID="{36C177B7-C5A3-4D17-A2A0-A5DDF8E1A32B}" presName="parTx" presStyleLbl="revTx" presStyleIdx="0" presStyleCnt="3" custScaleY="50775">
        <dgm:presLayoutVars>
          <dgm:chMax val="1"/>
          <dgm:bulletEnabled val="1"/>
        </dgm:presLayoutVars>
      </dgm:prSet>
      <dgm:spPr/>
    </dgm:pt>
    <dgm:pt modelId="{E2617D03-4ADC-433A-994B-F4610974EFDF}" type="pres">
      <dgm:prSet presAssocID="{36C177B7-C5A3-4D17-A2A0-A5DDF8E1A32B}" presName="bracket" presStyleLbl="parChTrans1D1" presStyleIdx="0" presStyleCnt="3"/>
      <dgm:spPr/>
    </dgm:pt>
    <dgm:pt modelId="{E5F67E26-9EA8-4C7D-A356-EF7D104F45AC}" type="pres">
      <dgm:prSet presAssocID="{36C177B7-C5A3-4D17-A2A0-A5DDF8E1A32B}" presName="spH" presStyleCnt="0"/>
      <dgm:spPr/>
    </dgm:pt>
    <dgm:pt modelId="{201E0B9E-9A7C-464D-94C9-B40137654621}" type="pres">
      <dgm:prSet presAssocID="{36C177B7-C5A3-4D17-A2A0-A5DDF8E1A32B}" presName="desTx" presStyleLbl="node1" presStyleIdx="0" presStyleCnt="3" custLinFactNeighborX="22123" custLinFactNeighborY="-2097">
        <dgm:presLayoutVars>
          <dgm:bulletEnabled val="1"/>
        </dgm:presLayoutVars>
      </dgm:prSet>
      <dgm:spPr/>
    </dgm:pt>
    <dgm:pt modelId="{FCD4B9ED-096D-42C2-90C5-B7CC280BE6FF}" type="pres">
      <dgm:prSet presAssocID="{E23BAF7B-A7D2-4C0D-97E9-34F55EB0E848}" presName="spV" presStyleCnt="0"/>
      <dgm:spPr/>
    </dgm:pt>
    <dgm:pt modelId="{D4AF0E85-87FF-40D0-9CE6-634DE2C178C3}" type="pres">
      <dgm:prSet presAssocID="{11F6AE4F-6838-4A00-AABA-4006910CB8C8}" presName="linNode" presStyleCnt="0"/>
      <dgm:spPr/>
    </dgm:pt>
    <dgm:pt modelId="{9A3382EF-0175-46DB-9AAB-2E534E6B2649}" type="pres">
      <dgm:prSet presAssocID="{11F6AE4F-6838-4A00-AABA-4006910CB8C8}" presName="parTx" presStyleLbl="revTx" presStyleIdx="1" presStyleCnt="3" custScaleY="74870">
        <dgm:presLayoutVars>
          <dgm:chMax val="1"/>
          <dgm:bulletEnabled val="1"/>
        </dgm:presLayoutVars>
      </dgm:prSet>
      <dgm:spPr/>
    </dgm:pt>
    <dgm:pt modelId="{0D62C0F7-73C5-48EE-8F08-833FC5A35C2F}" type="pres">
      <dgm:prSet presAssocID="{11F6AE4F-6838-4A00-AABA-4006910CB8C8}" presName="bracket" presStyleLbl="parChTrans1D1" presStyleIdx="1" presStyleCnt="3"/>
      <dgm:spPr/>
    </dgm:pt>
    <dgm:pt modelId="{59B150FF-0CB4-4E88-92AD-8B805F37E3D5}" type="pres">
      <dgm:prSet presAssocID="{11F6AE4F-6838-4A00-AABA-4006910CB8C8}" presName="spH" presStyleCnt="0"/>
      <dgm:spPr/>
    </dgm:pt>
    <dgm:pt modelId="{7BE146DA-ACC1-4AB8-B2D9-F86CEDCCA2B4}" type="pres">
      <dgm:prSet presAssocID="{11F6AE4F-6838-4A00-AABA-4006910CB8C8}" presName="desTx" presStyleLbl="node1" presStyleIdx="1" presStyleCnt="3">
        <dgm:presLayoutVars>
          <dgm:bulletEnabled val="1"/>
        </dgm:presLayoutVars>
      </dgm:prSet>
      <dgm:spPr/>
    </dgm:pt>
    <dgm:pt modelId="{B67CF2D0-567E-4679-9563-973335BF1442}" type="pres">
      <dgm:prSet presAssocID="{7B06F0C3-E2AE-4722-B01B-B77FAA4A5E65}" presName="spV" presStyleCnt="0"/>
      <dgm:spPr/>
    </dgm:pt>
    <dgm:pt modelId="{E6FB479E-A464-42EE-8280-2BE057F147F3}" type="pres">
      <dgm:prSet presAssocID="{6EDDBD2D-5574-419B-83B3-4C7C228AF0C1}" presName="linNode" presStyleCnt="0"/>
      <dgm:spPr/>
    </dgm:pt>
    <dgm:pt modelId="{085EEFDE-ADB2-40BE-B042-B0AE60A726E3}" type="pres">
      <dgm:prSet presAssocID="{6EDDBD2D-5574-419B-83B3-4C7C228AF0C1}" presName="parTx" presStyleLbl="revTx" presStyleIdx="2" presStyleCnt="3" custScaleY="64182">
        <dgm:presLayoutVars>
          <dgm:chMax val="1"/>
          <dgm:bulletEnabled val="1"/>
        </dgm:presLayoutVars>
      </dgm:prSet>
      <dgm:spPr/>
    </dgm:pt>
    <dgm:pt modelId="{7DF49B65-FC36-4471-977D-A0C35EBDD13F}" type="pres">
      <dgm:prSet presAssocID="{6EDDBD2D-5574-419B-83B3-4C7C228AF0C1}" presName="bracket" presStyleLbl="parChTrans1D1" presStyleIdx="2" presStyleCnt="3"/>
      <dgm:spPr/>
    </dgm:pt>
    <dgm:pt modelId="{6361FDDE-A4EB-48BC-BD9C-77BA422950F9}" type="pres">
      <dgm:prSet presAssocID="{6EDDBD2D-5574-419B-83B3-4C7C228AF0C1}" presName="spH" presStyleCnt="0"/>
      <dgm:spPr/>
    </dgm:pt>
    <dgm:pt modelId="{BD342B2E-8388-44E6-88F4-E8112B74D6D9}" type="pres">
      <dgm:prSet presAssocID="{6EDDBD2D-5574-419B-83B3-4C7C228AF0C1}" presName="desTx" presStyleLbl="node1" presStyleIdx="2" presStyleCnt="3">
        <dgm:presLayoutVars>
          <dgm:bulletEnabled val="1"/>
        </dgm:presLayoutVars>
      </dgm:prSet>
      <dgm:spPr/>
    </dgm:pt>
  </dgm:ptLst>
  <dgm:cxnLst>
    <dgm:cxn modelId="{B6976903-7D29-4690-9439-B4E0B7229EB9}" srcId="{B8133815-E1E7-4B8A-AD54-27EE4A7A693D}" destId="{11F6AE4F-6838-4A00-AABA-4006910CB8C8}" srcOrd="1" destOrd="0" parTransId="{92510B92-4065-4F8F-931C-D873AB15BD37}" sibTransId="{7B06F0C3-E2AE-4722-B01B-B77FAA4A5E65}"/>
    <dgm:cxn modelId="{EB97ED28-93B2-4389-A76C-45188B30F7BC}" type="presOf" srcId="{11F6AE4F-6838-4A00-AABA-4006910CB8C8}" destId="{9A3382EF-0175-46DB-9AAB-2E534E6B2649}" srcOrd="0" destOrd="0" presId="urn:diagrams.loki3.com/BracketList"/>
    <dgm:cxn modelId="{4FA5CC40-1E49-4B04-B1C8-5A06149B30AF}" srcId="{B8133815-E1E7-4B8A-AD54-27EE4A7A693D}" destId="{36C177B7-C5A3-4D17-A2A0-A5DDF8E1A32B}" srcOrd="0" destOrd="0" parTransId="{0E27E1E9-723C-4A9C-863A-79BEDBBC4260}" sibTransId="{E23BAF7B-A7D2-4C0D-97E9-34F55EB0E848}"/>
    <dgm:cxn modelId="{7D3EC05F-FC62-4801-864F-36258F07F50A}" srcId="{36C177B7-C5A3-4D17-A2A0-A5DDF8E1A32B}" destId="{524F6F0F-2904-462D-A48E-A95F7CF6AEE8}" srcOrd="0" destOrd="0" parTransId="{23A4E758-BF4F-4DD7-BB99-C34B2D09D98D}" sibTransId="{6BAE4398-470E-46E3-821E-D072DF723BAE}"/>
    <dgm:cxn modelId="{D2608044-7DE0-428C-9175-D8B0810EA7EB}" type="presOf" srcId="{36C177B7-C5A3-4D17-A2A0-A5DDF8E1A32B}" destId="{F738DA05-5A45-47B9-9392-BFACABEEA75E}" srcOrd="0" destOrd="0" presId="urn:diagrams.loki3.com/BracketList"/>
    <dgm:cxn modelId="{E7030677-AEE5-44E2-B7BB-5531A1A3F40B}" srcId="{B8133815-E1E7-4B8A-AD54-27EE4A7A693D}" destId="{6EDDBD2D-5574-419B-83B3-4C7C228AF0C1}" srcOrd="2" destOrd="0" parTransId="{FC124838-427B-4283-9C11-3C8BB68D9043}" sibTransId="{9F4B50E8-5BE3-4E64-9ED3-B432E4A3D9EF}"/>
    <dgm:cxn modelId="{8992B786-0FB2-43AF-A27F-F58CCAF9AF97}" type="presOf" srcId="{B8FBC3CF-960C-48BC-B730-B467F679B957}" destId="{BD342B2E-8388-44E6-88F4-E8112B74D6D9}" srcOrd="0" destOrd="0" presId="urn:diagrams.loki3.com/BracketList"/>
    <dgm:cxn modelId="{0CDB9A95-9962-4B5F-BF09-4700ED665F6E}" type="presOf" srcId="{524F6F0F-2904-462D-A48E-A95F7CF6AEE8}" destId="{201E0B9E-9A7C-464D-94C9-B40137654621}" srcOrd="0" destOrd="0" presId="urn:diagrams.loki3.com/BracketList"/>
    <dgm:cxn modelId="{4007DA9C-8E94-4BE9-A913-6F02883E8D4F}" type="presOf" srcId="{6EDDBD2D-5574-419B-83B3-4C7C228AF0C1}" destId="{085EEFDE-ADB2-40BE-B042-B0AE60A726E3}" srcOrd="0" destOrd="0" presId="urn:diagrams.loki3.com/BracketList"/>
    <dgm:cxn modelId="{1D527FB3-4C02-4F4E-B461-040C8D670AA3}" type="presOf" srcId="{B8133815-E1E7-4B8A-AD54-27EE4A7A693D}" destId="{007E66D1-0F5B-4142-B4F6-163091E6C52A}" srcOrd="0" destOrd="0" presId="urn:diagrams.loki3.com/BracketList"/>
    <dgm:cxn modelId="{73DAE6B6-E8D6-446F-AEF6-2858825CA959}" srcId="{6EDDBD2D-5574-419B-83B3-4C7C228AF0C1}" destId="{B8FBC3CF-960C-48BC-B730-B467F679B957}" srcOrd="0" destOrd="0" parTransId="{1556B942-0E99-4547-AC46-87C6598BE7B8}" sibTransId="{F21413A1-11E6-4EA8-92FE-05DFCDD07AB3}"/>
    <dgm:cxn modelId="{B9308AC8-293F-4DEC-8425-65ABCFE5D52A}" srcId="{11F6AE4F-6838-4A00-AABA-4006910CB8C8}" destId="{7FA7C89F-85FF-496A-95DE-5DBA7B407150}" srcOrd="0" destOrd="0" parTransId="{7EDA7F28-21D0-4119-A18D-69D55E13EBD6}" sibTransId="{F447717A-388E-4AFB-B349-9EE4E722476E}"/>
    <dgm:cxn modelId="{6EF2D6DD-5970-4176-99CB-DEADF09A69BA}" type="presOf" srcId="{7FA7C89F-85FF-496A-95DE-5DBA7B407150}" destId="{7BE146DA-ACC1-4AB8-B2D9-F86CEDCCA2B4}" srcOrd="0" destOrd="0" presId="urn:diagrams.loki3.com/BracketList"/>
    <dgm:cxn modelId="{6D2A9236-A132-4C39-B887-6C7401F560BE}" type="presParOf" srcId="{007E66D1-0F5B-4142-B4F6-163091E6C52A}" destId="{527CF127-46EC-4D11-8F68-4247F4905588}" srcOrd="0" destOrd="0" presId="urn:diagrams.loki3.com/BracketList"/>
    <dgm:cxn modelId="{FAB2DBFD-17CB-4CFF-BF2C-0961C1961CA3}" type="presParOf" srcId="{527CF127-46EC-4D11-8F68-4247F4905588}" destId="{F738DA05-5A45-47B9-9392-BFACABEEA75E}" srcOrd="0" destOrd="0" presId="urn:diagrams.loki3.com/BracketList"/>
    <dgm:cxn modelId="{F6CFE5D9-5D36-4D26-84A4-4A75ABAC4028}" type="presParOf" srcId="{527CF127-46EC-4D11-8F68-4247F4905588}" destId="{E2617D03-4ADC-433A-994B-F4610974EFDF}" srcOrd="1" destOrd="0" presId="urn:diagrams.loki3.com/BracketList"/>
    <dgm:cxn modelId="{99560EC0-23DF-4602-A745-9C78560276BC}" type="presParOf" srcId="{527CF127-46EC-4D11-8F68-4247F4905588}" destId="{E5F67E26-9EA8-4C7D-A356-EF7D104F45AC}" srcOrd="2" destOrd="0" presId="urn:diagrams.loki3.com/BracketList"/>
    <dgm:cxn modelId="{DCD7DC54-CB20-4C12-A58B-D3F8D4E224AC}" type="presParOf" srcId="{527CF127-46EC-4D11-8F68-4247F4905588}" destId="{201E0B9E-9A7C-464D-94C9-B40137654621}" srcOrd="3" destOrd="0" presId="urn:diagrams.loki3.com/BracketList"/>
    <dgm:cxn modelId="{3627356C-5FF8-46CE-8C80-67E2184487FE}" type="presParOf" srcId="{007E66D1-0F5B-4142-B4F6-163091E6C52A}" destId="{FCD4B9ED-096D-42C2-90C5-B7CC280BE6FF}" srcOrd="1" destOrd="0" presId="urn:diagrams.loki3.com/BracketList"/>
    <dgm:cxn modelId="{C0EF4920-07CC-40A7-B13A-CDBADC57A12D}" type="presParOf" srcId="{007E66D1-0F5B-4142-B4F6-163091E6C52A}" destId="{D4AF0E85-87FF-40D0-9CE6-634DE2C178C3}" srcOrd="2" destOrd="0" presId="urn:diagrams.loki3.com/BracketList"/>
    <dgm:cxn modelId="{A6A8A2D9-27DB-47A5-A723-8609220977CF}" type="presParOf" srcId="{D4AF0E85-87FF-40D0-9CE6-634DE2C178C3}" destId="{9A3382EF-0175-46DB-9AAB-2E534E6B2649}" srcOrd="0" destOrd="0" presId="urn:diagrams.loki3.com/BracketList"/>
    <dgm:cxn modelId="{3E2315B4-9C23-44BB-AE69-6029F7E47B31}" type="presParOf" srcId="{D4AF0E85-87FF-40D0-9CE6-634DE2C178C3}" destId="{0D62C0F7-73C5-48EE-8F08-833FC5A35C2F}" srcOrd="1" destOrd="0" presId="urn:diagrams.loki3.com/BracketList"/>
    <dgm:cxn modelId="{F871C16D-0A38-4EE2-9DE6-91B8C6BCE7CD}" type="presParOf" srcId="{D4AF0E85-87FF-40D0-9CE6-634DE2C178C3}" destId="{59B150FF-0CB4-4E88-92AD-8B805F37E3D5}" srcOrd="2" destOrd="0" presId="urn:diagrams.loki3.com/BracketList"/>
    <dgm:cxn modelId="{6F642984-D4CE-4E00-A74C-B10FA0E20B72}" type="presParOf" srcId="{D4AF0E85-87FF-40D0-9CE6-634DE2C178C3}" destId="{7BE146DA-ACC1-4AB8-B2D9-F86CEDCCA2B4}" srcOrd="3" destOrd="0" presId="urn:diagrams.loki3.com/BracketList"/>
    <dgm:cxn modelId="{31C035A8-5773-4BC1-94A1-1B39F7899002}" type="presParOf" srcId="{007E66D1-0F5B-4142-B4F6-163091E6C52A}" destId="{B67CF2D0-567E-4679-9563-973335BF1442}" srcOrd="3" destOrd="0" presId="urn:diagrams.loki3.com/BracketList"/>
    <dgm:cxn modelId="{3712DDAF-FFCB-44C6-A550-6A69AE4C35DF}" type="presParOf" srcId="{007E66D1-0F5B-4142-B4F6-163091E6C52A}" destId="{E6FB479E-A464-42EE-8280-2BE057F147F3}" srcOrd="4" destOrd="0" presId="urn:diagrams.loki3.com/BracketList"/>
    <dgm:cxn modelId="{8A9C8969-80BE-43D6-B083-FBC117EEF5C7}" type="presParOf" srcId="{E6FB479E-A464-42EE-8280-2BE057F147F3}" destId="{085EEFDE-ADB2-40BE-B042-B0AE60A726E3}" srcOrd="0" destOrd="0" presId="urn:diagrams.loki3.com/BracketList"/>
    <dgm:cxn modelId="{77E99D7D-77F4-4F57-9A09-C269CAE42CA0}" type="presParOf" srcId="{E6FB479E-A464-42EE-8280-2BE057F147F3}" destId="{7DF49B65-FC36-4471-977D-A0C35EBDD13F}" srcOrd="1" destOrd="0" presId="urn:diagrams.loki3.com/BracketList"/>
    <dgm:cxn modelId="{D32F3E0C-F32C-4337-B230-ACFFCBCEBF2A}" type="presParOf" srcId="{E6FB479E-A464-42EE-8280-2BE057F147F3}" destId="{6361FDDE-A4EB-48BC-BD9C-77BA422950F9}" srcOrd="2" destOrd="0" presId="urn:diagrams.loki3.com/BracketList"/>
    <dgm:cxn modelId="{4974C548-BA00-4B6F-BE86-615BAF2C9F78}" type="presParOf" srcId="{E6FB479E-A464-42EE-8280-2BE057F147F3}" destId="{BD342B2E-8388-44E6-88F4-E8112B74D6D9}" srcOrd="3" destOrd="0" presId="urn:diagrams.loki3.com/Bracke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C9CB3A9-CC1B-F449-A13A-D8536B7B454C}" type="doc">
      <dgm:prSet loTypeId="urn:microsoft.com/office/officeart/2005/8/layout/cycle7" loCatId="" qsTypeId="urn:microsoft.com/office/officeart/2005/8/quickstyle/simple1" qsCatId="simple" csTypeId="urn:microsoft.com/office/officeart/2005/8/colors/accent1_2" csCatId="accent1" phldr="1"/>
      <dgm:spPr/>
      <dgm:t>
        <a:bodyPr/>
        <a:lstStyle/>
        <a:p>
          <a:endParaRPr lang="en-GB"/>
        </a:p>
      </dgm:t>
    </dgm:pt>
    <dgm:pt modelId="{6249F512-8956-C84C-8B13-FC989987A397}">
      <dgm:prSet phldrT="[Text]" custT="1"/>
      <dgm:spPr>
        <a:solidFill>
          <a:schemeClr val="accent1"/>
        </a:solidFill>
      </dgm:spPr>
      <dgm:t>
        <a:bodyPr/>
        <a:lstStyle/>
        <a:p>
          <a:r>
            <a:rPr lang="en-GB" sz="1050" dirty="0">
              <a:latin typeface="Century Gothic" panose="020B0502020202020204" pitchFamily="34" charset="0"/>
            </a:rPr>
            <a:t>High cost of low-value retail payments </a:t>
          </a:r>
        </a:p>
      </dgm:t>
    </dgm:pt>
    <dgm:pt modelId="{C22FACC8-648E-E344-9618-BF8C58C81184}" type="parTrans" cxnId="{E5E7C059-1330-9C47-AC3F-AA75B3520C79}">
      <dgm:prSet/>
      <dgm:spPr/>
      <dgm:t>
        <a:bodyPr/>
        <a:lstStyle/>
        <a:p>
          <a:endParaRPr lang="en-GB" sz="1100">
            <a:latin typeface="Century Gothic" panose="020B0502020202020204" pitchFamily="34" charset="0"/>
          </a:endParaRPr>
        </a:p>
      </dgm:t>
    </dgm:pt>
    <dgm:pt modelId="{3B227A80-ECC8-8146-BB63-6CE8BD451160}" type="sibTrans" cxnId="{E5E7C059-1330-9C47-AC3F-AA75B3520C79}">
      <dgm:prSet custT="1"/>
      <dgm:spPr>
        <a:solidFill>
          <a:schemeClr val="tx1"/>
        </a:solidFill>
      </dgm:spPr>
      <dgm:t>
        <a:bodyPr/>
        <a:lstStyle/>
        <a:p>
          <a:endParaRPr lang="en-GB" sz="1100">
            <a:latin typeface="Century Gothic" panose="020B0502020202020204" pitchFamily="34" charset="0"/>
          </a:endParaRPr>
        </a:p>
      </dgm:t>
    </dgm:pt>
    <dgm:pt modelId="{FB54BE4B-37D8-1745-8925-439F2CA363F3}">
      <dgm:prSet phldrT="[Text]" custT="1"/>
      <dgm:spPr/>
      <dgm:t>
        <a:bodyPr/>
        <a:lstStyle/>
        <a:p>
          <a:r>
            <a:rPr lang="en-GB" sz="1050" dirty="0">
              <a:latin typeface="Century Gothic" panose="020B0502020202020204" pitchFamily="34" charset="0"/>
            </a:rPr>
            <a:t>Inefficiency, constrained oversight, stability challenges </a:t>
          </a:r>
        </a:p>
      </dgm:t>
    </dgm:pt>
    <dgm:pt modelId="{CC01E7D1-B4DE-CB40-B12A-D6A1FC181C0A}" type="parTrans" cxnId="{2B0331A0-7E10-4747-86D5-9302272BEF8C}">
      <dgm:prSet/>
      <dgm:spPr/>
      <dgm:t>
        <a:bodyPr/>
        <a:lstStyle/>
        <a:p>
          <a:endParaRPr lang="en-GB" sz="1100">
            <a:latin typeface="Century Gothic" panose="020B0502020202020204" pitchFamily="34" charset="0"/>
          </a:endParaRPr>
        </a:p>
      </dgm:t>
    </dgm:pt>
    <dgm:pt modelId="{BD76AE6C-C0B1-EB45-85C1-28AFEC1728AE}" type="sibTrans" cxnId="{2B0331A0-7E10-4747-86D5-9302272BEF8C}">
      <dgm:prSet custT="1"/>
      <dgm:spPr>
        <a:solidFill>
          <a:schemeClr val="tx1"/>
        </a:solidFill>
      </dgm:spPr>
      <dgm:t>
        <a:bodyPr/>
        <a:lstStyle/>
        <a:p>
          <a:endParaRPr lang="en-GB" sz="1100">
            <a:latin typeface="Century Gothic" panose="020B0502020202020204" pitchFamily="34" charset="0"/>
          </a:endParaRPr>
        </a:p>
      </dgm:t>
    </dgm:pt>
    <dgm:pt modelId="{F26DE7FD-BC8C-2640-83BF-BDF82EF51340}">
      <dgm:prSet phldrT="[Text]" custT="1"/>
      <dgm:spPr>
        <a:solidFill>
          <a:schemeClr val="accent2">
            <a:lumMod val="60000"/>
            <a:lumOff val="40000"/>
          </a:schemeClr>
        </a:solidFill>
      </dgm:spPr>
      <dgm:t>
        <a:bodyPr/>
        <a:lstStyle/>
        <a:p>
          <a:r>
            <a:rPr lang="en-GB" sz="1050" dirty="0">
              <a:latin typeface="Century Gothic" panose="020B0502020202020204" pitchFamily="34" charset="0"/>
            </a:rPr>
            <a:t>Cumbersome customer experience, friction in off-net payment transactions</a:t>
          </a:r>
        </a:p>
      </dgm:t>
    </dgm:pt>
    <dgm:pt modelId="{30F354AE-E602-744A-A9DF-262AD7995E6A}" type="parTrans" cxnId="{69FAE6D7-FA21-314C-B501-9BA8D5DEA240}">
      <dgm:prSet/>
      <dgm:spPr/>
      <dgm:t>
        <a:bodyPr/>
        <a:lstStyle/>
        <a:p>
          <a:endParaRPr lang="en-GB" sz="1100">
            <a:latin typeface="Century Gothic" panose="020B0502020202020204" pitchFamily="34" charset="0"/>
          </a:endParaRPr>
        </a:p>
      </dgm:t>
    </dgm:pt>
    <dgm:pt modelId="{7C82508F-EE93-DB49-BD79-E3E8E467AF4D}" type="sibTrans" cxnId="{69FAE6D7-FA21-314C-B501-9BA8D5DEA240}">
      <dgm:prSet custT="1"/>
      <dgm:spPr>
        <a:solidFill>
          <a:schemeClr val="tx1"/>
        </a:solidFill>
      </dgm:spPr>
      <dgm:t>
        <a:bodyPr/>
        <a:lstStyle/>
        <a:p>
          <a:endParaRPr lang="en-GB" sz="1100">
            <a:latin typeface="Century Gothic" panose="020B0502020202020204" pitchFamily="34" charset="0"/>
          </a:endParaRPr>
        </a:p>
      </dgm:t>
    </dgm:pt>
    <dgm:pt modelId="{A054F5E8-44A4-254D-9705-AC31AD2FB7DD}">
      <dgm:prSet custT="1"/>
      <dgm:spPr>
        <a:solidFill>
          <a:schemeClr val="accent2">
            <a:lumMod val="60000"/>
            <a:lumOff val="40000"/>
          </a:schemeClr>
        </a:solidFill>
      </dgm:spPr>
      <dgm:t>
        <a:bodyPr/>
        <a:lstStyle/>
        <a:p>
          <a:r>
            <a:rPr lang="en-GB" sz="1050" dirty="0">
              <a:latin typeface="Century Gothic" panose="020B0502020202020204" pitchFamily="34" charset="0"/>
            </a:rPr>
            <a:t>Exclusion – institutions that must participate in NPS through PSPs or banks</a:t>
          </a:r>
        </a:p>
      </dgm:t>
    </dgm:pt>
    <dgm:pt modelId="{895184A5-B1D9-5741-903B-7CD12637B2DD}" type="parTrans" cxnId="{6084698B-0432-2944-946E-E78FC539E6E4}">
      <dgm:prSet/>
      <dgm:spPr/>
      <dgm:t>
        <a:bodyPr/>
        <a:lstStyle/>
        <a:p>
          <a:endParaRPr lang="en-GB" sz="1100">
            <a:latin typeface="Century Gothic" panose="020B0502020202020204" pitchFamily="34" charset="0"/>
          </a:endParaRPr>
        </a:p>
      </dgm:t>
    </dgm:pt>
    <dgm:pt modelId="{77B91ADB-44FE-EF49-9270-D6808EC9CDDE}" type="sibTrans" cxnId="{6084698B-0432-2944-946E-E78FC539E6E4}">
      <dgm:prSet custT="1"/>
      <dgm:spPr>
        <a:solidFill>
          <a:schemeClr val="tx1"/>
        </a:solidFill>
      </dgm:spPr>
      <dgm:t>
        <a:bodyPr/>
        <a:lstStyle/>
        <a:p>
          <a:endParaRPr lang="en-GB" sz="1100">
            <a:latin typeface="Century Gothic" panose="020B0502020202020204" pitchFamily="34" charset="0"/>
          </a:endParaRPr>
        </a:p>
      </dgm:t>
    </dgm:pt>
    <dgm:pt modelId="{FA54DCBB-F886-2E4A-A65D-442157085DB8}" type="pres">
      <dgm:prSet presAssocID="{4C9CB3A9-CC1B-F449-A13A-D8536B7B454C}" presName="Name0" presStyleCnt="0">
        <dgm:presLayoutVars>
          <dgm:dir/>
          <dgm:resizeHandles val="exact"/>
        </dgm:presLayoutVars>
      </dgm:prSet>
      <dgm:spPr/>
    </dgm:pt>
    <dgm:pt modelId="{F972CD35-AE14-4244-99CB-89FAFA7E8028}" type="pres">
      <dgm:prSet presAssocID="{6249F512-8956-C84C-8B13-FC989987A397}" presName="node" presStyleLbl="node1" presStyleIdx="0" presStyleCnt="4" custScaleX="133692" custScaleY="56341">
        <dgm:presLayoutVars>
          <dgm:bulletEnabled val="1"/>
        </dgm:presLayoutVars>
      </dgm:prSet>
      <dgm:spPr/>
    </dgm:pt>
    <dgm:pt modelId="{ED119C54-C002-C247-BB87-92CD9976641C}" type="pres">
      <dgm:prSet presAssocID="{3B227A80-ECC8-8146-BB63-6CE8BD451160}" presName="sibTrans" presStyleLbl="sibTrans2D1" presStyleIdx="0" presStyleCnt="4"/>
      <dgm:spPr/>
    </dgm:pt>
    <dgm:pt modelId="{137AF914-2953-3E4B-B539-163D53BBB0ED}" type="pres">
      <dgm:prSet presAssocID="{3B227A80-ECC8-8146-BB63-6CE8BD451160}" presName="connectorText" presStyleLbl="sibTrans2D1" presStyleIdx="0" presStyleCnt="4"/>
      <dgm:spPr/>
    </dgm:pt>
    <dgm:pt modelId="{70F91205-95EE-0345-A34A-022BC3F1BABB}" type="pres">
      <dgm:prSet presAssocID="{A054F5E8-44A4-254D-9705-AC31AD2FB7DD}" presName="node" presStyleLbl="node1" presStyleIdx="1" presStyleCnt="4" custScaleX="144863" custScaleY="91590">
        <dgm:presLayoutVars>
          <dgm:bulletEnabled val="1"/>
        </dgm:presLayoutVars>
      </dgm:prSet>
      <dgm:spPr/>
    </dgm:pt>
    <dgm:pt modelId="{15A0024D-2C3B-6C43-B36F-1634036BBB94}" type="pres">
      <dgm:prSet presAssocID="{77B91ADB-44FE-EF49-9270-D6808EC9CDDE}" presName="sibTrans" presStyleLbl="sibTrans2D1" presStyleIdx="1" presStyleCnt="4"/>
      <dgm:spPr/>
    </dgm:pt>
    <dgm:pt modelId="{B1A6B709-5AFE-8946-AB97-0C95677B3FE4}" type="pres">
      <dgm:prSet presAssocID="{77B91ADB-44FE-EF49-9270-D6808EC9CDDE}" presName="connectorText" presStyleLbl="sibTrans2D1" presStyleIdx="1" presStyleCnt="4"/>
      <dgm:spPr/>
    </dgm:pt>
    <dgm:pt modelId="{37655882-8866-9E43-B24E-68FC5E790904}" type="pres">
      <dgm:prSet presAssocID="{FB54BE4B-37D8-1745-8925-439F2CA363F3}" presName="node" presStyleLbl="node1" presStyleIdx="2" presStyleCnt="4" custScaleX="154767" custScaleY="74462">
        <dgm:presLayoutVars>
          <dgm:bulletEnabled val="1"/>
        </dgm:presLayoutVars>
      </dgm:prSet>
      <dgm:spPr/>
    </dgm:pt>
    <dgm:pt modelId="{E80BE185-B02B-0940-9A37-A63B5DC3D793}" type="pres">
      <dgm:prSet presAssocID="{BD76AE6C-C0B1-EB45-85C1-28AFEC1728AE}" presName="sibTrans" presStyleLbl="sibTrans2D1" presStyleIdx="2" presStyleCnt="4"/>
      <dgm:spPr/>
    </dgm:pt>
    <dgm:pt modelId="{8C167C1C-FE58-B848-ADF5-5C1F310AE7A2}" type="pres">
      <dgm:prSet presAssocID="{BD76AE6C-C0B1-EB45-85C1-28AFEC1728AE}" presName="connectorText" presStyleLbl="sibTrans2D1" presStyleIdx="2" presStyleCnt="4"/>
      <dgm:spPr/>
    </dgm:pt>
    <dgm:pt modelId="{BFC19684-E532-7B46-9729-AFE727595A41}" type="pres">
      <dgm:prSet presAssocID="{F26DE7FD-BC8C-2640-83BF-BDF82EF51340}" presName="node" presStyleLbl="node1" presStyleIdx="3" presStyleCnt="4" custScaleX="144338" custScaleY="96706" custRadScaleRad="82860" custRadScaleInc="-2324">
        <dgm:presLayoutVars>
          <dgm:bulletEnabled val="1"/>
        </dgm:presLayoutVars>
      </dgm:prSet>
      <dgm:spPr/>
    </dgm:pt>
    <dgm:pt modelId="{8973F0C3-DB78-A641-931D-5D892B1CA912}" type="pres">
      <dgm:prSet presAssocID="{7C82508F-EE93-DB49-BD79-E3E8E467AF4D}" presName="sibTrans" presStyleLbl="sibTrans2D1" presStyleIdx="3" presStyleCnt="4"/>
      <dgm:spPr/>
    </dgm:pt>
    <dgm:pt modelId="{47210E2A-2BED-1F4D-BF42-10DC0AE063BD}" type="pres">
      <dgm:prSet presAssocID="{7C82508F-EE93-DB49-BD79-E3E8E467AF4D}" presName="connectorText" presStyleLbl="sibTrans2D1" presStyleIdx="3" presStyleCnt="4"/>
      <dgm:spPr/>
    </dgm:pt>
  </dgm:ptLst>
  <dgm:cxnLst>
    <dgm:cxn modelId="{9078B51F-1998-9C42-A0CF-4D74FA39A7AD}" type="presOf" srcId="{77B91ADB-44FE-EF49-9270-D6808EC9CDDE}" destId="{15A0024D-2C3B-6C43-B36F-1634036BBB94}" srcOrd="0" destOrd="0" presId="urn:microsoft.com/office/officeart/2005/8/layout/cycle7"/>
    <dgm:cxn modelId="{B3FE8025-6A1C-774F-868B-71E0463A1171}" type="presOf" srcId="{A054F5E8-44A4-254D-9705-AC31AD2FB7DD}" destId="{70F91205-95EE-0345-A34A-022BC3F1BABB}" srcOrd="0" destOrd="0" presId="urn:microsoft.com/office/officeart/2005/8/layout/cycle7"/>
    <dgm:cxn modelId="{8AB3FD3F-F061-154B-AB40-9E67391C5378}" type="presOf" srcId="{BD76AE6C-C0B1-EB45-85C1-28AFEC1728AE}" destId="{E80BE185-B02B-0940-9A37-A63B5DC3D793}" srcOrd="0" destOrd="0" presId="urn:microsoft.com/office/officeart/2005/8/layout/cycle7"/>
    <dgm:cxn modelId="{86D20040-9CED-004B-A0F2-51402E3FE496}" type="presOf" srcId="{7C82508F-EE93-DB49-BD79-E3E8E467AF4D}" destId="{47210E2A-2BED-1F4D-BF42-10DC0AE063BD}" srcOrd="1" destOrd="0" presId="urn:microsoft.com/office/officeart/2005/8/layout/cycle7"/>
    <dgm:cxn modelId="{B3D01F66-158A-024B-9087-AEF2A799AABA}" type="presOf" srcId="{FB54BE4B-37D8-1745-8925-439F2CA363F3}" destId="{37655882-8866-9E43-B24E-68FC5E790904}" srcOrd="0" destOrd="0" presId="urn:microsoft.com/office/officeart/2005/8/layout/cycle7"/>
    <dgm:cxn modelId="{E6F2B768-DCA5-B84B-9151-96D6898383DB}" type="presOf" srcId="{F26DE7FD-BC8C-2640-83BF-BDF82EF51340}" destId="{BFC19684-E532-7B46-9729-AFE727595A41}" srcOrd="0" destOrd="0" presId="urn:microsoft.com/office/officeart/2005/8/layout/cycle7"/>
    <dgm:cxn modelId="{6C7E8E69-8659-4046-8628-4292A35965B0}" type="presOf" srcId="{3B227A80-ECC8-8146-BB63-6CE8BD451160}" destId="{137AF914-2953-3E4B-B539-163D53BBB0ED}" srcOrd="1" destOrd="0" presId="urn:microsoft.com/office/officeart/2005/8/layout/cycle7"/>
    <dgm:cxn modelId="{7B317D6A-1637-AD43-BBEA-79DF468C3384}" type="presOf" srcId="{6249F512-8956-C84C-8B13-FC989987A397}" destId="{F972CD35-AE14-4244-99CB-89FAFA7E8028}" srcOrd="0" destOrd="0" presId="urn:microsoft.com/office/officeart/2005/8/layout/cycle7"/>
    <dgm:cxn modelId="{37974F4B-4495-B445-BE2A-95C3D0163A98}" type="presOf" srcId="{77B91ADB-44FE-EF49-9270-D6808EC9CDDE}" destId="{B1A6B709-5AFE-8946-AB97-0C95677B3FE4}" srcOrd="1" destOrd="0" presId="urn:microsoft.com/office/officeart/2005/8/layout/cycle7"/>
    <dgm:cxn modelId="{E5E7C059-1330-9C47-AC3F-AA75B3520C79}" srcId="{4C9CB3A9-CC1B-F449-A13A-D8536B7B454C}" destId="{6249F512-8956-C84C-8B13-FC989987A397}" srcOrd="0" destOrd="0" parTransId="{C22FACC8-648E-E344-9618-BF8C58C81184}" sibTransId="{3B227A80-ECC8-8146-BB63-6CE8BD451160}"/>
    <dgm:cxn modelId="{6084698B-0432-2944-946E-E78FC539E6E4}" srcId="{4C9CB3A9-CC1B-F449-A13A-D8536B7B454C}" destId="{A054F5E8-44A4-254D-9705-AC31AD2FB7DD}" srcOrd="1" destOrd="0" parTransId="{895184A5-B1D9-5741-903B-7CD12637B2DD}" sibTransId="{77B91ADB-44FE-EF49-9270-D6808EC9CDDE}"/>
    <dgm:cxn modelId="{76271396-F4A8-1A44-BA29-0E90A98F5721}" type="presOf" srcId="{BD76AE6C-C0B1-EB45-85C1-28AFEC1728AE}" destId="{8C167C1C-FE58-B848-ADF5-5C1F310AE7A2}" srcOrd="1" destOrd="0" presId="urn:microsoft.com/office/officeart/2005/8/layout/cycle7"/>
    <dgm:cxn modelId="{2B0331A0-7E10-4747-86D5-9302272BEF8C}" srcId="{4C9CB3A9-CC1B-F449-A13A-D8536B7B454C}" destId="{FB54BE4B-37D8-1745-8925-439F2CA363F3}" srcOrd="2" destOrd="0" parTransId="{CC01E7D1-B4DE-CB40-B12A-D6A1FC181C0A}" sibTransId="{BD76AE6C-C0B1-EB45-85C1-28AFEC1728AE}"/>
    <dgm:cxn modelId="{69FAE6D7-FA21-314C-B501-9BA8D5DEA240}" srcId="{4C9CB3A9-CC1B-F449-A13A-D8536B7B454C}" destId="{F26DE7FD-BC8C-2640-83BF-BDF82EF51340}" srcOrd="3" destOrd="0" parTransId="{30F354AE-E602-744A-A9DF-262AD7995E6A}" sibTransId="{7C82508F-EE93-DB49-BD79-E3E8E467AF4D}"/>
    <dgm:cxn modelId="{9DD63EE4-2319-D949-990B-5F6B91749869}" type="presOf" srcId="{4C9CB3A9-CC1B-F449-A13A-D8536B7B454C}" destId="{FA54DCBB-F886-2E4A-A65D-442157085DB8}" srcOrd="0" destOrd="0" presId="urn:microsoft.com/office/officeart/2005/8/layout/cycle7"/>
    <dgm:cxn modelId="{4E31D9E5-B993-974D-B004-8B82C8F212EE}" type="presOf" srcId="{7C82508F-EE93-DB49-BD79-E3E8E467AF4D}" destId="{8973F0C3-DB78-A641-931D-5D892B1CA912}" srcOrd="0" destOrd="0" presId="urn:microsoft.com/office/officeart/2005/8/layout/cycle7"/>
    <dgm:cxn modelId="{7C6047FD-AB14-0445-8BE4-7532789870F4}" type="presOf" srcId="{3B227A80-ECC8-8146-BB63-6CE8BD451160}" destId="{ED119C54-C002-C247-BB87-92CD9976641C}" srcOrd="0" destOrd="0" presId="urn:microsoft.com/office/officeart/2005/8/layout/cycle7"/>
    <dgm:cxn modelId="{722E7680-FA0F-EE46-A5A8-3358176AA873}" type="presParOf" srcId="{FA54DCBB-F886-2E4A-A65D-442157085DB8}" destId="{F972CD35-AE14-4244-99CB-89FAFA7E8028}" srcOrd="0" destOrd="0" presId="urn:microsoft.com/office/officeart/2005/8/layout/cycle7"/>
    <dgm:cxn modelId="{5F4AB946-64F0-5247-81B1-B9FAB50A89CA}" type="presParOf" srcId="{FA54DCBB-F886-2E4A-A65D-442157085DB8}" destId="{ED119C54-C002-C247-BB87-92CD9976641C}" srcOrd="1" destOrd="0" presId="urn:microsoft.com/office/officeart/2005/8/layout/cycle7"/>
    <dgm:cxn modelId="{3BC3C8CA-F7B8-204D-A85D-F47CC04E3001}" type="presParOf" srcId="{ED119C54-C002-C247-BB87-92CD9976641C}" destId="{137AF914-2953-3E4B-B539-163D53BBB0ED}" srcOrd="0" destOrd="0" presId="urn:microsoft.com/office/officeart/2005/8/layout/cycle7"/>
    <dgm:cxn modelId="{37A986AF-6C97-6F4F-8696-ED31D5D7DD2E}" type="presParOf" srcId="{FA54DCBB-F886-2E4A-A65D-442157085DB8}" destId="{70F91205-95EE-0345-A34A-022BC3F1BABB}" srcOrd="2" destOrd="0" presId="urn:microsoft.com/office/officeart/2005/8/layout/cycle7"/>
    <dgm:cxn modelId="{D1BBB2CD-8284-EF42-A671-4B46CD4E5E33}" type="presParOf" srcId="{FA54DCBB-F886-2E4A-A65D-442157085DB8}" destId="{15A0024D-2C3B-6C43-B36F-1634036BBB94}" srcOrd="3" destOrd="0" presId="urn:microsoft.com/office/officeart/2005/8/layout/cycle7"/>
    <dgm:cxn modelId="{A63B65F4-6744-714B-836D-BAD1FA2302DB}" type="presParOf" srcId="{15A0024D-2C3B-6C43-B36F-1634036BBB94}" destId="{B1A6B709-5AFE-8946-AB97-0C95677B3FE4}" srcOrd="0" destOrd="0" presId="urn:microsoft.com/office/officeart/2005/8/layout/cycle7"/>
    <dgm:cxn modelId="{5D2E8BB1-F45A-7C4A-B8E8-51F32B7EE59D}" type="presParOf" srcId="{FA54DCBB-F886-2E4A-A65D-442157085DB8}" destId="{37655882-8866-9E43-B24E-68FC5E790904}" srcOrd="4" destOrd="0" presId="urn:microsoft.com/office/officeart/2005/8/layout/cycle7"/>
    <dgm:cxn modelId="{09B72412-88C3-0546-BCC7-3AB3F113C643}" type="presParOf" srcId="{FA54DCBB-F886-2E4A-A65D-442157085DB8}" destId="{E80BE185-B02B-0940-9A37-A63B5DC3D793}" srcOrd="5" destOrd="0" presId="urn:microsoft.com/office/officeart/2005/8/layout/cycle7"/>
    <dgm:cxn modelId="{C152E289-B3B1-2A46-8D03-855F62C94D60}" type="presParOf" srcId="{E80BE185-B02B-0940-9A37-A63B5DC3D793}" destId="{8C167C1C-FE58-B848-ADF5-5C1F310AE7A2}" srcOrd="0" destOrd="0" presId="urn:microsoft.com/office/officeart/2005/8/layout/cycle7"/>
    <dgm:cxn modelId="{44B23081-11E1-CB40-961F-2E8EB9C34D2A}" type="presParOf" srcId="{FA54DCBB-F886-2E4A-A65D-442157085DB8}" destId="{BFC19684-E532-7B46-9729-AFE727595A41}" srcOrd="6" destOrd="0" presId="urn:microsoft.com/office/officeart/2005/8/layout/cycle7"/>
    <dgm:cxn modelId="{604BAF52-54F9-3A47-AF03-B7583DA2FA7F}" type="presParOf" srcId="{FA54DCBB-F886-2E4A-A65D-442157085DB8}" destId="{8973F0C3-DB78-A641-931D-5D892B1CA912}" srcOrd="7" destOrd="0" presId="urn:microsoft.com/office/officeart/2005/8/layout/cycle7"/>
    <dgm:cxn modelId="{43E3045C-770B-034C-83B2-5F249CF9251F}" type="presParOf" srcId="{8973F0C3-DB78-A641-931D-5D892B1CA912}" destId="{47210E2A-2BED-1F4D-BF42-10DC0AE063BD}" srcOrd="0" destOrd="0" presId="urn:microsoft.com/office/officeart/2005/8/layout/cycle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927657-54C5-4D61-B85B-EA5599659393}">
      <dsp:nvSpPr>
        <dsp:cNvPr id="0" name=""/>
        <dsp:cNvSpPr/>
      </dsp:nvSpPr>
      <dsp:spPr>
        <a:xfrm>
          <a:off x="3115983" y="242978"/>
          <a:ext cx="1592038" cy="1592038"/>
        </a:xfrm>
        <a:prstGeom prst="ellipse">
          <a:avLst/>
        </a:prstGeom>
        <a:solidFill>
          <a:schemeClr val="accent2">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Times New Roman" panose="02020603050405020304" pitchFamily="18" charset="0"/>
            <a:cs typeface="Times New Roman" panose="02020603050405020304" pitchFamily="18" charset="0"/>
          </a:endParaRPr>
        </a:p>
        <a:p>
          <a:pPr marL="0" lvl="0" indent="0" algn="ctr" defTabSz="800100">
            <a:lnSpc>
              <a:spcPct val="90000"/>
            </a:lnSpc>
            <a:spcBef>
              <a:spcPct val="0"/>
            </a:spcBef>
            <a:spcAft>
              <a:spcPct val="35000"/>
            </a:spcAft>
            <a:buNone/>
          </a:pPr>
          <a:endParaRPr lang="en-US" sz="1800" kern="1200">
            <a:latin typeface="Times New Roman" panose="02020603050405020304" pitchFamily="18" charset="0"/>
            <a:cs typeface="Times New Roman" panose="02020603050405020304" pitchFamily="18" charset="0"/>
          </a:endParaRPr>
        </a:p>
        <a:p>
          <a:pPr marL="0" lvl="0" indent="0" algn="ctr" defTabSz="800100">
            <a:lnSpc>
              <a:spcPct val="90000"/>
            </a:lnSpc>
            <a:spcBef>
              <a:spcPct val="0"/>
            </a:spcBef>
            <a:spcAft>
              <a:spcPct val="35000"/>
            </a:spcAft>
            <a:buNone/>
          </a:pPr>
          <a:r>
            <a:rPr lang="en-US" sz="2000" b="1" kern="1200">
              <a:solidFill>
                <a:schemeClr val="tx1"/>
              </a:solidFill>
              <a:latin typeface=" century gothic"/>
              <a:cs typeface="Times New Roman" panose="02020603050405020304" pitchFamily="18" charset="0"/>
            </a:rPr>
            <a:t>CBK</a:t>
          </a:r>
          <a:endParaRPr lang="en-US" sz="1600" b="1" kern="1200">
            <a:solidFill>
              <a:schemeClr val="tx1"/>
            </a:solidFill>
            <a:latin typeface=" century gothic"/>
            <a:cs typeface="Times New Roman" panose="02020603050405020304" pitchFamily="18" charset="0"/>
          </a:endParaRPr>
        </a:p>
      </dsp:txBody>
      <dsp:txXfrm>
        <a:off x="3299680" y="457291"/>
        <a:ext cx="1224645" cy="505166"/>
      </dsp:txXfrm>
    </dsp:sp>
    <dsp:sp modelId="{1CF3A38E-73CA-45FF-BB56-B3E3C08F5D77}">
      <dsp:nvSpPr>
        <dsp:cNvPr id="0" name=""/>
        <dsp:cNvSpPr/>
      </dsp:nvSpPr>
      <dsp:spPr>
        <a:xfrm>
          <a:off x="4466188" y="195085"/>
          <a:ext cx="1592038" cy="1592038"/>
        </a:xfrm>
        <a:prstGeom prst="ellipse">
          <a:avLst/>
        </a:prstGeom>
        <a:solidFill>
          <a:schemeClr val="accent2">
            <a:alpha val="50000"/>
            <a:hueOff val="-2269736"/>
            <a:satOff val="-5407"/>
            <a:lumOff val="11503"/>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solidFill>
              <a:schemeClr val="tx1"/>
            </a:solidFill>
            <a:latin typeface="Times New Roman" panose="02020603050405020304" pitchFamily="18" charset="0"/>
            <a:cs typeface="Times New Roman" panose="02020603050405020304" pitchFamily="18" charset="0"/>
          </a:endParaRPr>
        </a:p>
      </dsp:txBody>
      <dsp:txXfrm>
        <a:off x="5323439" y="378782"/>
        <a:ext cx="612322" cy="1224645"/>
      </dsp:txXfrm>
    </dsp:sp>
    <dsp:sp modelId="{6CBB97EE-C9A4-43B9-A66A-FEBD09496F7F}">
      <dsp:nvSpPr>
        <dsp:cNvPr id="0" name=""/>
        <dsp:cNvSpPr/>
      </dsp:nvSpPr>
      <dsp:spPr>
        <a:xfrm>
          <a:off x="3203657" y="1369577"/>
          <a:ext cx="1592038" cy="1592038"/>
        </a:xfrm>
        <a:prstGeom prst="ellipse">
          <a:avLst/>
        </a:prstGeom>
        <a:solidFill>
          <a:schemeClr val="accent2">
            <a:alpha val="50000"/>
            <a:hueOff val="-4539473"/>
            <a:satOff val="-10814"/>
            <a:lumOff val="23007"/>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latin typeface="Times New Roman" panose="02020603050405020304" pitchFamily="18" charset="0"/>
            <a:cs typeface="Times New Roman" panose="02020603050405020304" pitchFamily="18" charset="0"/>
          </a:endParaRPr>
        </a:p>
      </dsp:txBody>
      <dsp:txXfrm>
        <a:off x="3387354" y="2242136"/>
        <a:ext cx="1224645" cy="505166"/>
      </dsp:txXfrm>
    </dsp:sp>
    <dsp:sp modelId="{947898BC-FFF1-4B45-8E01-EDA51ABA8124}">
      <dsp:nvSpPr>
        <dsp:cNvPr id="0" name=""/>
        <dsp:cNvSpPr/>
      </dsp:nvSpPr>
      <dsp:spPr>
        <a:xfrm>
          <a:off x="1891168" y="358238"/>
          <a:ext cx="1592038" cy="1592038"/>
        </a:xfrm>
        <a:prstGeom prst="ellipse">
          <a:avLst/>
        </a:prstGeom>
        <a:solidFill>
          <a:schemeClr val="accent2">
            <a:alpha val="50000"/>
            <a:hueOff val="-6809209"/>
            <a:satOff val="-16221"/>
            <a:lumOff val="3451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endParaRPr lang="en-US" sz="1800" kern="1200">
            <a:latin typeface="Times New Roman" panose="02020603050405020304" pitchFamily="18" charset="0"/>
            <a:cs typeface="Times New Roman" panose="02020603050405020304" pitchFamily="18" charset="0"/>
          </a:endParaRPr>
        </a:p>
      </dsp:txBody>
      <dsp:txXfrm>
        <a:off x="2013632" y="541934"/>
        <a:ext cx="612322" cy="12246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30C7A1-29B9-4B2D-BAC8-5B0E9FB4A8B8}">
      <dsp:nvSpPr>
        <dsp:cNvPr id="0" name=""/>
        <dsp:cNvSpPr/>
      </dsp:nvSpPr>
      <dsp:spPr>
        <a:xfrm>
          <a:off x="1053932" y="642026"/>
          <a:ext cx="210560" cy="452704"/>
        </a:xfrm>
        <a:custGeom>
          <a:avLst/>
          <a:gdLst/>
          <a:ahLst/>
          <a:cxnLst/>
          <a:rect l="0" t="0" r="0" b="0"/>
          <a:pathLst>
            <a:path>
              <a:moveTo>
                <a:pt x="0" y="0"/>
              </a:moveTo>
              <a:lnTo>
                <a:pt x="105280" y="0"/>
              </a:lnTo>
              <a:lnTo>
                <a:pt x="105280" y="452704"/>
              </a:lnTo>
              <a:lnTo>
                <a:pt x="210560" y="45270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737C16-F391-479E-B25E-FF5216A16C0B}">
      <dsp:nvSpPr>
        <dsp:cNvPr id="0" name=""/>
        <dsp:cNvSpPr/>
      </dsp:nvSpPr>
      <dsp:spPr>
        <a:xfrm>
          <a:off x="1053932" y="596306"/>
          <a:ext cx="210560" cy="91440"/>
        </a:xfrm>
        <a:custGeom>
          <a:avLst/>
          <a:gdLst/>
          <a:ahLst/>
          <a:cxnLst/>
          <a:rect l="0" t="0" r="0" b="0"/>
          <a:pathLst>
            <a:path>
              <a:moveTo>
                <a:pt x="0" y="45720"/>
              </a:moveTo>
              <a:lnTo>
                <a:pt x="210560" y="457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E242DE-86F3-4906-8BDD-73191435A087}">
      <dsp:nvSpPr>
        <dsp:cNvPr id="0" name=""/>
        <dsp:cNvSpPr/>
      </dsp:nvSpPr>
      <dsp:spPr>
        <a:xfrm>
          <a:off x="1053932" y="189321"/>
          <a:ext cx="210560" cy="452704"/>
        </a:xfrm>
        <a:custGeom>
          <a:avLst/>
          <a:gdLst/>
          <a:ahLst/>
          <a:cxnLst/>
          <a:rect l="0" t="0" r="0" b="0"/>
          <a:pathLst>
            <a:path>
              <a:moveTo>
                <a:pt x="0" y="452704"/>
              </a:moveTo>
              <a:lnTo>
                <a:pt x="105280" y="452704"/>
              </a:lnTo>
              <a:lnTo>
                <a:pt x="105280" y="0"/>
              </a:lnTo>
              <a:lnTo>
                <a:pt x="210560"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D6FC14C-039E-4D46-9D63-1A2F18EA09DF}">
      <dsp:nvSpPr>
        <dsp:cNvPr id="0" name=""/>
        <dsp:cNvSpPr/>
      </dsp:nvSpPr>
      <dsp:spPr>
        <a:xfrm>
          <a:off x="1132" y="481473"/>
          <a:ext cx="1052800" cy="3211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b="1" kern="1200" dirty="0">
              <a:latin typeface="Century Gothic" panose="020B0502020202020204" pitchFamily="34" charset="0"/>
            </a:rPr>
            <a:t>ACH</a:t>
          </a:r>
        </a:p>
      </dsp:txBody>
      <dsp:txXfrm>
        <a:off x="1132" y="481473"/>
        <a:ext cx="1052800" cy="321104"/>
      </dsp:txXfrm>
    </dsp:sp>
    <dsp:sp modelId="{5C10A62C-18F4-47F9-8765-D2F3B1FF9EA0}">
      <dsp:nvSpPr>
        <dsp:cNvPr id="0" name=""/>
        <dsp:cNvSpPr/>
      </dsp:nvSpPr>
      <dsp:spPr>
        <a:xfrm>
          <a:off x="1264493" y="28769"/>
          <a:ext cx="1052800" cy="3211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EFT</a:t>
          </a:r>
        </a:p>
      </dsp:txBody>
      <dsp:txXfrm>
        <a:off x="1264493" y="28769"/>
        <a:ext cx="1052800" cy="321104"/>
      </dsp:txXfrm>
    </dsp:sp>
    <dsp:sp modelId="{9E7925F4-765C-415B-8BF7-DB1C4F5F538B}">
      <dsp:nvSpPr>
        <dsp:cNvPr id="0" name=""/>
        <dsp:cNvSpPr/>
      </dsp:nvSpPr>
      <dsp:spPr>
        <a:xfrm>
          <a:off x="1264493" y="481473"/>
          <a:ext cx="1052800" cy="321104"/>
        </a:xfrm>
        <a:prstGeom prst="rect">
          <a:avLst/>
        </a:prstGeom>
        <a:solidFill>
          <a:schemeClr val="accent1">
            <a:hueOff val="0"/>
            <a:satOff val="0"/>
            <a:lumOff val="0"/>
            <a:alphaOff val="0"/>
          </a:schemeClr>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DFCC</a:t>
          </a:r>
        </a:p>
      </dsp:txBody>
      <dsp:txXfrm>
        <a:off x="1264493" y="481473"/>
        <a:ext cx="1052800" cy="321104"/>
      </dsp:txXfrm>
    </dsp:sp>
    <dsp:sp modelId="{558B312D-9E85-4DB7-883B-16916AE107C9}">
      <dsp:nvSpPr>
        <dsp:cNvPr id="0" name=""/>
        <dsp:cNvSpPr/>
      </dsp:nvSpPr>
      <dsp:spPr>
        <a:xfrm>
          <a:off x="1264493" y="934178"/>
          <a:ext cx="1052800" cy="3211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CHEQUES</a:t>
          </a:r>
        </a:p>
      </dsp:txBody>
      <dsp:txXfrm>
        <a:off x="1264493" y="934178"/>
        <a:ext cx="1052800" cy="3211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788F1C-9128-41DB-A5E1-0F2EAE1351E7}">
      <dsp:nvSpPr>
        <dsp:cNvPr id="0" name=""/>
        <dsp:cNvSpPr/>
      </dsp:nvSpPr>
      <dsp:spPr>
        <a:xfrm>
          <a:off x="855349" y="717204"/>
          <a:ext cx="760813" cy="157054"/>
        </a:xfrm>
        <a:custGeom>
          <a:avLst/>
          <a:gdLst/>
          <a:ahLst/>
          <a:cxnLst/>
          <a:rect l="0" t="0" r="0" b="0"/>
          <a:pathLst>
            <a:path>
              <a:moveTo>
                <a:pt x="0" y="0"/>
              </a:moveTo>
              <a:lnTo>
                <a:pt x="0" y="121089"/>
              </a:lnTo>
              <a:lnTo>
                <a:pt x="760813" y="121089"/>
              </a:lnTo>
              <a:lnTo>
                <a:pt x="760813" y="15705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0D744D-5B1C-4421-A633-4951FBB03F3D}">
      <dsp:nvSpPr>
        <dsp:cNvPr id="0" name=""/>
        <dsp:cNvSpPr/>
      </dsp:nvSpPr>
      <dsp:spPr>
        <a:xfrm>
          <a:off x="809629" y="717204"/>
          <a:ext cx="91440" cy="157054"/>
        </a:xfrm>
        <a:custGeom>
          <a:avLst/>
          <a:gdLst/>
          <a:ahLst/>
          <a:cxnLst/>
          <a:rect l="0" t="0" r="0" b="0"/>
          <a:pathLst>
            <a:path>
              <a:moveTo>
                <a:pt x="45720" y="0"/>
              </a:moveTo>
              <a:lnTo>
                <a:pt x="45720" y="121089"/>
              </a:lnTo>
              <a:lnTo>
                <a:pt x="94486" y="121089"/>
              </a:lnTo>
              <a:lnTo>
                <a:pt x="94486" y="15705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054996-4AE4-4401-9F4B-1AC4C174A3C7}">
      <dsp:nvSpPr>
        <dsp:cNvPr id="0" name=""/>
        <dsp:cNvSpPr/>
      </dsp:nvSpPr>
      <dsp:spPr>
        <a:xfrm>
          <a:off x="180438" y="717204"/>
          <a:ext cx="674910" cy="157054"/>
        </a:xfrm>
        <a:custGeom>
          <a:avLst/>
          <a:gdLst/>
          <a:ahLst/>
          <a:cxnLst/>
          <a:rect l="0" t="0" r="0" b="0"/>
          <a:pathLst>
            <a:path>
              <a:moveTo>
                <a:pt x="674910" y="0"/>
              </a:moveTo>
              <a:lnTo>
                <a:pt x="674910" y="121089"/>
              </a:lnTo>
              <a:lnTo>
                <a:pt x="0" y="121089"/>
              </a:lnTo>
              <a:lnTo>
                <a:pt x="0" y="15705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5B1300-C03B-4568-8A51-412393DB2055}">
      <dsp:nvSpPr>
        <dsp:cNvPr id="0" name=""/>
        <dsp:cNvSpPr/>
      </dsp:nvSpPr>
      <dsp:spPr>
        <a:xfrm>
          <a:off x="517370" y="456167"/>
          <a:ext cx="675957" cy="261036"/>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79000" b="-7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A08A54-48FD-4FEF-A0EC-ED17F2DF15A5}">
      <dsp:nvSpPr>
        <dsp:cNvPr id="0" name=""/>
        <dsp:cNvSpPr/>
      </dsp:nvSpPr>
      <dsp:spPr>
        <a:xfrm>
          <a:off x="0" y="27011"/>
          <a:ext cx="2074817" cy="418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RTGS- KEPSS</a:t>
          </a:r>
        </a:p>
      </dsp:txBody>
      <dsp:txXfrm>
        <a:off x="0" y="27011"/>
        <a:ext cx="2074817" cy="418400"/>
      </dsp:txXfrm>
    </dsp:sp>
    <dsp:sp modelId="{C756C339-0BB5-41F9-BEBF-96972DC27E1C}">
      <dsp:nvSpPr>
        <dsp:cNvPr id="0" name=""/>
        <dsp:cNvSpPr/>
      </dsp:nvSpPr>
      <dsp:spPr>
        <a:xfrm>
          <a:off x="1964" y="874258"/>
          <a:ext cx="356948" cy="564780"/>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894F20-0B0D-4CF1-B9AF-FE68CE5205F9}">
      <dsp:nvSpPr>
        <dsp:cNvPr id="0" name=""/>
        <dsp:cNvSpPr/>
      </dsp:nvSpPr>
      <dsp:spPr>
        <a:xfrm>
          <a:off x="295526" y="1040985"/>
          <a:ext cx="345262" cy="23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n-US" sz="1000" kern="1200" dirty="0"/>
            <a:t>USD</a:t>
          </a:r>
        </a:p>
      </dsp:txBody>
      <dsp:txXfrm>
        <a:off x="295526" y="1040985"/>
        <a:ext cx="345262" cy="230175"/>
      </dsp:txXfrm>
    </dsp:sp>
    <dsp:sp modelId="{69503148-3B44-4289-8057-5A1874582AFB}">
      <dsp:nvSpPr>
        <dsp:cNvPr id="0" name=""/>
        <dsp:cNvSpPr/>
      </dsp:nvSpPr>
      <dsp:spPr>
        <a:xfrm>
          <a:off x="698332" y="874258"/>
          <a:ext cx="411566" cy="494595"/>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1C3B2C-2BD1-45FE-88A8-2EC73B033086}">
      <dsp:nvSpPr>
        <dsp:cNvPr id="0" name=""/>
        <dsp:cNvSpPr/>
      </dsp:nvSpPr>
      <dsp:spPr>
        <a:xfrm>
          <a:off x="1019203" y="1005893"/>
          <a:ext cx="345262" cy="23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n-US" sz="1000" kern="1200" dirty="0"/>
            <a:t>KES</a:t>
          </a:r>
        </a:p>
      </dsp:txBody>
      <dsp:txXfrm>
        <a:off x="1019203" y="1005893"/>
        <a:ext cx="345262" cy="230175"/>
      </dsp:txXfrm>
    </dsp:sp>
    <dsp:sp modelId="{088DA28C-D856-4302-826B-63621B55C3C3}">
      <dsp:nvSpPr>
        <dsp:cNvPr id="0" name=""/>
        <dsp:cNvSpPr/>
      </dsp:nvSpPr>
      <dsp:spPr>
        <a:xfrm>
          <a:off x="1422009" y="874258"/>
          <a:ext cx="388305" cy="498421"/>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11F16B-FEC0-466A-919B-1276792FDB62}">
      <dsp:nvSpPr>
        <dsp:cNvPr id="0" name=""/>
        <dsp:cNvSpPr/>
      </dsp:nvSpPr>
      <dsp:spPr>
        <a:xfrm>
          <a:off x="1731250" y="1007806"/>
          <a:ext cx="345262" cy="23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n-US" sz="1000" kern="1200" dirty="0"/>
            <a:t>Etc.</a:t>
          </a:r>
        </a:p>
      </dsp:txBody>
      <dsp:txXfrm>
        <a:off x="1731250" y="1007806"/>
        <a:ext cx="345262" cy="2301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3592B-EBAA-49FC-B8B0-90E79AE7FF18}">
      <dsp:nvSpPr>
        <dsp:cNvPr id="0" name=""/>
        <dsp:cNvSpPr/>
      </dsp:nvSpPr>
      <dsp:spPr>
        <a:xfrm>
          <a:off x="0" y="2728469"/>
          <a:ext cx="3281464"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BD00E7-E339-43E8-8E38-1D243BED017D}">
      <dsp:nvSpPr>
        <dsp:cNvPr id="0" name=""/>
        <dsp:cNvSpPr/>
      </dsp:nvSpPr>
      <dsp:spPr>
        <a:xfrm>
          <a:off x="0" y="1593926"/>
          <a:ext cx="3281464"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ED1C57-2DD2-4D69-9078-DE5D7B351987}">
      <dsp:nvSpPr>
        <dsp:cNvPr id="0" name=""/>
        <dsp:cNvSpPr/>
      </dsp:nvSpPr>
      <dsp:spPr>
        <a:xfrm>
          <a:off x="853180" y="513408"/>
          <a:ext cx="2428283" cy="1080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latin typeface="Century Gothic" panose="020B0502020202020204" pitchFamily="34" charset="0"/>
            </a:rPr>
            <a:t>EAPS</a:t>
          </a:r>
        </a:p>
      </dsp:txBody>
      <dsp:txXfrm>
        <a:off x="853180" y="513408"/>
        <a:ext cx="2428283" cy="1080517"/>
      </dsp:txXfrm>
    </dsp:sp>
    <dsp:sp modelId="{E0680DFB-BAC8-46FB-AF07-E2EF48D12E1F}">
      <dsp:nvSpPr>
        <dsp:cNvPr id="0" name=""/>
        <dsp:cNvSpPr/>
      </dsp:nvSpPr>
      <dsp:spPr>
        <a:xfrm>
          <a:off x="0" y="513408"/>
          <a:ext cx="853180" cy="1080517"/>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b="1" kern="1200" dirty="0"/>
            <a:t>East African Payment Systems</a:t>
          </a:r>
        </a:p>
      </dsp:txBody>
      <dsp:txXfrm>
        <a:off x="41656" y="555064"/>
        <a:ext cx="769868" cy="1038861"/>
      </dsp:txXfrm>
    </dsp:sp>
    <dsp:sp modelId="{AB396FA5-DFF0-4C59-B1B5-7ABFB58886D8}">
      <dsp:nvSpPr>
        <dsp:cNvPr id="0" name=""/>
        <dsp:cNvSpPr/>
      </dsp:nvSpPr>
      <dsp:spPr>
        <a:xfrm>
          <a:off x="853180" y="1647951"/>
          <a:ext cx="2428283" cy="1080517"/>
        </a:xfrm>
        <a:prstGeom prst="rect">
          <a:avLst/>
        </a:prstGeom>
        <a:noFill/>
        <a:ln>
          <a:noFill/>
        </a:ln>
        <a:effectLst/>
      </dsp:spPr>
      <dsp:style>
        <a:lnRef idx="0">
          <a:scrgbClr r="0" g="0" b="0"/>
        </a:lnRef>
        <a:fillRef idx="0">
          <a:scrgbClr r="0" g="0" b="0"/>
        </a:fillRef>
        <a:effectRef idx="0">
          <a:scrgbClr r="0" g="0" b="0"/>
        </a:effectRef>
        <a:fontRef idx="minor"/>
      </dsp:style>
    </dsp:sp>
    <dsp:sp modelId="{3B1943BF-F04F-4C8B-A67E-8233D2AE5C39}">
      <dsp:nvSpPr>
        <dsp:cNvPr id="0" name=""/>
        <dsp:cNvSpPr/>
      </dsp:nvSpPr>
      <dsp:spPr>
        <a:xfrm>
          <a:off x="0" y="1647951"/>
          <a:ext cx="853180" cy="1080517"/>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Regional Payment and Settlement System</a:t>
          </a:r>
        </a:p>
      </dsp:txBody>
      <dsp:txXfrm>
        <a:off x="41656" y="1689607"/>
        <a:ext cx="769868" cy="103886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5DD43D-8D78-40F1-B27F-A65DA6A585CC}">
      <dsp:nvSpPr>
        <dsp:cNvPr id="0" name=""/>
        <dsp:cNvSpPr/>
      </dsp:nvSpPr>
      <dsp:spPr>
        <a:xfrm>
          <a:off x="487395" y="932925"/>
          <a:ext cx="1072271" cy="1072271"/>
        </a:xfrm>
        <a:prstGeom prst="gear9">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Century Gothic" panose="020B0502020202020204" pitchFamily="34" charset="0"/>
            </a:rPr>
            <a:t>SWIFT RAILS</a:t>
          </a:r>
        </a:p>
      </dsp:txBody>
      <dsp:txXfrm>
        <a:off x="702969" y="1184099"/>
        <a:ext cx="641123" cy="551170"/>
      </dsp:txXfrm>
    </dsp:sp>
    <dsp:sp modelId="{E3397532-EB20-4641-BA01-C4B629904125}">
      <dsp:nvSpPr>
        <dsp:cNvPr id="0" name=""/>
        <dsp:cNvSpPr/>
      </dsp:nvSpPr>
      <dsp:spPr>
        <a:xfrm>
          <a:off x="491290" y="775044"/>
          <a:ext cx="1318893" cy="1318893"/>
        </a:xfrm>
        <a:prstGeom prst="circularArrow">
          <a:avLst>
            <a:gd name="adj1" fmla="val 4878"/>
            <a:gd name="adj2" fmla="val 312630"/>
            <a:gd name="adj3" fmla="val 2889084"/>
            <a:gd name="adj4" fmla="val 15608610"/>
            <a:gd name="adj5" fmla="val 5691"/>
          </a:avLst>
        </a:prstGeom>
        <a:solidFill>
          <a:schemeClr val="lt1"/>
        </a:solidFill>
        <a:ln w="25400" cap="flat" cmpd="sng" algn="ctr">
          <a:solidFill>
            <a:schemeClr val="accent6"/>
          </a:solidFill>
          <a:prstDash val="solid"/>
        </a:ln>
        <a:effectLst/>
        <a:sp3d z="-110000"/>
      </dsp:spPr>
      <dsp:style>
        <a:lnRef idx="2">
          <a:schemeClr val="accent6"/>
        </a:lnRef>
        <a:fillRef idx="1">
          <a:schemeClr val="lt1"/>
        </a:fillRef>
        <a:effectRef idx="0">
          <a:schemeClr val="accent6"/>
        </a:effectRef>
        <a:fontRef idx="minor">
          <a:schemeClr val="dk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38DA05-5A45-47B9-9392-BFACABEEA75E}">
      <dsp:nvSpPr>
        <dsp:cNvPr id="0" name=""/>
        <dsp:cNvSpPr/>
      </dsp:nvSpPr>
      <dsp:spPr>
        <a:xfrm>
          <a:off x="0" y="317729"/>
          <a:ext cx="1949569" cy="542886"/>
        </a:xfrm>
        <a:prstGeom prst="rect">
          <a:avLst/>
        </a:prstGeom>
        <a:solidFill>
          <a:schemeClr val="bg1">
            <a:lumMod val="8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l" defTabSz="755650">
            <a:lnSpc>
              <a:spcPct val="90000"/>
            </a:lnSpc>
            <a:spcBef>
              <a:spcPct val="0"/>
            </a:spcBef>
            <a:spcAft>
              <a:spcPct val="35000"/>
            </a:spcAft>
            <a:buNone/>
          </a:pPr>
          <a:r>
            <a:rPr lang="en-US" sz="1700" kern="1200" dirty="0">
              <a:latin typeface=" century gothic"/>
            </a:rPr>
            <a:t>Lack of Shared Infrastructure</a:t>
          </a:r>
        </a:p>
      </dsp:txBody>
      <dsp:txXfrm>
        <a:off x="0" y="317729"/>
        <a:ext cx="1949569" cy="542886"/>
      </dsp:txXfrm>
    </dsp:sp>
    <dsp:sp modelId="{E2617D03-4ADC-433A-994B-F4610974EFDF}">
      <dsp:nvSpPr>
        <dsp:cNvPr id="0" name=""/>
        <dsp:cNvSpPr/>
      </dsp:nvSpPr>
      <dsp:spPr>
        <a:xfrm>
          <a:off x="1949569" y="4453"/>
          <a:ext cx="389913" cy="116943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E0B9E-9A7C-464D-94C9-B40137654621}">
      <dsp:nvSpPr>
        <dsp:cNvPr id="0" name=""/>
        <dsp:cNvSpPr/>
      </dsp:nvSpPr>
      <dsp:spPr>
        <a:xfrm>
          <a:off x="2495449" y="0"/>
          <a:ext cx="5302829" cy="116943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latin typeface=" century gothic"/>
            </a:rPr>
            <a:t>The absence of unified infrastructure results in fragmented and underutilized ATMs and POS devices, driving up operational costs. Establishing shared ATM/POS networks would lower costs and expand accessibility, particularly in underserved areas.</a:t>
          </a:r>
        </a:p>
      </dsp:txBody>
      <dsp:txXfrm>
        <a:off x="2495449" y="0"/>
        <a:ext cx="5302829" cy="1169437"/>
      </dsp:txXfrm>
    </dsp:sp>
    <dsp:sp modelId="{9A3382EF-0175-46DB-9AAB-2E534E6B2649}">
      <dsp:nvSpPr>
        <dsp:cNvPr id="0" name=""/>
        <dsp:cNvSpPr/>
      </dsp:nvSpPr>
      <dsp:spPr>
        <a:xfrm>
          <a:off x="0" y="1552754"/>
          <a:ext cx="1949569" cy="800510"/>
        </a:xfrm>
        <a:prstGeom prst="rect">
          <a:avLst/>
        </a:prstGeom>
        <a:solidFill>
          <a:schemeClr val="bg1">
            <a:lumMod val="8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l" defTabSz="755650">
            <a:lnSpc>
              <a:spcPct val="90000"/>
            </a:lnSpc>
            <a:spcBef>
              <a:spcPct val="0"/>
            </a:spcBef>
            <a:spcAft>
              <a:spcPct val="35000"/>
            </a:spcAft>
            <a:buNone/>
          </a:pPr>
          <a:r>
            <a:rPr lang="en-US" sz="1700" b="0" kern="1200" dirty="0">
              <a:latin typeface=" century gothic"/>
            </a:rPr>
            <a:t>Lack of Open Multilateral Platforms</a:t>
          </a:r>
        </a:p>
      </dsp:txBody>
      <dsp:txXfrm>
        <a:off x="0" y="1552754"/>
        <a:ext cx="1949569" cy="800510"/>
      </dsp:txXfrm>
    </dsp:sp>
    <dsp:sp modelId="{0D62C0F7-73C5-48EE-8F08-833FC5A35C2F}">
      <dsp:nvSpPr>
        <dsp:cNvPr id="0" name=""/>
        <dsp:cNvSpPr/>
      </dsp:nvSpPr>
      <dsp:spPr>
        <a:xfrm>
          <a:off x="1949569" y="1368291"/>
          <a:ext cx="389913" cy="116943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E146DA-ACC1-4AB8-B2D9-F86CEDCCA2B4}">
      <dsp:nvSpPr>
        <dsp:cNvPr id="0" name=""/>
        <dsp:cNvSpPr/>
      </dsp:nvSpPr>
      <dsp:spPr>
        <a:xfrm>
          <a:off x="2495449" y="1368291"/>
          <a:ext cx="5302829" cy="116943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latin typeface=" century gothic"/>
            </a:rPr>
            <a:t>Reliance on bilateral agreements increases operational complexity and costs, restricting scalability for smaller players. Promoting open collaboration among telcos, banks, and non-banks can improve efficiency and broaden market reach.</a:t>
          </a:r>
        </a:p>
      </dsp:txBody>
      <dsp:txXfrm>
        <a:off x="2495449" y="1368291"/>
        <a:ext cx="5302829" cy="1169437"/>
      </dsp:txXfrm>
    </dsp:sp>
    <dsp:sp modelId="{085EEFDE-ADB2-40BE-B042-B0AE60A726E3}">
      <dsp:nvSpPr>
        <dsp:cNvPr id="0" name=""/>
        <dsp:cNvSpPr/>
      </dsp:nvSpPr>
      <dsp:spPr>
        <a:xfrm>
          <a:off x="0" y="2973730"/>
          <a:ext cx="1949569" cy="686233"/>
        </a:xfrm>
        <a:prstGeom prst="rect">
          <a:avLst/>
        </a:prstGeom>
        <a:solidFill>
          <a:schemeClr val="bg1">
            <a:lumMod val="8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20904" tIns="43180" rIns="120904" bIns="43180" numCol="1" spcCol="1270" anchor="ctr" anchorCtr="0">
          <a:noAutofit/>
        </a:bodyPr>
        <a:lstStyle/>
        <a:p>
          <a:pPr marL="0" lvl="0" indent="0" algn="l" defTabSz="755650">
            <a:lnSpc>
              <a:spcPct val="90000"/>
            </a:lnSpc>
            <a:spcBef>
              <a:spcPct val="0"/>
            </a:spcBef>
            <a:spcAft>
              <a:spcPct val="35000"/>
            </a:spcAft>
            <a:buNone/>
          </a:pPr>
          <a:r>
            <a:rPr lang="en-US" sz="1700" kern="1200" dirty="0">
              <a:latin typeface=" century gothic"/>
            </a:rPr>
            <a:t>Technical</a:t>
          </a:r>
          <a:r>
            <a:rPr lang="en-US" sz="1500" kern="1200" dirty="0">
              <a:latin typeface=" century gothic"/>
            </a:rPr>
            <a:t> Incompatibility  </a:t>
          </a:r>
        </a:p>
      </dsp:txBody>
      <dsp:txXfrm>
        <a:off x="0" y="2973730"/>
        <a:ext cx="1949569" cy="686233"/>
      </dsp:txXfrm>
    </dsp:sp>
    <dsp:sp modelId="{7DF49B65-FC36-4471-977D-A0C35EBDD13F}">
      <dsp:nvSpPr>
        <dsp:cNvPr id="0" name=""/>
        <dsp:cNvSpPr/>
      </dsp:nvSpPr>
      <dsp:spPr>
        <a:xfrm>
          <a:off x="1949569" y="2732128"/>
          <a:ext cx="389913" cy="116943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342B2E-8388-44E6-88F4-E8112B74D6D9}">
      <dsp:nvSpPr>
        <dsp:cNvPr id="0" name=""/>
        <dsp:cNvSpPr/>
      </dsp:nvSpPr>
      <dsp:spPr>
        <a:xfrm>
          <a:off x="2495449" y="2732128"/>
          <a:ext cx="5302829" cy="116943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latin typeface=" century gothic"/>
            </a:rPr>
            <a:t>Banks, telcos, and </a:t>
          </a:r>
          <a:r>
            <a:rPr lang="en-US" sz="1500" kern="1200" dirty="0" err="1">
              <a:latin typeface=" century gothic"/>
            </a:rPr>
            <a:t>fintechs</a:t>
          </a:r>
          <a:r>
            <a:rPr lang="en-US" sz="1500" kern="1200" dirty="0">
              <a:latin typeface=" century gothic"/>
            </a:rPr>
            <a:t> use different systems, APIs, and security protocols, making integrations costly, time-consuming, and prone to errors. Legacy infrastructure and mismatched processing methods further hinder seamless interoperability.</a:t>
          </a:r>
        </a:p>
      </dsp:txBody>
      <dsp:txXfrm>
        <a:off x="2495449" y="2732128"/>
        <a:ext cx="5302829" cy="11694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72CD35-AE14-4244-99CB-89FAFA7E8028}">
      <dsp:nvSpPr>
        <dsp:cNvPr id="0" name=""/>
        <dsp:cNvSpPr/>
      </dsp:nvSpPr>
      <dsp:spPr>
        <a:xfrm>
          <a:off x="1024321" y="180540"/>
          <a:ext cx="1699616" cy="358129"/>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kern="1200" dirty="0">
              <a:latin typeface="Century Gothic" panose="020B0502020202020204" pitchFamily="34" charset="0"/>
            </a:rPr>
            <a:t>High cost of low-value retail payments </a:t>
          </a:r>
        </a:p>
      </dsp:txBody>
      <dsp:txXfrm>
        <a:off x="1034810" y="191029"/>
        <a:ext cx="1678638" cy="337151"/>
      </dsp:txXfrm>
    </dsp:sp>
    <dsp:sp modelId="{ED119C54-C002-C247-BB87-92CD9976641C}">
      <dsp:nvSpPr>
        <dsp:cNvPr id="0" name=""/>
        <dsp:cNvSpPr/>
      </dsp:nvSpPr>
      <dsp:spPr>
        <a:xfrm rot="2700000">
          <a:off x="2084380" y="803700"/>
          <a:ext cx="690166" cy="222476"/>
        </a:xfrm>
        <a:prstGeom prst="lef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latin typeface="Century Gothic" panose="020B0502020202020204" pitchFamily="34" charset="0"/>
          </a:endParaRPr>
        </a:p>
      </dsp:txBody>
      <dsp:txXfrm>
        <a:off x="2151123" y="848195"/>
        <a:ext cx="556680" cy="133486"/>
      </dsp:txXfrm>
    </dsp:sp>
    <dsp:sp modelId="{70F91205-95EE-0345-A34A-022BC3F1BABB}">
      <dsp:nvSpPr>
        <dsp:cNvPr id="0" name=""/>
        <dsp:cNvSpPr/>
      </dsp:nvSpPr>
      <dsp:spPr>
        <a:xfrm>
          <a:off x="2176010" y="1291208"/>
          <a:ext cx="1841632" cy="58218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kern="1200" dirty="0">
              <a:latin typeface="Century Gothic" panose="020B0502020202020204" pitchFamily="34" charset="0"/>
            </a:rPr>
            <a:t>Exclusion – institutions that must participate in NPS through PSPs or banks</a:t>
          </a:r>
        </a:p>
      </dsp:txBody>
      <dsp:txXfrm>
        <a:off x="2193062" y="1308260"/>
        <a:ext cx="1807528" cy="548084"/>
      </dsp:txXfrm>
    </dsp:sp>
    <dsp:sp modelId="{15A0024D-2C3B-6C43-B36F-1634036BBB94}">
      <dsp:nvSpPr>
        <dsp:cNvPr id="0" name=""/>
        <dsp:cNvSpPr/>
      </dsp:nvSpPr>
      <dsp:spPr>
        <a:xfrm rot="8100000">
          <a:off x="2113176" y="2109631"/>
          <a:ext cx="690166" cy="222476"/>
        </a:xfrm>
        <a:prstGeom prst="lef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latin typeface="Century Gothic" panose="020B0502020202020204" pitchFamily="34" charset="0"/>
          </a:endParaRPr>
        </a:p>
      </dsp:txBody>
      <dsp:txXfrm rot="10800000">
        <a:off x="2179919" y="2154126"/>
        <a:ext cx="556680" cy="133486"/>
      </dsp:txXfrm>
    </dsp:sp>
    <dsp:sp modelId="{37655882-8866-9E43-B24E-68FC5E790904}">
      <dsp:nvSpPr>
        <dsp:cNvPr id="0" name=""/>
        <dsp:cNvSpPr/>
      </dsp:nvSpPr>
      <dsp:spPr>
        <a:xfrm>
          <a:off x="890358" y="2568342"/>
          <a:ext cx="1967541" cy="4733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kern="1200" dirty="0">
              <a:latin typeface="Century Gothic" panose="020B0502020202020204" pitchFamily="34" charset="0"/>
            </a:rPr>
            <a:t>Inefficiency, constrained oversight, stability challenges </a:t>
          </a:r>
        </a:p>
      </dsp:txBody>
      <dsp:txXfrm>
        <a:off x="904221" y="2582205"/>
        <a:ext cx="1939815" cy="445589"/>
      </dsp:txXfrm>
    </dsp:sp>
    <dsp:sp modelId="{E80BE185-B02B-0940-9A37-A63B5DC3D793}">
      <dsp:nvSpPr>
        <dsp:cNvPr id="0" name=""/>
        <dsp:cNvSpPr/>
      </dsp:nvSpPr>
      <dsp:spPr>
        <a:xfrm rot="13795801">
          <a:off x="1052301" y="2127006"/>
          <a:ext cx="690166" cy="222476"/>
        </a:xfrm>
        <a:prstGeom prst="lef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latin typeface="Century Gothic" panose="020B0502020202020204" pitchFamily="34" charset="0"/>
          </a:endParaRPr>
        </a:p>
      </dsp:txBody>
      <dsp:txXfrm rot="10800000">
        <a:off x="1119044" y="2171501"/>
        <a:ext cx="556680" cy="133486"/>
      </dsp:txXfrm>
    </dsp:sp>
    <dsp:sp modelId="{BFC19684-E532-7B46-9729-AFE727595A41}">
      <dsp:nvSpPr>
        <dsp:cNvPr id="0" name=""/>
        <dsp:cNvSpPr/>
      </dsp:nvSpPr>
      <dsp:spPr>
        <a:xfrm>
          <a:off x="-56308" y="1293439"/>
          <a:ext cx="1834958" cy="61470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kern="1200" dirty="0">
              <a:latin typeface="Century Gothic" panose="020B0502020202020204" pitchFamily="34" charset="0"/>
            </a:rPr>
            <a:t>Cumbersome customer experience, friction in off-net payment transactions</a:t>
          </a:r>
        </a:p>
      </dsp:txBody>
      <dsp:txXfrm>
        <a:off x="-38304" y="1311443"/>
        <a:ext cx="1798950" cy="578700"/>
      </dsp:txXfrm>
    </dsp:sp>
    <dsp:sp modelId="{8973F0C3-DB78-A641-931D-5D892B1CA912}">
      <dsp:nvSpPr>
        <dsp:cNvPr id="0" name=""/>
        <dsp:cNvSpPr/>
      </dsp:nvSpPr>
      <dsp:spPr>
        <a:xfrm rot="18553113">
          <a:off x="1074916" y="804816"/>
          <a:ext cx="690166" cy="222476"/>
        </a:xfrm>
        <a:prstGeom prst="lef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latin typeface="Century Gothic" panose="020B0502020202020204" pitchFamily="34" charset="0"/>
          </a:endParaRPr>
        </a:p>
      </dsp:txBody>
      <dsp:txXfrm>
        <a:off x="1141659" y="849311"/>
        <a:ext cx="556680" cy="133486"/>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27.png"/></Relationships>
</file>

<file path=ppt/drawings/drawing1.xml><?xml version="1.0" encoding="utf-8"?>
<c:userShapes xmlns:c="http://schemas.openxmlformats.org/drawingml/2006/chart">
  <cdr:relSizeAnchor xmlns:cdr="http://schemas.openxmlformats.org/drawingml/2006/chartDrawing">
    <cdr:from>
      <cdr:x>0.06396</cdr:x>
      <cdr:y>0.07811</cdr:y>
    </cdr:from>
    <cdr:to>
      <cdr:x>0.27603</cdr:x>
      <cdr:y>0.3794</cdr:y>
    </cdr:to>
    <cdr:sp macro="" textlink="">
      <cdr:nvSpPr>
        <cdr:cNvPr id="2" name="TextBox 1">
          <a:extLst xmlns:a="http://schemas.openxmlformats.org/drawingml/2006/main">
            <a:ext uri="{FF2B5EF4-FFF2-40B4-BE49-F238E27FC236}">
              <a16:creationId xmlns:a16="http://schemas.microsoft.com/office/drawing/2014/main" id="{7BD628BE-E038-D72C-E8E6-763FCCCBF322}"/>
            </a:ext>
          </a:extLst>
        </cdr:cNvPr>
        <cdr:cNvSpPr txBox="1"/>
      </cdr:nvSpPr>
      <cdr:spPr>
        <a:xfrm xmlns:a="http://schemas.openxmlformats.org/drawingml/2006/main">
          <a:off x="561569" y="462709"/>
          <a:ext cx="1861851" cy="178473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kern="1200" dirty="0"/>
        </a:p>
      </cdr:txBody>
    </cdr:sp>
  </cdr:relSizeAnchor>
  <cdr:relSizeAnchor xmlns:cdr="http://schemas.openxmlformats.org/drawingml/2006/chartDrawing">
    <cdr:from>
      <cdr:x>0.05489</cdr:x>
      <cdr:y>0.03854</cdr:y>
    </cdr:from>
    <cdr:to>
      <cdr:x>0.42273</cdr:x>
      <cdr:y>0.70306</cdr:y>
    </cdr:to>
    <cdr:sp macro="" textlink="">
      <cdr:nvSpPr>
        <cdr:cNvPr id="3" name="TextBox 2">
          <a:extLst xmlns:a="http://schemas.openxmlformats.org/drawingml/2006/main">
            <a:ext uri="{FF2B5EF4-FFF2-40B4-BE49-F238E27FC236}">
              <a16:creationId xmlns:a16="http://schemas.microsoft.com/office/drawing/2014/main" id="{6938FBEA-8B28-C0F2-0C46-922A58B607F8}"/>
            </a:ext>
          </a:extLst>
        </cdr:cNvPr>
        <cdr:cNvSpPr txBox="1"/>
      </cdr:nvSpPr>
      <cdr:spPr>
        <a:xfrm xmlns:a="http://schemas.openxmlformats.org/drawingml/2006/main">
          <a:off x="477606" y="168135"/>
          <a:ext cx="3200559" cy="2899350"/>
        </a:xfrm>
        <a:prstGeom xmlns:a="http://schemas.openxmlformats.org/drawingml/2006/main" prst="rect">
          <a:avLst/>
        </a:prstGeom>
        <a:gradFill xmlns:a="http://schemas.openxmlformats.org/drawingml/2006/main" flip="none" rotWithShape="1">
          <a:gsLst>
            <a:gs pos="0">
              <a:schemeClr val="accent1">
                <a:alpha val="0"/>
                <a:lumMod val="0"/>
                <a:lumOff val="100000"/>
              </a:schemeClr>
            </a:gs>
            <a:gs pos="48000">
              <a:schemeClr val="accent1">
                <a:lumMod val="97000"/>
                <a:lumOff val="3000"/>
              </a:schemeClr>
            </a:gs>
            <a:gs pos="100000">
              <a:schemeClr val="accent1">
                <a:lumMod val="60000"/>
                <a:lumOff val="40000"/>
              </a:schemeClr>
            </a:gs>
          </a:gsLst>
          <a:lin ang="16200000" scaled="1"/>
          <a:tileRect/>
        </a:gra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vertOverflow="clip" wrap="square" rtlCol="0"/>
        <a:lstStyle xmlns:a="http://schemas.openxmlformats.org/drawingml/2006/main"/>
        <a:p xmlns:a="http://schemas.openxmlformats.org/drawingml/2006/main">
          <a:pPr algn="ctr"/>
          <a:r>
            <a:rPr lang="en-US" sz="3600" b="1" kern="1200" dirty="0">
              <a:solidFill>
                <a:schemeClr val="tx1"/>
              </a:solidFill>
              <a:latin typeface="Century Gothic" panose="020B0502020202020204" pitchFamily="34" charset="0"/>
            </a:rPr>
            <a:t>121</a:t>
          </a:r>
        </a:p>
        <a:p xmlns:a="http://schemas.openxmlformats.org/drawingml/2006/main">
          <a:pPr algn="ctr"/>
          <a:r>
            <a:rPr lang="en-US" sz="3600" kern="1200" dirty="0">
              <a:solidFill>
                <a:schemeClr val="tx1"/>
              </a:solidFill>
              <a:latin typeface="Calisto MT" panose="02040603050505030304" pitchFamily="18" charset="0"/>
            </a:rPr>
            <a:t> </a:t>
          </a:r>
          <a:r>
            <a:rPr lang="en-US" sz="3600" b="1" kern="1200" dirty="0">
              <a:solidFill>
                <a:schemeClr val="tx1"/>
              </a:solidFill>
              <a:latin typeface="Century Gothic" panose="020B0502020202020204" pitchFamily="34" charset="0"/>
            </a:rPr>
            <a:t>Payment Services Providers (PSPs)</a:t>
          </a:r>
        </a:p>
      </cdr:txBody>
    </cdr:sp>
  </cdr:relSizeAnchor>
  <cdr:relSizeAnchor xmlns:cdr="http://schemas.openxmlformats.org/drawingml/2006/chartDrawing">
    <cdr:from>
      <cdr:x>0.06274</cdr:x>
      <cdr:y>0.80343</cdr:y>
    </cdr:from>
    <cdr:to>
      <cdr:x>0.16689</cdr:x>
      <cdr:y>0.99126</cdr:y>
    </cdr:to>
    <cdr:sp macro="" textlink="">
      <cdr:nvSpPr>
        <cdr:cNvPr id="4" name="TextBox 3">
          <a:extLst xmlns:a="http://schemas.openxmlformats.org/drawingml/2006/main">
            <a:ext uri="{FF2B5EF4-FFF2-40B4-BE49-F238E27FC236}">
              <a16:creationId xmlns:a16="http://schemas.microsoft.com/office/drawing/2014/main" id="{B317E23C-7829-2DE0-5B43-6033C6A29C69}"/>
            </a:ext>
          </a:extLst>
        </cdr:cNvPr>
        <cdr:cNvSpPr txBox="1"/>
      </cdr:nvSpPr>
      <cdr:spPr>
        <a:xfrm xmlns:a="http://schemas.openxmlformats.org/drawingml/2006/main">
          <a:off x="550843" y="4759287"/>
          <a:ext cx="914400" cy="11127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kern="1200" dirty="0"/>
        </a:p>
      </cdr:txBody>
    </cdr:sp>
  </cdr:relSizeAnchor>
  <cdr:relSizeAnchor xmlns:cdr="http://schemas.openxmlformats.org/drawingml/2006/chartDrawing">
    <cdr:from>
      <cdr:x>0.03669</cdr:x>
      <cdr:y>0.91465</cdr:y>
    </cdr:from>
    <cdr:to>
      <cdr:x>0.14675</cdr:x>
      <cdr:y>0.97784</cdr:y>
    </cdr:to>
    <cdr:sp macro="" textlink="">
      <cdr:nvSpPr>
        <cdr:cNvPr id="7" name="TextBox 6">
          <a:extLst xmlns:a="http://schemas.openxmlformats.org/drawingml/2006/main">
            <a:ext uri="{FF2B5EF4-FFF2-40B4-BE49-F238E27FC236}">
              <a16:creationId xmlns:a16="http://schemas.microsoft.com/office/drawing/2014/main" id="{6211AD44-455E-9ED1-4557-8AAC25B568FC}"/>
            </a:ext>
          </a:extLst>
        </cdr:cNvPr>
        <cdr:cNvSpPr txBox="1"/>
      </cdr:nvSpPr>
      <cdr:spPr>
        <a:xfrm xmlns:a="http://schemas.openxmlformats.org/drawingml/2006/main">
          <a:off x="341523" y="5277081"/>
          <a:ext cx="1024569" cy="364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kern="1200" dirty="0"/>
        </a:p>
      </cdr:txBody>
    </cdr:sp>
  </cdr:relSizeAnchor>
  <cdr:relSizeAnchor xmlns:cdr="http://schemas.openxmlformats.org/drawingml/2006/chartDrawing">
    <cdr:from>
      <cdr:x>0</cdr:x>
      <cdr:y>0.91382</cdr:y>
    </cdr:from>
    <cdr:to>
      <cdr:x>0.24074</cdr:x>
      <cdr:y>0.97438</cdr:y>
    </cdr:to>
    <cdr:sp macro="" textlink="">
      <cdr:nvSpPr>
        <cdr:cNvPr id="8" name="TextBox 7">
          <a:extLst xmlns:a="http://schemas.openxmlformats.org/drawingml/2006/main">
            <a:ext uri="{FF2B5EF4-FFF2-40B4-BE49-F238E27FC236}">
              <a16:creationId xmlns:a16="http://schemas.microsoft.com/office/drawing/2014/main" id="{EA3A5129-CD7A-9A4C-5EAC-14888E096674}"/>
            </a:ext>
          </a:extLst>
        </cdr:cNvPr>
        <cdr:cNvSpPr txBox="1"/>
      </cdr:nvSpPr>
      <cdr:spPr>
        <a:xfrm xmlns:a="http://schemas.openxmlformats.org/drawingml/2006/main">
          <a:off x="0" y="3987062"/>
          <a:ext cx="2094685" cy="26423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b="1" kern="1200" dirty="0">
              <a:solidFill>
                <a:schemeClr val="tx1"/>
              </a:solidFill>
              <a:latin typeface="Century Gothic" panose="020B0502020202020204" pitchFamily="34" charset="0"/>
            </a:rPr>
            <a:t>52 Bank Institutions </a:t>
          </a:r>
          <a:r>
            <a:rPr lang="en-US" sz="1400" b="1" kern="1200" dirty="0">
              <a:solidFill>
                <a:schemeClr val="bg1"/>
              </a:solidFill>
              <a:latin typeface="Century Gothic" panose="020B0502020202020204" pitchFamily="34" charset="0"/>
            </a:rPr>
            <a:t>banks</a:t>
          </a:r>
        </a:p>
      </cdr:txBody>
    </cdr:sp>
  </cdr:relSizeAnchor>
  <cdr:relSizeAnchor xmlns:cdr="http://schemas.openxmlformats.org/drawingml/2006/chartDrawing">
    <cdr:from>
      <cdr:x>0.28266</cdr:x>
      <cdr:y>0.72848</cdr:y>
    </cdr:from>
    <cdr:to>
      <cdr:x>0.40363</cdr:x>
      <cdr:y>0.94011</cdr:y>
    </cdr:to>
    <cdr:pic>
      <cdr:nvPicPr>
        <cdr:cNvPr id="10" name="Picture 9" descr="A group of buildings and stacks of coins&#10;&#10;AI-generated content may be incorrect.">
          <a:extLst xmlns:a="http://schemas.openxmlformats.org/drawingml/2006/main">
            <a:ext uri="{FF2B5EF4-FFF2-40B4-BE49-F238E27FC236}">
              <a16:creationId xmlns:a16="http://schemas.microsoft.com/office/drawing/2014/main" id="{EF545D32-6B2B-88F8-3B00-19D33D8A2C0E}"/>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l="1869" t="1413" r="2117" b="-1"/>
        <a:stretch xmlns:a="http://schemas.openxmlformats.org/drawingml/2006/main"/>
      </cdr:blipFill>
      <cdr:spPr>
        <a:xfrm xmlns:a="http://schemas.openxmlformats.org/drawingml/2006/main">
          <a:off x="2459398" y="3178390"/>
          <a:ext cx="1052548" cy="923357"/>
        </a:xfrm>
        <a:prstGeom xmlns:a="http://schemas.openxmlformats.org/drawingml/2006/main" prst="rect">
          <a:avLst/>
        </a:prstGeom>
      </cdr:spPr>
    </cdr:pic>
  </cdr:relSizeAnchor>
  <cdr:relSizeAnchor xmlns:cdr="http://schemas.openxmlformats.org/drawingml/2006/chartDrawing">
    <cdr:from>
      <cdr:x>0.21709</cdr:x>
      <cdr:y>0.90949</cdr:y>
    </cdr:from>
    <cdr:to>
      <cdr:x>0.46988</cdr:x>
      <cdr:y>0.97922</cdr:y>
    </cdr:to>
    <cdr:sp macro="" textlink="">
      <cdr:nvSpPr>
        <cdr:cNvPr id="11" name="TextBox 10">
          <a:extLst xmlns:a="http://schemas.openxmlformats.org/drawingml/2006/main">
            <a:ext uri="{FF2B5EF4-FFF2-40B4-BE49-F238E27FC236}">
              <a16:creationId xmlns:a16="http://schemas.microsoft.com/office/drawing/2014/main" id="{C2159640-B733-1AB8-9448-D2D90F5F19B9}"/>
            </a:ext>
          </a:extLst>
        </cdr:cNvPr>
        <cdr:cNvSpPr txBox="1"/>
      </cdr:nvSpPr>
      <cdr:spPr>
        <a:xfrm xmlns:a="http://schemas.openxmlformats.org/drawingml/2006/main">
          <a:off x="1888892" y="3968178"/>
          <a:ext cx="2199501" cy="3042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b="1" kern="1200" dirty="0">
              <a:solidFill>
                <a:schemeClr val="tx1"/>
              </a:solidFill>
              <a:latin typeface="Century Gothic" panose="020B0502020202020204" pitchFamily="34" charset="0"/>
            </a:rPr>
            <a:t>69 Non-Bank Institutions</a:t>
          </a:r>
        </a:p>
      </cdr:txBody>
    </cdr:sp>
  </cdr:relSizeAnchor>
  <cdr:relSizeAnchor xmlns:cdr="http://schemas.openxmlformats.org/drawingml/2006/chartDrawing">
    <cdr:from>
      <cdr:x>0.66082</cdr:x>
      <cdr:y>0.35193</cdr:y>
    </cdr:from>
    <cdr:to>
      <cdr:x>0.81209</cdr:x>
      <cdr:y>0.64724</cdr:y>
    </cdr:to>
    <cdr:sp macro="" textlink="">
      <cdr:nvSpPr>
        <cdr:cNvPr id="5" name="TextBox 4">
          <a:extLst xmlns:a="http://schemas.openxmlformats.org/drawingml/2006/main">
            <a:ext uri="{FF2B5EF4-FFF2-40B4-BE49-F238E27FC236}">
              <a16:creationId xmlns:a16="http://schemas.microsoft.com/office/drawing/2014/main" id="{197BA533-9469-8BDA-854C-40DFCCD6BD72}"/>
            </a:ext>
          </a:extLst>
        </cdr:cNvPr>
        <cdr:cNvSpPr txBox="1"/>
      </cdr:nvSpPr>
      <cdr:spPr>
        <a:xfrm xmlns:a="http://schemas.openxmlformats.org/drawingml/2006/main">
          <a:off x="5749760" y="1535496"/>
          <a:ext cx="1316182" cy="12884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800" b="1" kern="1200" dirty="0">
              <a:solidFill>
                <a:schemeClr val="tx1">
                  <a:lumMod val="90000"/>
                  <a:lumOff val="10000"/>
                </a:schemeClr>
              </a:solidFill>
              <a:latin typeface="Calisto MT" panose="02040603050505030304" pitchFamily="18" charset="0"/>
            </a:rPr>
            <a:t>Non-bank Payment Service Providers</a:t>
          </a:r>
        </a:p>
      </cdr:txBody>
    </cdr:sp>
  </cdr:relSizeAnchor>
</c:userShapes>
</file>

<file path=ppt/drawings/drawing2.xml><?xml version="1.0" encoding="utf-8"?>
<c:userShapes xmlns:c="http://schemas.openxmlformats.org/drawingml/2006/chart">
  <cdr:relSizeAnchor xmlns:cdr="http://schemas.openxmlformats.org/drawingml/2006/chartDrawing">
    <cdr:from>
      <cdr:x>0.66399</cdr:x>
      <cdr:y>0.53642</cdr:y>
    </cdr:from>
    <cdr:to>
      <cdr:x>0.80657</cdr:x>
      <cdr:y>0.70442</cdr:y>
    </cdr:to>
    <cdr:sp macro="" textlink="">
      <cdr:nvSpPr>
        <cdr:cNvPr id="2" name="TextBox 8">
          <a:extLst xmlns:a="http://schemas.openxmlformats.org/drawingml/2006/main">
            <a:ext uri="{FF2B5EF4-FFF2-40B4-BE49-F238E27FC236}">
              <a16:creationId xmlns:a16="http://schemas.microsoft.com/office/drawing/2014/main" id="{D3D4F8BD-777D-DA2C-653C-D19EA12E519F}"/>
            </a:ext>
          </a:extLst>
        </cdr:cNvPr>
        <cdr:cNvSpPr txBox="1"/>
      </cdr:nvSpPr>
      <cdr:spPr>
        <a:xfrm xmlns:a="http://schemas.openxmlformats.org/drawingml/2006/main">
          <a:off x="5720145" y="2358587"/>
          <a:ext cx="1228299" cy="73866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r>
            <a:rPr lang="en-US" sz="1000" i="1" dirty="0">
              <a:latin typeface="Century Gothic" panose="020B0502020202020204" pitchFamily="34" charset="0"/>
            </a:rPr>
            <a:t>Growth between 2020 vs 2024</a:t>
          </a:r>
        </a:p>
        <a:p xmlns:a="http://schemas.openxmlformats.org/drawingml/2006/main">
          <a:pPr algn="ctr"/>
          <a:r>
            <a:rPr lang="en-US" sz="1200" b="1" i="1" dirty="0">
              <a:solidFill>
                <a:srgbClr val="FF0000"/>
              </a:solidFill>
              <a:latin typeface="Century Gothic" panose="020B0502020202020204" pitchFamily="34" charset="0"/>
            </a:rPr>
            <a:t>-5%</a:t>
          </a:r>
        </a:p>
      </cdr:txBody>
    </cdr:sp>
  </cdr:relSizeAnchor>
  <cdr:relSizeAnchor xmlns:cdr="http://schemas.openxmlformats.org/drawingml/2006/chartDrawing">
    <cdr:from>
      <cdr:x>0.22421</cdr:x>
      <cdr:y>0.7451</cdr:y>
    </cdr:from>
    <cdr:to>
      <cdr:x>0.39446</cdr:x>
      <cdr:y>0.8781</cdr:y>
    </cdr:to>
    <cdr:sp macro="" textlink="">
      <cdr:nvSpPr>
        <cdr:cNvPr id="3" name="TextBox 8">
          <a:extLst xmlns:a="http://schemas.openxmlformats.org/drawingml/2006/main">
            <a:ext uri="{FF2B5EF4-FFF2-40B4-BE49-F238E27FC236}">
              <a16:creationId xmlns:a16="http://schemas.microsoft.com/office/drawing/2014/main" id="{D3D4F8BD-777D-DA2C-653C-D19EA12E519F}"/>
            </a:ext>
          </a:extLst>
        </cdr:cNvPr>
        <cdr:cNvSpPr txBox="1"/>
      </cdr:nvSpPr>
      <cdr:spPr>
        <a:xfrm xmlns:a="http://schemas.openxmlformats.org/drawingml/2006/main">
          <a:off x="1931524" y="3276135"/>
          <a:ext cx="1466671" cy="58477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r>
            <a:rPr lang="en-US" sz="1000" i="1" dirty="0">
              <a:latin typeface="Century Gothic" panose="020B0502020202020204" pitchFamily="34" charset="0"/>
            </a:rPr>
            <a:t>Growth between 2020 vs 2024</a:t>
          </a:r>
        </a:p>
        <a:p xmlns:a="http://schemas.openxmlformats.org/drawingml/2006/main">
          <a:pPr algn="ctr"/>
          <a:r>
            <a:rPr lang="en-US" sz="1200" b="1" i="1" dirty="0">
              <a:solidFill>
                <a:srgbClr val="FF0000"/>
              </a:solidFill>
              <a:latin typeface="Century Gothic" panose="020B0502020202020204" pitchFamily="34" charset="0"/>
            </a:rPr>
            <a:t>64%</a:t>
          </a:r>
        </a:p>
      </cdr:txBody>
    </cdr:sp>
  </cdr:relSizeAnchor>
</c:userShapes>
</file>

<file path=ppt/drawings/drawing3.xml><?xml version="1.0" encoding="utf-8"?>
<c:userShapes xmlns:c="http://schemas.openxmlformats.org/drawingml/2006/chart">
  <cdr:relSizeAnchor xmlns:cdr="http://schemas.openxmlformats.org/drawingml/2006/chartDrawing">
    <cdr:from>
      <cdr:x>0.03964</cdr:x>
      <cdr:y>0.95245</cdr:y>
    </cdr:from>
    <cdr:to>
      <cdr:x>0.22389</cdr:x>
      <cdr:y>0.98315</cdr:y>
    </cdr:to>
    <cdr:sp macro="" textlink="">
      <cdr:nvSpPr>
        <cdr:cNvPr id="2" name="TextBox 1">
          <a:extLst xmlns:a="http://schemas.openxmlformats.org/drawingml/2006/main">
            <a:ext uri="{FF2B5EF4-FFF2-40B4-BE49-F238E27FC236}">
              <a16:creationId xmlns:a16="http://schemas.microsoft.com/office/drawing/2014/main" id="{444830EB-6A75-65A0-6BCC-8EB74147E4F1}"/>
            </a:ext>
          </a:extLst>
        </cdr:cNvPr>
        <cdr:cNvSpPr txBox="1"/>
      </cdr:nvSpPr>
      <cdr:spPr>
        <a:xfrm xmlns:a="http://schemas.openxmlformats.org/drawingml/2006/main">
          <a:off x="257537" y="4126093"/>
          <a:ext cx="1197033" cy="13300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kern="1200" dirty="0"/>
        </a:p>
      </cdr:txBody>
    </cdr:sp>
  </cdr:relSizeAnchor>
  <cdr:relSizeAnchor xmlns:cdr="http://schemas.openxmlformats.org/drawingml/2006/chartDrawing">
    <cdr:from>
      <cdr:x>0.02557</cdr:x>
      <cdr:y>0.93329</cdr:y>
    </cdr:from>
    <cdr:to>
      <cdr:x>0.27635</cdr:x>
      <cdr:y>0.9774</cdr:y>
    </cdr:to>
    <cdr:sp macro="" textlink="">
      <cdr:nvSpPr>
        <cdr:cNvPr id="3" name="TextBox 2">
          <a:extLst xmlns:a="http://schemas.openxmlformats.org/drawingml/2006/main">
            <a:ext uri="{FF2B5EF4-FFF2-40B4-BE49-F238E27FC236}">
              <a16:creationId xmlns:a16="http://schemas.microsoft.com/office/drawing/2014/main" id="{1C0C0294-6C02-5B5C-64C2-8199E4A7DA11}"/>
            </a:ext>
          </a:extLst>
        </cdr:cNvPr>
        <cdr:cNvSpPr txBox="1"/>
      </cdr:nvSpPr>
      <cdr:spPr>
        <a:xfrm xmlns:a="http://schemas.openxmlformats.org/drawingml/2006/main">
          <a:off x="166097" y="4043097"/>
          <a:ext cx="1629294" cy="1910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b="1" i="1" kern="1200" dirty="0">
              <a:latin typeface="Century Gothic" panose="020B0502020202020204" pitchFamily="34" charset="0"/>
            </a:rPr>
            <a:t>Source: CBK</a:t>
          </a:r>
        </a:p>
      </cdr:txBody>
    </cdr:sp>
  </cdr:relSizeAnchor>
</c:userShapes>
</file>

<file path=ppt/drawings/drawing4.xml><?xml version="1.0" encoding="utf-8"?>
<c:userShapes xmlns:c="http://schemas.openxmlformats.org/drawingml/2006/chart">
  <cdr:relSizeAnchor xmlns:cdr="http://schemas.openxmlformats.org/drawingml/2006/chartDrawing">
    <cdr:from>
      <cdr:x>0.84546</cdr:x>
      <cdr:y>0.09242</cdr:y>
    </cdr:from>
    <cdr:to>
      <cdr:x>0.92466</cdr:x>
      <cdr:y>0.14803</cdr:y>
    </cdr:to>
    <cdr:sp macro="" textlink="">
      <cdr:nvSpPr>
        <cdr:cNvPr id="4" name="TextBox 3">
          <a:extLst xmlns:a="http://schemas.openxmlformats.org/drawingml/2006/main">
            <a:ext uri="{FF2B5EF4-FFF2-40B4-BE49-F238E27FC236}">
              <a16:creationId xmlns:a16="http://schemas.microsoft.com/office/drawing/2014/main" id="{FA59DDC0-D36D-3FE7-EAA5-1F2FA272F9FC}"/>
            </a:ext>
          </a:extLst>
        </cdr:cNvPr>
        <cdr:cNvSpPr txBox="1"/>
      </cdr:nvSpPr>
      <cdr:spPr>
        <a:xfrm xmlns:a="http://schemas.openxmlformats.org/drawingml/2006/main">
          <a:off x="7340183" y="364719"/>
          <a:ext cx="687629" cy="21945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kern="12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671763" y="509588"/>
            <a:ext cx="4529137" cy="25479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987267" y="3228897"/>
            <a:ext cx="7898130" cy="3058953"/>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g35f391192_00:notes"/>
          <p:cNvSpPr>
            <a:spLocks noGrp="1" noRot="1" noChangeAspect="1"/>
          </p:cNvSpPr>
          <p:nvPr>
            <p:ph type="sldImg" idx="2"/>
          </p:nvPr>
        </p:nvSpPr>
        <p:spPr>
          <a:xfrm>
            <a:off x="2671763" y="509588"/>
            <a:ext cx="4529137" cy="25479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 name="Google Shape;55;g35f391192_00:notes"/>
          <p:cNvSpPr txBox="1">
            <a:spLocks noGrp="1"/>
          </p:cNvSpPr>
          <p:nvPr>
            <p:ph type="body" idx="1"/>
          </p:nvPr>
        </p:nvSpPr>
        <p:spPr>
          <a:xfrm>
            <a:off x="987267" y="3228897"/>
            <a:ext cx="7898130" cy="305895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a:extLst>
            <a:ext uri="{FF2B5EF4-FFF2-40B4-BE49-F238E27FC236}">
              <a16:creationId xmlns:a16="http://schemas.microsoft.com/office/drawing/2014/main" id="{9D87B0D8-10BD-1BE6-5318-E1E9F91BA43C}"/>
            </a:ext>
          </a:extLst>
        </p:cNvPr>
        <p:cNvGrpSpPr/>
        <p:nvPr/>
      </p:nvGrpSpPr>
      <p:grpSpPr>
        <a:xfrm>
          <a:off x="0" y="0"/>
          <a:ext cx="0" cy="0"/>
          <a:chOff x="0" y="0"/>
          <a:chExt cx="0" cy="0"/>
        </a:xfrm>
      </p:grpSpPr>
      <p:sp>
        <p:nvSpPr>
          <p:cNvPr id="88" name="Google Shape;88;p:notes">
            <a:extLst>
              <a:ext uri="{FF2B5EF4-FFF2-40B4-BE49-F238E27FC236}">
                <a16:creationId xmlns:a16="http://schemas.microsoft.com/office/drawing/2014/main" id="{0857DC42-C3F4-0535-52C3-429EF893975D}"/>
              </a:ext>
            </a:extLst>
          </p:cNvPr>
          <p:cNvSpPr>
            <a:spLocks noGrp="1" noRot="1" noChangeAspect="1"/>
          </p:cNvSpPr>
          <p:nvPr>
            <p:ph type="sldImg" idx="2"/>
          </p:nvPr>
        </p:nvSpPr>
        <p:spPr>
          <a:xfrm>
            <a:off x="2671763" y="509588"/>
            <a:ext cx="4529137" cy="25479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p:notes">
            <a:extLst>
              <a:ext uri="{FF2B5EF4-FFF2-40B4-BE49-F238E27FC236}">
                <a16:creationId xmlns:a16="http://schemas.microsoft.com/office/drawing/2014/main" id="{87CD69A3-6A73-BC53-4774-7F1B380B57A2}"/>
              </a:ext>
            </a:extLst>
          </p:cNvPr>
          <p:cNvSpPr txBox="1">
            <a:spLocks noGrp="1"/>
          </p:cNvSpPr>
          <p:nvPr>
            <p:ph type="body" idx="1"/>
          </p:nvPr>
        </p:nvSpPr>
        <p:spPr>
          <a:xfrm>
            <a:off x="987267" y="3228897"/>
            <a:ext cx="7898130" cy="305895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400" dirty="0">
                <a:latin typeface="Century Gothic" panose="020B0502020202020204" pitchFamily="34" charset="0"/>
              </a:rPr>
              <a:t>Bank Institutions include:</a:t>
            </a:r>
          </a:p>
          <a:p>
            <a:pPr marL="0" lvl="0" indent="0" algn="l" rtl="0">
              <a:spcBef>
                <a:spcPts val="0"/>
              </a:spcBef>
              <a:spcAft>
                <a:spcPts val="0"/>
              </a:spcAft>
              <a:buNone/>
            </a:pPr>
            <a:r>
              <a:rPr lang="en-US" sz="1400" dirty="0">
                <a:latin typeface="Century Gothic" panose="020B0502020202020204" pitchFamily="34" charset="0"/>
              </a:rPr>
              <a:t>Commercial banks-38</a:t>
            </a:r>
          </a:p>
          <a:p>
            <a:pPr marL="0" lvl="0" indent="0" algn="l" rtl="0">
              <a:spcBef>
                <a:spcPts val="0"/>
              </a:spcBef>
              <a:spcAft>
                <a:spcPts val="0"/>
              </a:spcAft>
              <a:buNone/>
            </a:pPr>
            <a:r>
              <a:rPr lang="en-US" sz="1400" dirty="0">
                <a:latin typeface="Century Gothic" panose="020B0502020202020204" pitchFamily="34" charset="0"/>
              </a:rPr>
              <a:t>MFBs-14</a:t>
            </a:r>
          </a:p>
          <a:p>
            <a:pPr marL="0" lvl="0" indent="0" algn="l" rtl="0">
              <a:spcBef>
                <a:spcPts val="0"/>
              </a:spcBef>
              <a:spcAft>
                <a:spcPts val="0"/>
              </a:spcAft>
              <a:buNone/>
            </a:pPr>
            <a:endParaRPr lang="en-US" sz="1400" dirty="0">
              <a:latin typeface="Century Gothic" panose="020B0502020202020204" pitchFamily="34" charset="0"/>
            </a:endParaRPr>
          </a:p>
          <a:p>
            <a:pPr marL="0" lvl="0" indent="0" algn="l" rtl="0">
              <a:spcBef>
                <a:spcPts val="0"/>
              </a:spcBef>
              <a:spcAft>
                <a:spcPts val="0"/>
              </a:spcAft>
              <a:buNone/>
            </a:pPr>
            <a:r>
              <a:rPr lang="en-US" sz="1400" dirty="0">
                <a:latin typeface="Century Gothic" panose="020B0502020202020204" pitchFamily="34" charset="0"/>
              </a:rPr>
              <a:t>Non-bank institutions include: </a:t>
            </a:r>
          </a:p>
          <a:p>
            <a:pPr marL="0" lvl="0" indent="0" algn="l" rtl="0">
              <a:spcBef>
                <a:spcPts val="0"/>
              </a:spcBef>
              <a:spcAft>
                <a:spcPts val="0"/>
              </a:spcAft>
              <a:buNone/>
            </a:pPr>
            <a:r>
              <a:rPr lang="en-US" sz="1400" dirty="0">
                <a:latin typeface="Century Gothic" panose="020B0502020202020204" pitchFamily="34" charset="0"/>
              </a:rPr>
              <a:t>E-money issuer-8</a:t>
            </a:r>
          </a:p>
          <a:p>
            <a:pPr marL="0" lvl="0" indent="0" algn="l" rtl="0">
              <a:spcBef>
                <a:spcPts val="0"/>
              </a:spcBef>
              <a:spcAft>
                <a:spcPts val="0"/>
              </a:spcAft>
              <a:buNone/>
            </a:pPr>
            <a:r>
              <a:rPr lang="en-US" sz="1400" dirty="0">
                <a:latin typeface="Century Gothic" panose="020B0502020202020204" pitchFamily="34" charset="0"/>
              </a:rPr>
              <a:t>E-Wallet -8</a:t>
            </a:r>
          </a:p>
          <a:p>
            <a:pPr marL="0" lvl="0" indent="0" algn="l" rtl="0">
              <a:spcBef>
                <a:spcPts val="0"/>
              </a:spcBef>
              <a:spcAft>
                <a:spcPts val="0"/>
              </a:spcAft>
              <a:buNone/>
            </a:pPr>
            <a:r>
              <a:rPr lang="en-US" sz="1400" dirty="0">
                <a:latin typeface="Century Gothic" panose="020B0502020202020204" pitchFamily="34" charset="0"/>
              </a:rPr>
              <a:t>Payment Gateway-21</a:t>
            </a:r>
          </a:p>
          <a:p>
            <a:pPr marL="0" lvl="0" indent="0" algn="l" rtl="0">
              <a:spcBef>
                <a:spcPts val="0"/>
              </a:spcBef>
              <a:spcAft>
                <a:spcPts val="0"/>
              </a:spcAft>
              <a:buNone/>
            </a:pPr>
            <a:r>
              <a:rPr lang="en-US" sz="1400" dirty="0">
                <a:latin typeface="Century Gothic" panose="020B0502020202020204" pitchFamily="34" charset="0"/>
              </a:rPr>
              <a:t>Switches-3</a:t>
            </a:r>
          </a:p>
          <a:p>
            <a:pPr marL="0" lvl="0" indent="0" algn="l" rtl="0">
              <a:spcBef>
                <a:spcPts val="0"/>
              </a:spcBef>
              <a:spcAft>
                <a:spcPts val="0"/>
              </a:spcAft>
              <a:buNone/>
            </a:pPr>
            <a:r>
              <a:rPr lang="en-US" sz="1400" dirty="0">
                <a:latin typeface="Century Gothic" panose="020B0502020202020204" pitchFamily="34" charset="0"/>
              </a:rPr>
              <a:t>MRPs-29</a:t>
            </a:r>
          </a:p>
          <a:p>
            <a:pPr marL="0" lvl="0" indent="0" algn="l" rtl="0">
              <a:spcBef>
                <a:spcPts val="0"/>
              </a:spcBef>
              <a:spcAft>
                <a:spcPts val="0"/>
              </a:spcAft>
              <a:buNone/>
            </a:pPr>
            <a:r>
              <a:rPr lang="en-US" sz="1400" dirty="0">
                <a:latin typeface="Century Gothic" panose="020B0502020202020204" pitchFamily="34" charset="0"/>
              </a:rPr>
              <a:t>				</a:t>
            </a:r>
            <a:endParaRPr sz="1400" dirty="0">
              <a:latin typeface="Century Gothic" panose="020B0502020202020204" pitchFamily="34" charset="0"/>
            </a:endParaRPr>
          </a:p>
        </p:txBody>
      </p:sp>
    </p:spTree>
    <p:extLst>
      <p:ext uri="{BB962C8B-B14F-4D97-AF65-F5344CB8AC3E}">
        <p14:creationId xmlns:p14="http://schemas.microsoft.com/office/powerpoint/2010/main" val="1218400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531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7FAB0-0E7F-8452-5CD6-099E11B53F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7A1CF-5312-8330-D58B-5BB5A20F12AA}"/>
              </a:ext>
            </a:extLst>
          </p:cNvPr>
          <p:cNvSpPr>
            <a:spLocks noGrp="1" noRot="1" noChangeAspect="1"/>
          </p:cNvSpPr>
          <p:nvPr>
            <p:ph type="sldImg"/>
          </p:nvPr>
        </p:nvSpPr>
        <p:spPr>
          <a:xfrm>
            <a:off x="2671763" y="509588"/>
            <a:ext cx="4529137" cy="2547937"/>
          </a:xfrm>
        </p:spPr>
        <p:txBody>
          <a:bodyPr/>
          <a:lstStyle/>
          <a:p>
            <a:endParaRPr lang="en-US"/>
          </a:p>
        </p:txBody>
      </p:sp>
      <p:sp>
        <p:nvSpPr>
          <p:cNvPr id="3" name="Notes Placeholder 2">
            <a:extLst>
              <a:ext uri="{FF2B5EF4-FFF2-40B4-BE49-F238E27FC236}">
                <a16:creationId xmlns:a16="http://schemas.microsoft.com/office/drawing/2014/main" id="{D601A371-8E37-5A32-4723-83104E42827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73992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BD4127-0A00-451C-BB4E-F78E0439CA74}" type="slidenum">
              <a:rPr lang="en-US" smtClean="0"/>
              <a:t>14</a:t>
            </a:fld>
            <a:endParaRPr lang="en-US"/>
          </a:p>
        </p:txBody>
      </p:sp>
    </p:spTree>
    <p:extLst>
      <p:ext uri="{BB962C8B-B14F-4D97-AF65-F5344CB8AC3E}">
        <p14:creationId xmlns:p14="http://schemas.microsoft.com/office/powerpoint/2010/main" val="212031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DFA15-D89C-77AC-4576-DB1626AE33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0CE29F-220F-21D0-6830-EC59D89E55B1}"/>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F122D68B-99FA-E2F3-AF59-EDB6170C79C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36696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D2315-93D8-1B22-B97A-8F6ED26D94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617D1D-E324-0E57-D392-7C3FC59EFAA9}"/>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7CCE1C28-51C9-C5FB-89BD-737D4089A9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43800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a:extLst>
              <a:ext uri="{FF2B5EF4-FFF2-40B4-BE49-F238E27FC236}">
                <a16:creationId xmlns:a16="http://schemas.microsoft.com/office/drawing/2014/main" id="{93C889CE-7860-B744-3116-5AA72F2658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a:extLst>
              <a:ext uri="{FF2B5EF4-FFF2-40B4-BE49-F238E27FC236}">
                <a16:creationId xmlns:a16="http://schemas.microsoft.com/office/drawing/2014/main" id="{2C50E22A-32A4-783A-FFF4-4259C8E96B6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Slide Number Placeholder 3">
            <a:extLst>
              <a:ext uri="{FF2B5EF4-FFF2-40B4-BE49-F238E27FC236}">
                <a16:creationId xmlns:a16="http://schemas.microsoft.com/office/drawing/2014/main" id="{EEE5B4C9-ED78-ABF6-62E6-4C98C6DFFD4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fontAlgn="base">
              <a:spcBef>
                <a:spcPct val="0"/>
              </a:spcBef>
              <a:spcAft>
                <a:spcPct val="0"/>
              </a:spcAft>
            </a:pPr>
            <a:fld id="{3BB879F8-15A8-490D-8AAB-6C4004C2C145}" type="slidenum">
              <a:rPr lang="en-US" altLang="en-US" smtClean="0">
                <a:solidFill>
                  <a:srgbClr val="000000"/>
                </a:solidFill>
                <a:latin typeface="Aptos" panose="020B0004020202020204" pitchFamily="34" charset="0"/>
              </a:rPr>
              <a:pPr fontAlgn="base">
                <a:spcBef>
                  <a:spcPct val="0"/>
                </a:spcBef>
                <a:spcAft>
                  <a:spcPct val="0"/>
                </a:spcAft>
              </a:pPr>
              <a:t>18</a:t>
            </a:fld>
            <a:endParaRPr lang="en-US" altLang="en-US">
              <a:solidFill>
                <a:srgbClr val="000000"/>
              </a:solidFill>
              <a:latin typeface="Aptos" panose="020B00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316F7-655F-8F4D-2DC5-C65C6E6130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247991-177A-8374-27FF-9A3EBDF3EFB8}"/>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3F6732D9-0B0A-FC4A-8B85-B953FDFFFC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352916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86929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9087F9-A0D8-44F1-B44F-DE4B68115799}" type="slidenum">
              <a:rPr lang="en-US" smtClean="0"/>
              <a:t>21</a:t>
            </a:fld>
            <a:endParaRPr lang="en-US"/>
          </a:p>
        </p:txBody>
      </p:sp>
    </p:spTree>
    <p:extLst>
      <p:ext uri="{BB962C8B-B14F-4D97-AF65-F5344CB8AC3E}">
        <p14:creationId xmlns:p14="http://schemas.microsoft.com/office/powerpoint/2010/main" val="215185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1105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DDDBC-23EB-20E8-6FCF-D947792BE5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0EB469-9FD3-3748-A287-D04A4EFE7CC3}"/>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973E8AD1-A3C5-92FF-FF87-85C2EB336D6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44667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69980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F76DF-F440-6DE3-EAAB-372A749975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2B4225-4FDE-A59E-747E-0DBEFC42F58C}"/>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F9F8B12D-125F-BCF4-DCAF-298E47BECFD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4854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C13C6-316D-1598-7869-812E14716A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B7A28D-4DDA-3F10-48C0-12EBCF81DB7C}"/>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5C2A9E21-9F87-F938-53A6-EBDB2A644F8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91035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A0295-FA92-114C-696B-39E8BF85A9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4AE8D-5AEF-8CC3-2C1D-9BC57D185C63}"/>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C854FF75-2FCE-E70A-E1CC-EE975785CF0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82237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49A07-9CDF-4FB5-766E-D620EEA354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89D77E-88D6-EF0F-9408-131BC130346C}"/>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22078771-3008-3503-AEB0-2D622ABE106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53216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B47F7-12FD-44C4-8AA6-ED8DE83C1E2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4154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C723A-3BA6-B6B1-7356-29DF463CDA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EDC002-9794-5AB1-F329-5523738CF4C6}"/>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06893DE0-0415-C189-EA31-2B3385ED260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52789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71772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DEF9D-674E-4616-EBCA-6E3DADEEA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EA3CB-089E-412C-8FEB-EC1E1BEB5E2B}"/>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3D18F898-C57A-33A9-0C9C-F2C62CC0982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95628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93301-6A22-2261-FE97-AA1B72A4B8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1CA5E-3464-7C56-0CC3-66BF150FBB52}"/>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7434FC22-A7AB-B7BA-6BB0-017F1517E34D}"/>
              </a:ext>
            </a:extLst>
          </p:cNvPr>
          <p:cNvSpPr>
            <a:spLocks noGrp="1"/>
          </p:cNvSpPr>
          <p:nvPr>
            <p:ph type="body" idx="1"/>
          </p:nvPr>
        </p:nvSpPr>
        <p:spPr/>
        <p:txBody>
          <a:bodyPr/>
          <a:lstStyle/>
          <a:p>
            <a:pPr marL="0" indent="0">
              <a:buNone/>
            </a:pPr>
            <a:endParaRPr lang="en-US">
              <a:solidFill>
                <a:srgbClr val="002060"/>
              </a:solidFill>
            </a:endParaRPr>
          </a:p>
        </p:txBody>
      </p:sp>
      <p:sp>
        <p:nvSpPr>
          <p:cNvPr id="4" name="Slide Number Placeholder 3">
            <a:extLst>
              <a:ext uri="{FF2B5EF4-FFF2-40B4-BE49-F238E27FC236}">
                <a16:creationId xmlns:a16="http://schemas.microsoft.com/office/drawing/2014/main" id="{DE8F0739-BFAD-8331-B7F1-49F4DA1A6465}"/>
              </a:ext>
            </a:extLst>
          </p:cNvPr>
          <p:cNvSpPr>
            <a:spLocks noGrp="1"/>
          </p:cNvSpPr>
          <p:nvPr>
            <p:ph type="sldNum" sz="quarter" idx="5"/>
          </p:nvPr>
        </p:nvSpPr>
        <p:spPr/>
        <p:txBody>
          <a:bodyPr/>
          <a:lstStyle/>
          <a:p>
            <a:fld id="{E6BD4127-0A00-451C-BB4E-F78E0439CA74}" type="slidenum">
              <a:rPr lang="en-US" smtClean="0"/>
              <a:t>3</a:t>
            </a:fld>
            <a:endParaRPr lang="en-US"/>
          </a:p>
        </p:txBody>
      </p:sp>
    </p:spTree>
    <p:extLst>
      <p:ext uri="{BB962C8B-B14F-4D97-AF65-F5344CB8AC3E}">
        <p14:creationId xmlns:p14="http://schemas.microsoft.com/office/powerpoint/2010/main" val="24300387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96915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771892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64773-673E-001F-D54D-EC7BFA7AD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CC182-E820-0089-3E58-10C928A1554D}"/>
              </a:ext>
            </a:extLst>
          </p:cNvPr>
          <p:cNvSpPr>
            <a:spLocks noGrp="1" noRot="1" noChangeAspect="1"/>
          </p:cNvSpPr>
          <p:nvPr>
            <p:ph type="sldImg"/>
          </p:nvPr>
        </p:nvSpPr>
        <p:spPr>
          <a:xfrm>
            <a:off x="2671763" y="509588"/>
            <a:ext cx="4529137" cy="2547937"/>
          </a:xfrm>
        </p:spPr>
        <p:txBody>
          <a:bodyPr/>
          <a:lstStyle/>
          <a:p>
            <a:endParaRPr lang="en-US"/>
          </a:p>
        </p:txBody>
      </p:sp>
      <p:sp>
        <p:nvSpPr>
          <p:cNvPr id="3" name="Notes Placeholder 2">
            <a:extLst>
              <a:ext uri="{FF2B5EF4-FFF2-40B4-BE49-F238E27FC236}">
                <a16:creationId xmlns:a16="http://schemas.microsoft.com/office/drawing/2014/main" id="{651AB973-FA79-92FA-8FE5-C19F43C831A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806270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txBody>
          <a:bodyPr/>
          <a:lstStyle/>
          <a:p>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10589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0FBA8-0938-C457-CC60-5D3CB95342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BED13E-ED05-7562-9051-F5CFA9290212}"/>
              </a:ext>
            </a:extLst>
          </p:cNvPr>
          <p:cNvSpPr>
            <a:spLocks noGrp="1" noRot="1" noChangeAspect="1"/>
          </p:cNvSpPr>
          <p:nvPr>
            <p:ph type="sldImg"/>
          </p:nvPr>
        </p:nvSpPr>
        <p:spPr>
          <a:xfrm>
            <a:off x="2671763" y="509588"/>
            <a:ext cx="4529137" cy="2547937"/>
          </a:xfrm>
        </p:spPr>
        <p:txBody>
          <a:bodyPr/>
          <a:lstStyle/>
          <a:p>
            <a:endParaRPr lang="en-US"/>
          </a:p>
        </p:txBody>
      </p:sp>
      <p:sp>
        <p:nvSpPr>
          <p:cNvPr id="3" name="Notes Placeholder 2">
            <a:extLst>
              <a:ext uri="{FF2B5EF4-FFF2-40B4-BE49-F238E27FC236}">
                <a16:creationId xmlns:a16="http://schemas.microsoft.com/office/drawing/2014/main" id="{9B7703C7-3A40-C7A9-4328-FA1BCE9F459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50969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54BCC-376D-4F9B-BA35-AE7300FF4372}" type="slidenum">
              <a:rPr kumimoji="0" lang="en-KE"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K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302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54BCC-376D-4F9B-BA35-AE7300FF4372}" type="slidenum">
              <a:rPr kumimoji="0" lang="en-KE"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KE"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353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24235-B190-77DB-A047-8D6506DF10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B53FBE-D77D-46A4-ED51-F2CB861BDEC7}"/>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B4E41134-D82F-FCCE-55F3-1236813251C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179288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1415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BC268-B6EF-E29E-703A-284684B734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D72D56-C37F-BE96-E48E-77C96648EFCE}"/>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5A629E35-B652-ECD8-CEE3-E2F591067EA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41357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a:extLst>
            <a:ext uri="{FF2B5EF4-FFF2-40B4-BE49-F238E27FC236}">
              <a16:creationId xmlns:a16="http://schemas.microsoft.com/office/drawing/2014/main" id="{1E2B330D-97C3-8EB3-07B7-8709C2827A9F}"/>
            </a:ext>
          </a:extLst>
        </p:cNvPr>
        <p:cNvGrpSpPr/>
        <p:nvPr/>
      </p:nvGrpSpPr>
      <p:grpSpPr>
        <a:xfrm>
          <a:off x="0" y="0"/>
          <a:ext cx="0" cy="0"/>
          <a:chOff x="0" y="0"/>
          <a:chExt cx="0" cy="0"/>
        </a:xfrm>
      </p:grpSpPr>
      <p:sp>
        <p:nvSpPr>
          <p:cNvPr id="82" name="Google Shape;82;g35f391192_09:notes">
            <a:extLst>
              <a:ext uri="{FF2B5EF4-FFF2-40B4-BE49-F238E27FC236}">
                <a16:creationId xmlns:a16="http://schemas.microsoft.com/office/drawing/2014/main" id="{DCF127EC-3742-B035-D61D-199D327E63CD}"/>
              </a:ext>
            </a:extLst>
          </p:cNvPr>
          <p:cNvSpPr>
            <a:spLocks noGrp="1" noRot="1" noChangeAspect="1"/>
          </p:cNvSpPr>
          <p:nvPr>
            <p:ph type="sldImg" idx="2"/>
          </p:nvPr>
        </p:nvSpPr>
        <p:spPr>
          <a:xfrm>
            <a:off x="2671763" y="509588"/>
            <a:ext cx="4529137" cy="25479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 name="Google Shape;83;g35f391192_09:notes">
            <a:extLst>
              <a:ext uri="{FF2B5EF4-FFF2-40B4-BE49-F238E27FC236}">
                <a16:creationId xmlns:a16="http://schemas.microsoft.com/office/drawing/2014/main" id="{FBC9B1C6-C531-C1C8-47DA-693DF41EF0F7}"/>
              </a:ext>
            </a:extLst>
          </p:cNvPr>
          <p:cNvSpPr txBox="1">
            <a:spLocks noGrp="1"/>
          </p:cNvSpPr>
          <p:nvPr>
            <p:ph type="body" idx="1"/>
          </p:nvPr>
        </p:nvSpPr>
        <p:spPr>
          <a:xfrm>
            <a:off x="987267" y="3228897"/>
            <a:ext cx="7898130" cy="305895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623337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3BD7A-68D6-CE63-7D34-7D8C8946D0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78107C-E20F-5B13-6B73-1DD0B9BB0320}"/>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A8B54222-9302-FABA-200E-153D0B63E0D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031798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KE" dirty="0"/>
          </a:p>
        </p:txBody>
      </p:sp>
      <p:sp>
        <p:nvSpPr>
          <p:cNvPr id="4" name="Slide Number Placeholder 3"/>
          <p:cNvSpPr>
            <a:spLocks noGrp="1"/>
          </p:cNvSpPr>
          <p:nvPr>
            <p:ph type="sldNum" sz="quarter" idx="5"/>
          </p:nvPr>
        </p:nvSpPr>
        <p:spPr/>
        <p:txBody>
          <a:bodyPr/>
          <a:lstStyle/>
          <a:p>
            <a:fld id="{30F7CB6D-3410-455B-B173-1CD752313570}" type="slidenum">
              <a:rPr lang="en-KE" smtClean="0"/>
              <a:t>46</a:t>
            </a:fld>
            <a:endParaRPr lang="en-KE"/>
          </a:p>
        </p:txBody>
      </p:sp>
    </p:spTree>
    <p:extLst>
      <p:ext uri="{BB962C8B-B14F-4D97-AF65-F5344CB8AC3E}">
        <p14:creationId xmlns:p14="http://schemas.microsoft.com/office/powerpoint/2010/main" val="11464262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78150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a:extLst>
            <a:ext uri="{FF2B5EF4-FFF2-40B4-BE49-F238E27FC236}">
              <a16:creationId xmlns:a16="http://schemas.microsoft.com/office/drawing/2014/main" id="{98E0FD55-E2D6-C3E9-4BEF-71FFDE312770}"/>
            </a:ext>
          </a:extLst>
        </p:cNvPr>
        <p:cNvGrpSpPr/>
        <p:nvPr/>
      </p:nvGrpSpPr>
      <p:grpSpPr>
        <a:xfrm>
          <a:off x="0" y="0"/>
          <a:ext cx="0" cy="0"/>
          <a:chOff x="0" y="0"/>
          <a:chExt cx="0" cy="0"/>
        </a:xfrm>
      </p:grpSpPr>
      <p:sp>
        <p:nvSpPr>
          <p:cNvPr id="82" name="Google Shape;82;g35f391192_09:notes">
            <a:extLst>
              <a:ext uri="{FF2B5EF4-FFF2-40B4-BE49-F238E27FC236}">
                <a16:creationId xmlns:a16="http://schemas.microsoft.com/office/drawing/2014/main" id="{5C90BB67-F617-01DA-FE07-C4B4800E9FD6}"/>
              </a:ext>
            </a:extLst>
          </p:cNvPr>
          <p:cNvSpPr>
            <a:spLocks noGrp="1" noRot="1" noChangeAspect="1"/>
          </p:cNvSpPr>
          <p:nvPr>
            <p:ph type="sldImg" idx="2"/>
          </p:nvPr>
        </p:nvSpPr>
        <p:spPr>
          <a:xfrm>
            <a:off x="2671763" y="509588"/>
            <a:ext cx="4529137" cy="25479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 name="Google Shape;83;g35f391192_09:notes">
            <a:extLst>
              <a:ext uri="{FF2B5EF4-FFF2-40B4-BE49-F238E27FC236}">
                <a16:creationId xmlns:a16="http://schemas.microsoft.com/office/drawing/2014/main" id="{A00DADBF-F76F-8D37-8740-76BD6CEC0D5D}"/>
              </a:ext>
            </a:extLst>
          </p:cNvPr>
          <p:cNvSpPr txBox="1">
            <a:spLocks noGrp="1"/>
          </p:cNvSpPr>
          <p:nvPr>
            <p:ph type="body" idx="1"/>
          </p:nvPr>
        </p:nvSpPr>
        <p:spPr>
          <a:xfrm>
            <a:off x="987267" y="3228897"/>
            <a:ext cx="7898130" cy="305895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73827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A747-7D91-F903-315B-1B260D6F87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53CF5-CEC0-921E-D42E-C4051CA855AA}"/>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703BBD5D-664C-49AA-B5E8-60B7DDB7F84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87728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19642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8ED0A-8AFB-358D-F825-3B39E2E97A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2514D4-60AB-1F2E-705E-6CE46111D123}"/>
              </a:ext>
            </a:extLst>
          </p:cNvPr>
          <p:cNvSpPr>
            <a:spLocks noGrp="1" noRot="1" noChangeAspect="1"/>
          </p:cNvSpPr>
          <p:nvPr>
            <p:ph type="sldImg"/>
          </p:nvPr>
        </p:nvSpPr>
        <p:spPr>
          <a:xfrm>
            <a:off x="2671763" y="509588"/>
            <a:ext cx="4529137" cy="2547937"/>
          </a:xfrm>
        </p:spPr>
      </p:sp>
      <p:sp>
        <p:nvSpPr>
          <p:cNvPr id="3" name="Notes Placeholder 2">
            <a:extLst>
              <a:ext uri="{FF2B5EF4-FFF2-40B4-BE49-F238E27FC236}">
                <a16:creationId xmlns:a16="http://schemas.microsoft.com/office/drawing/2014/main" id="{D0A7A099-F0C4-D597-E467-B500B05DB99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12D8DE-9049-2363-FB6A-25E6AF532E77}"/>
              </a:ext>
            </a:extLst>
          </p:cNvPr>
          <p:cNvSpPr>
            <a:spLocks noGrp="1"/>
          </p:cNvSpPr>
          <p:nvPr>
            <p:ph type="sldNum" sz="quarter" idx="5"/>
          </p:nvPr>
        </p:nvSpPr>
        <p:spPr/>
        <p:txBody>
          <a:bodyPr/>
          <a:lstStyle/>
          <a:p>
            <a:fld id="{E6BD4127-0A00-451C-BB4E-F78E0439CA74}" type="slidenum">
              <a:rPr lang="en-US" smtClean="0"/>
              <a:t>9</a:t>
            </a:fld>
            <a:endParaRPr lang="en-US"/>
          </a:p>
        </p:txBody>
      </p:sp>
    </p:spTree>
    <p:extLst>
      <p:ext uri="{BB962C8B-B14F-4D97-AF65-F5344CB8AC3E}">
        <p14:creationId xmlns:p14="http://schemas.microsoft.com/office/powerpoint/2010/main" val="2282900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29137" cy="25479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195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4.bin"/><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10" name="Google Shape;10;p2"/>
          <p:cNvSpPr/>
          <p:nvPr/>
        </p:nvSpPr>
        <p:spPr>
          <a:xfrm>
            <a:off x="-1" y="234877"/>
            <a:ext cx="9144000" cy="4673746"/>
          </a:xfrm>
          <a:custGeom>
            <a:avLst/>
            <a:gdLst/>
            <a:ahLst/>
            <a:cxnLst/>
            <a:rect l="l" t="t" r="r" b="b"/>
            <a:pathLst>
              <a:path w="12192000" h="6231661" extrusionOk="0">
                <a:moveTo>
                  <a:pt x="7054215" y="5030816"/>
                </a:moveTo>
                <a:cubicBezTo>
                  <a:pt x="7070725" y="5002241"/>
                  <a:pt x="7025640" y="4976206"/>
                  <a:pt x="7009131" y="5005416"/>
                </a:cubicBezTo>
                <a:cubicBezTo>
                  <a:pt x="6992620" y="5034626"/>
                  <a:pt x="7037706" y="5060661"/>
                  <a:pt x="7054215" y="5030816"/>
                </a:cubicBezTo>
                <a:close/>
                <a:moveTo>
                  <a:pt x="7033260" y="4776181"/>
                </a:moveTo>
                <a:cubicBezTo>
                  <a:pt x="7054850" y="4776816"/>
                  <a:pt x="7061835" y="4745066"/>
                  <a:pt x="7042150" y="4736176"/>
                </a:cubicBezTo>
                <a:cubicBezTo>
                  <a:pt x="7011035" y="4722841"/>
                  <a:pt x="6999606" y="4775546"/>
                  <a:pt x="7033260" y="4776181"/>
                </a:cubicBezTo>
                <a:close/>
                <a:moveTo>
                  <a:pt x="6729731" y="4597111"/>
                </a:moveTo>
                <a:cubicBezTo>
                  <a:pt x="6715760" y="4620606"/>
                  <a:pt x="6752590" y="4641561"/>
                  <a:pt x="6765925" y="4618066"/>
                </a:cubicBezTo>
                <a:cubicBezTo>
                  <a:pt x="6779260" y="4594571"/>
                  <a:pt x="6742431" y="4572981"/>
                  <a:pt x="6729731" y="4597111"/>
                </a:cubicBezTo>
                <a:close/>
                <a:moveTo>
                  <a:pt x="6717665" y="4788246"/>
                </a:moveTo>
                <a:cubicBezTo>
                  <a:pt x="6690360" y="4768561"/>
                  <a:pt x="6660515" y="4811741"/>
                  <a:pt x="6688456" y="4830156"/>
                </a:cubicBezTo>
                <a:cubicBezTo>
                  <a:pt x="6715125" y="4850476"/>
                  <a:pt x="6745606" y="4807296"/>
                  <a:pt x="6717665" y="4788246"/>
                </a:cubicBezTo>
                <a:close/>
                <a:moveTo>
                  <a:pt x="7188200" y="4799676"/>
                </a:moveTo>
                <a:cubicBezTo>
                  <a:pt x="7163435" y="4789516"/>
                  <a:pt x="7147560" y="4828886"/>
                  <a:pt x="7172960" y="4838411"/>
                </a:cubicBezTo>
                <a:cubicBezTo>
                  <a:pt x="7197725" y="4848571"/>
                  <a:pt x="7213600" y="4809201"/>
                  <a:pt x="7188200" y="4799676"/>
                </a:cubicBezTo>
                <a:close/>
                <a:moveTo>
                  <a:pt x="6718300" y="4929851"/>
                </a:moveTo>
                <a:cubicBezTo>
                  <a:pt x="6689725" y="4906991"/>
                  <a:pt x="6654800" y="4952711"/>
                  <a:pt x="6684010" y="4974936"/>
                </a:cubicBezTo>
                <a:lnTo>
                  <a:pt x="6684010" y="4974936"/>
                </a:lnTo>
                <a:cubicBezTo>
                  <a:pt x="6712585" y="4997796"/>
                  <a:pt x="6747510" y="4952076"/>
                  <a:pt x="6718300" y="4929851"/>
                </a:cubicBezTo>
                <a:close/>
                <a:moveTo>
                  <a:pt x="7124700" y="4922231"/>
                </a:moveTo>
                <a:cubicBezTo>
                  <a:pt x="7111365" y="4949536"/>
                  <a:pt x="7154545" y="4969221"/>
                  <a:pt x="7167245" y="4941916"/>
                </a:cubicBezTo>
                <a:cubicBezTo>
                  <a:pt x="7179945" y="4914611"/>
                  <a:pt x="7136765" y="4894926"/>
                  <a:pt x="7124700" y="4922231"/>
                </a:cubicBezTo>
                <a:close/>
                <a:moveTo>
                  <a:pt x="7180581" y="5097491"/>
                </a:moveTo>
                <a:cubicBezTo>
                  <a:pt x="7165975" y="5127336"/>
                  <a:pt x="7212965" y="5150196"/>
                  <a:pt x="7226935" y="5119716"/>
                </a:cubicBezTo>
                <a:cubicBezTo>
                  <a:pt x="7242175" y="5089871"/>
                  <a:pt x="7195185" y="5067011"/>
                  <a:pt x="7180581" y="5097491"/>
                </a:cubicBezTo>
                <a:close/>
                <a:moveTo>
                  <a:pt x="7085965" y="5362286"/>
                </a:moveTo>
                <a:cubicBezTo>
                  <a:pt x="7040881" y="5336251"/>
                  <a:pt x="7018020" y="5417531"/>
                  <a:pt x="7069456" y="5418801"/>
                </a:cubicBezTo>
                <a:cubicBezTo>
                  <a:pt x="7099300" y="5420071"/>
                  <a:pt x="7112635" y="5377526"/>
                  <a:pt x="7085965" y="5362286"/>
                </a:cubicBezTo>
                <a:close/>
                <a:moveTo>
                  <a:pt x="7025640" y="5177501"/>
                </a:moveTo>
                <a:cubicBezTo>
                  <a:pt x="7001510" y="5247986"/>
                  <a:pt x="7118350" y="5218776"/>
                  <a:pt x="7064375" y="5167976"/>
                </a:cubicBezTo>
                <a:cubicBezTo>
                  <a:pt x="7064375" y="5167976"/>
                  <a:pt x="7064375" y="5167976"/>
                  <a:pt x="7064375" y="5167976"/>
                </a:cubicBezTo>
                <a:cubicBezTo>
                  <a:pt x="7051040" y="5160356"/>
                  <a:pt x="7033260" y="5164166"/>
                  <a:pt x="7025640" y="5177501"/>
                </a:cubicBezTo>
                <a:close/>
                <a:moveTo>
                  <a:pt x="7226935" y="4991446"/>
                </a:moveTo>
                <a:cubicBezTo>
                  <a:pt x="7251065" y="4992081"/>
                  <a:pt x="7259320" y="4955886"/>
                  <a:pt x="7235825" y="4946361"/>
                </a:cubicBezTo>
                <a:cubicBezTo>
                  <a:pt x="7208520" y="4934296"/>
                  <a:pt x="7189470" y="4977476"/>
                  <a:pt x="7217410" y="4989541"/>
                </a:cubicBezTo>
                <a:lnTo>
                  <a:pt x="7217410" y="4989541"/>
                </a:lnTo>
                <a:cubicBezTo>
                  <a:pt x="7220585" y="4990811"/>
                  <a:pt x="7223760" y="4991446"/>
                  <a:pt x="7226935" y="4991446"/>
                </a:cubicBezTo>
                <a:close/>
                <a:moveTo>
                  <a:pt x="6997065" y="5580726"/>
                </a:moveTo>
                <a:cubicBezTo>
                  <a:pt x="7031990" y="5605491"/>
                  <a:pt x="7070090" y="5549611"/>
                  <a:pt x="7034531" y="5525481"/>
                </a:cubicBezTo>
                <a:cubicBezTo>
                  <a:pt x="6998970" y="5501351"/>
                  <a:pt x="6961506" y="5557231"/>
                  <a:pt x="6997065" y="5580726"/>
                </a:cubicBezTo>
                <a:close/>
                <a:moveTo>
                  <a:pt x="6925310" y="4955886"/>
                </a:moveTo>
                <a:cubicBezTo>
                  <a:pt x="6903085" y="5020021"/>
                  <a:pt x="7010400" y="4993351"/>
                  <a:pt x="6960870" y="4946996"/>
                </a:cubicBezTo>
                <a:cubicBezTo>
                  <a:pt x="6960870" y="4946996"/>
                  <a:pt x="6960870" y="4946996"/>
                  <a:pt x="6960870" y="4946996"/>
                </a:cubicBezTo>
                <a:cubicBezTo>
                  <a:pt x="6948806" y="4940011"/>
                  <a:pt x="6932931" y="4943821"/>
                  <a:pt x="6925310" y="4955886"/>
                </a:cubicBezTo>
                <a:close/>
                <a:moveTo>
                  <a:pt x="6798310" y="5432136"/>
                </a:moveTo>
                <a:cubicBezTo>
                  <a:pt x="6831331" y="5460076"/>
                  <a:pt x="6873875" y="5407371"/>
                  <a:pt x="6840220" y="5380701"/>
                </a:cubicBezTo>
                <a:cubicBezTo>
                  <a:pt x="6807200" y="5353396"/>
                  <a:pt x="6764020" y="5406101"/>
                  <a:pt x="6798310" y="5432136"/>
                </a:cubicBezTo>
                <a:close/>
                <a:moveTo>
                  <a:pt x="7155181" y="5220681"/>
                </a:moveTo>
                <a:cubicBezTo>
                  <a:pt x="7123431" y="5202901"/>
                  <a:pt x="7095490" y="5253066"/>
                  <a:pt x="7127875" y="5270211"/>
                </a:cubicBezTo>
                <a:cubicBezTo>
                  <a:pt x="7159625" y="5287991"/>
                  <a:pt x="7187565" y="5237826"/>
                  <a:pt x="7155181" y="5220681"/>
                </a:cubicBezTo>
                <a:close/>
                <a:moveTo>
                  <a:pt x="6863081" y="5284181"/>
                </a:moveTo>
                <a:cubicBezTo>
                  <a:pt x="6894831" y="5308311"/>
                  <a:pt x="6931660" y="5258146"/>
                  <a:pt x="6899275" y="5234651"/>
                </a:cubicBezTo>
                <a:cubicBezTo>
                  <a:pt x="6867525" y="5211156"/>
                  <a:pt x="6830060" y="5261321"/>
                  <a:pt x="6863081" y="5284181"/>
                </a:cubicBezTo>
                <a:close/>
                <a:moveTo>
                  <a:pt x="6896100" y="5508971"/>
                </a:moveTo>
                <a:cubicBezTo>
                  <a:pt x="6929756" y="5535006"/>
                  <a:pt x="6971031" y="5481031"/>
                  <a:pt x="6936106" y="5455631"/>
                </a:cubicBezTo>
                <a:cubicBezTo>
                  <a:pt x="6901815" y="5429596"/>
                  <a:pt x="6861175" y="5483571"/>
                  <a:pt x="6896100" y="5508971"/>
                </a:cubicBezTo>
                <a:close/>
                <a:moveTo>
                  <a:pt x="6936106" y="5120986"/>
                </a:moveTo>
                <a:cubicBezTo>
                  <a:pt x="6915785" y="5151466"/>
                  <a:pt x="6964045" y="5182581"/>
                  <a:pt x="6983731" y="5151466"/>
                </a:cubicBezTo>
                <a:cubicBezTo>
                  <a:pt x="7004050" y="5120986"/>
                  <a:pt x="6955790" y="5089871"/>
                  <a:pt x="6936106" y="5120986"/>
                </a:cubicBezTo>
                <a:close/>
                <a:moveTo>
                  <a:pt x="6771006" y="5214331"/>
                </a:moveTo>
                <a:cubicBezTo>
                  <a:pt x="6801485" y="5239096"/>
                  <a:pt x="6840856" y="5190201"/>
                  <a:pt x="6809106" y="5166071"/>
                </a:cubicBezTo>
                <a:cubicBezTo>
                  <a:pt x="6777990" y="5141306"/>
                  <a:pt x="6739256" y="5190836"/>
                  <a:pt x="6771006" y="5214331"/>
                </a:cubicBezTo>
                <a:close/>
                <a:moveTo>
                  <a:pt x="6701156" y="5149561"/>
                </a:moveTo>
                <a:cubicBezTo>
                  <a:pt x="6729095" y="5150831"/>
                  <a:pt x="6743065" y="5112096"/>
                  <a:pt x="6720840" y="5094951"/>
                </a:cubicBezTo>
                <a:cubicBezTo>
                  <a:pt x="6676390" y="5061931"/>
                  <a:pt x="6645910" y="5147021"/>
                  <a:pt x="6701156" y="5149561"/>
                </a:cubicBezTo>
                <a:close/>
                <a:moveTo>
                  <a:pt x="6957060" y="5351491"/>
                </a:moveTo>
                <a:cubicBezTo>
                  <a:pt x="6989445" y="5374351"/>
                  <a:pt x="7025006" y="5322916"/>
                  <a:pt x="6991985" y="5300691"/>
                </a:cubicBezTo>
                <a:cubicBezTo>
                  <a:pt x="6958965" y="5277831"/>
                  <a:pt x="6923406" y="5329266"/>
                  <a:pt x="6957060" y="5351491"/>
                </a:cubicBezTo>
                <a:close/>
                <a:moveTo>
                  <a:pt x="8018781" y="4742526"/>
                </a:moveTo>
                <a:cubicBezTo>
                  <a:pt x="8039735" y="4742526"/>
                  <a:pt x="8039100" y="4709506"/>
                  <a:pt x="8017510" y="4710776"/>
                </a:cubicBezTo>
                <a:cubicBezTo>
                  <a:pt x="7997825" y="4712046"/>
                  <a:pt x="7999095" y="4743161"/>
                  <a:pt x="8018781" y="4742526"/>
                </a:cubicBezTo>
                <a:close/>
                <a:moveTo>
                  <a:pt x="6724650" y="5361016"/>
                </a:moveTo>
                <a:cubicBezTo>
                  <a:pt x="6753860" y="5362286"/>
                  <a:pt x="6769735" y="5321646"/>
                  <a:pt x="6746240" y="5302596"/>
                </a:cubicBezTo>
                <a:cubicBezTo>
                  <a:pt x="6697981" y="5266401"/>
                  <a:pt x="6664325" y="5357206"/>
                  <a:pt x="6724650" y="5361016"/>
                </a:cubicBezTo>
                <a:close/>
                <a:moveTo>
                  <a:pt x="7102475" y="5648036"/>
                </a:moveTo>
                <a:cubicBezTo>
                  <a:pt x="7138670" y="5670896"/>
                  <a:pt x="7173595" y="5612476"/>
                  <a:pt x="7136765" y="5590886"/>
                </a:cubicBezTo>
                <a:cubicBezTo>
                  <a:pt x="7099935" y="5568026"/>
                  <a:pt x="7065010" y="5626446"/>
                  <a:pt x="7102475" y="5648036"/>
                </a:cubicBezTo>
                <a:close/>
                <a:moveTo>
                  <a:pt x="6951345" y="4739351"/>
                </a:moveTo>
                <a:cubicBezTo>
                  <a:pt x="6975475" y="4751416"/>
                  <a:pt x="6994525" y="4713316"/>
                  <a:pt x="6969760" y="4701886"/>
                </a:cubicBezTo>
                <a:cubicBezTo>
                  <a:pt x="6945631" y="4689821"/>
                  <a:pt x="6927215" y="4727921"/>
                  <a:pt x="6951345" y="4739351"/>
                </a:cubicBezTo>
                <a:close/>
                <a:moveTo>
                  <a:pt x="6957695" y="4619336"/>
                </a:moveTo>
                <a:cubicBezTo>
                  <a:pt x="6948170" y="4640926"/>
                  <a:pt x="6981825" y="4656166"/>
                  <a:pt x="6991350" y="4633941"/>
                </a:cubicBezTo>
                <a:cubicBezTo>
                  <a:pt x="7000875" y="4612986"/>
                  <a:pt x="6966585" y="4597746"/>
                  <a:pt x="6957695" y="4619336"/>
                </a:cubicBezTo>
                <a:close/>
                <a:moveTo>
                  <a:pt x="7018656" y="4577426"/>
                </a:moveTo>
                <a:cubicBezTo>
                  <a:pt x="7037706" y="4585046"/>
                  <a:pt x="7049135" y="4554566"/>
                  <a:pt x="7030085" y="4547581"/>
                </a:cubicBezTo>
                <a:cubicBezTo>
                  <a:pt x="7010400" y="4540596"/>
                  <a:pt x="6998970" y="4570441"/>
                  <a:pt x="7018656" y="4577426"/>
                </a:cubicBezTo>
                <a:close/>
                <a:moveTo>
                  <a:pt x="7094220" y="5053041"/>
                </a:moveTo>
                <a:cubicBezTo>
                  <a:pt x="7078345" y="5082251"/>
                  <a:pt x="7124700" y="5107016"/>
                  <a:pt x="7139940" y="5077171"/>
                </a:cubicBezTo>
                <a:cubicBezTo>
                  <a:pt x="7155815" y="5047326"/>
                  <a:pt x="7109460" y="5023196"/>
                  <a:pt x="7094220" y="5053041"/>
                </a:cubicBezTo>
                <a:close/>
                <a:moveTo>
                  <a:pt x="6965950" y="4842221"/>
                </a:moveTo>
                <a:cubicBezTo>
                  <a:pt x="6951345" y="4868891"/>
                  <a:pt x="6993256" y="4891116"/>
                  <a:pt x="7007225" y="4863811"/>
                </a:cubicBezTo>
                <a:cubicBezTo>
                  <a:pt x="7021831" y="4837141"/>
                  <a:pt x="6979920" y="4814916"/>
                  <a:pt x="6965950" y="4842221"/>
                </a:cubicBezTo>
                <a:close/>
                <a:moveTo>
                  <a:pt x="7078345" y="4599651"/>
                </a:moveTo>
                <a:cubicBezTo>
                  <a:pt x="7097395" y="4606636"/>
                  <a:pt x="7108825" y="4576156"/>
                  <a:pt x="7089140" y="4569806"/>
                </a:cubicBezTo>
                <a:cubicBezTo>
                  <a:pt x="7069456" y="4562186"/>
                  <a:pt x="7059295" y="4592666"/>
                  <a:pt x="7078345" y="4599651"/>
                </a:cubicBezTo>
                <a:close/>
                <a:moveTo>
                  <a:pt x="7023735" y="4648546"/>
                </a:moveTo>
                <a:cubicBezTo>
                  <a:pt x="7014210" y="4670136"/>
                  <a:pt x="7048500" y="4684741"/>
                  <a:pt x="7057390" y="4662516"/>
                </a:cubicBezTo>
                <a:cubicBezTo>
                  <a:pt x="7066915" y="4640291"/>
                  <a:pt x="7031990" y="4626321"/>
                  <a:pt x="7023735" y="4648546"/>
                </a:cubicBezTo>
                <a:close/>
                <a:moveTo>
                  <a:pt x="7044690" y="4883496"/>
                </a:moveTo>
                <a:cubicBezTo>
                  <a:pt x="7030720" y="4910166"/>
                  <a:pt x="7073265" y="4931756"/>
                  <a:pt x="7086600" y="4904451"/>
                </a:cubicBezTo>
                <a:cubicBezTo>
                  <a:pt x="7100570" y="4877146"/>
                  <a:pt x="7058025" y="4856191"/>
                  <a:pt x="7044690" y="4883496"/>
                </a:cubicBezTo>
                <a:close/>
                <a:moveTo>
                  <a:pt x="6841490" y="4504401"/>
                </a:moveTo>
                <a:cubicBezTo>
                  <a:pt x="6859906" y="4513291"/>
                  <a:pt x="6873240" y="4483446"/>
                  <a:pt x="6854190" y="4475191"/>
                </a:cubicBezTo>
                <a:cubicBezTo>
                  <a:pt x="6835775" y="4466936"/>
                  <a:pt x="6822440" y="4496781"/>
                  <a:pt x="6841490" y="4504401"/>
                </a:cubicBezTo>
                <a:close/>
                <a:moveTo>
                  <a:pt x="6799581" y="4636481"/>
                </a:moveTo>
                <a:cubicBezTo>
                  <a:pt x="6786245" y="4659976"/>
                  <a:pt x="6823075" y="4680296"/>
                  <a:pt x="6836410" y="4656801"/>
                </a:cubicBezTo>
                <a:cubicBezTo>
                  <a:pt x="6849110" y="4633306"/>
                  <a:pt x="6812281" y="4612351"/>
                  <a:pt x="6799581" y="4636481"/>
                </a:cubicBezTo>
                <a:close/>
                <a:moveTo>
                  <a:pt x="6835775" y="4582506"/>
                </a:moveTo>
                <a:cubicBezTo>
                  <a:pt x="6856731" y="4593301"/>
                  <a:pt x="6873240" y="4559646"/>
                  <a:pt x="6851650" y="4549486"/>
                </a:cubicBezTo>
                <a:cubicBezTo>
                  <a:pt x="6830695" y="4539326"/>
                  <a:pt x="6814185" y="4572981"/>
                  <a:pt x="6835775" y="4582506"/>
                </a:cubicBezTo>
                <a:close/>
                <a:moveTo>
                  <a:pt x="6920231" y="4790151"/>
                </a:moveTo>
                <a:cubicBezTo>
                  <a:pt x="6894195" y="4774911"/>
                  <a:pt x="6870700" y="4816186"/>
                  <a:pt x="6897370" y="4830791"/>
                </a:cubicBezTo>
                <a:cubicBezTo>
                  <a:pt x="6922770" y="4845396"/>
                  <a:pt x="6946900" y="4804121"/>
                  <a:pt x="6920231" y="4790151"/>
                </a:cubicBezTo>
                <a:close/>
                <a:moveTo>
                  <a:pt x="6783706" y="4477731"/>
                </a:moveTo>
                <a:lnTo>
                  <a:pt x="6783706" y="4477731"/>
                </a:lnTo>
                <a:cubicBezTo>
                  <a:pt x="6802120" y="4486621"/>
                  <a:pt x="6816090" y="4457411"/>
                  <a:pt x="6797040" y="4449156"/>
                </a:cubicBezTo>
                <a:cubicBezTo>
                  <a:pt x="6778625" y="4440266"/>
                  <a:pt x="6764656" y="4469476"/>
                  <a:pt x="6783706" y="4477731"/>
                </a:cubicBezTo>
                <a:close/>
                <a:moveTo>
                  <a:pt x="7090410" y="4675216"/>
                </a:moveTo>
                <a:cubicBezTo>
                  <a:pt x="7081520" y="4697441"/>
                  <a:pt x="7116445" y="4710776"/>
                  <a:pt x="7124700" y="4688551"/>
                </a:cubicBezTo>
                <a:cubicBezTo>
                  <a:pt x="7132956" y="4666326"/>
                  <a:pt x="7098031" y="4652991"/>
                  <a:pt x="7090410" y="4675216"/>
                </a:cubicBezTo>
                <a:close/>
                <a:moveTo>
                  <a:pt x="6899910" y="4529801"/>
                </a:moveTo>
                <a:cubicBezTo>
                  <a:pt x="6918325" y="4538056"/>
                  <a:pt x="6931660" y="4508211"/>
                  <a:pt x="6911975" y="4500591"/>
                </a:cubicBezTo>
                <a:cubicBezTo>
                  <a:pt x="6893560" y="4492336"/>
                  <a:pt x="6880860" y="4522181"/>
                  <a:pt x="6899910" y="4529801"/>
                </a:cubicBezTo>
                <a:close/>
                <a:moveTo>
                  <a:pt x="6878956" y="4703156"/>
                </a:moveTo>
                <a:cubicBezTo>
                  <a:pt x="6902450" y="4715856"/>
                  <a:pt x="6922135" y="4678391"/>
                  <a:pt x="6898006" y="4666326"/>
                </a:cubicBezTo>
                <a:cubicBezTo>
                  <a:pt x="6874510" y="4652991"/>
                  <a:pt x="6854825" y="4690456"/>
                  <a:pt x="6878956" y="4703156"/>
                </a:cubicBezTo>
                <a:close/>
                <a:moveTo>
                  <a:pt x="6925310" y="4605366"/>
                </a:moveTo>
                <a:cubicBezTo>
                  <a:pt x="6935470" y="4583776"/>
                  <a:pt x="6901815" y="4567901"/>
                  <a:pt x="6892290" y="4590126"/>
                </a:cubicBezTo>
                <a:cubicBezTo>
                  <a:pt x="6881495" y="4611081"/>
                  <a:pt x="6915785" y="4626956"/>
                  <a:pt x="6925310" y="4605366"/>
                </a:cubicBezTo>
                <a:close/>
                <a:moveTo>
                  <a:pt x="6958965" y="4554566"/>
                </a:moveTo>
                <a:cubicBezTo>
                  <a:pt x="6978015" y="4562821"/>
                  <a:pt x="6990081" y="4532341"/>
                  <a:pt x="6971031" y="4525356"/>
                </a:cubicBezTo>
                <a:cubicBezTo>
                  <a:pt x="6951981" y="4517101"/>
                  <a:pt x="6939915" y="4546946"/>
                  <a:pt x="6958965" y="4554566"/>
                </a:cubicBezTo>
                <a:close/>
                <a:moveTo>
                  <a:pt x="7275195" y="4854921"/>
                </a:moveTo>
                <a:cubicBezTo>
                  <a:pt x="7283450" y="4800946"/>
                  <a:pt x="7201535" y="4838411"/>
                  <a:pt x="7248525" y="4866986"/>
                </a:cubicBezTo>
                <a:lnTo>
                  <a:pt x="7248525" y="4866986"/>
                </a:lnTo>
                <a:cubicBezTo>
                  <a:pt x="7259320" y="4871431"/>
                  <a:pt x="7271385" y="4865716"/>
                  <a:pt x="7275195" y="4854921"/>
                </a:cubicBezTo>
                <a:close/>
                <a:moveTo>
                  <a:pt x="7282815" y="5172421"/>
                </a:moveTo>
                <a:cubicBezTo>
                  <a:pt x="7313295" y="5186391"/>
                  <a:pt x="7334250" y="5138131"/>
                  <a:pt x="7303135" y="5124796"/>
                </a:cubicBezTo>
                <a:cubicBezTo>
                  <a:pt x="7272656" y="5111461"/>
                  <a:pt x="7251700" y="5159721"/>
                  <a:pt x="7282815" y="5172421"/>
                </a:cubicBezTo>
                <a:close/>
                <a:moveTo>
                  <a:pt x="7260590" y="5306406"/>
                </a:moveTo>
                <a:cubicBezTo>
                  <a:pt x="7277100" y="5274021"/>
                  <a:pt x="7225665" y="5248621"/>
                  <a:pt x="7209790" y="5281641"/>
                </a:cubicBezTo>
                <a:cubicBezTo>
                  <a:pt x="7193281" y="5314026"/>
                  <a:pt x="7244715" y="5340061"/>
                  <a:pt x="7260590" y="5306406"/>
                </a:cubicBezTo>
                <a:close/>
                <a:moveTo>
                  <a:pt x="7322820" y="4673311"/>
                </a:moveTo>
                <a:cubicBezTo>
                  <a:pt x="7342506" y="4678391"/>
                  <a:pt x="7350760" y="4647276"/>
                  <a:pt x="7330440" y="4642196"/>
                </a:cubicBezTo>
                <a:cubicBezTo>
                  <a:pt x="7310756" y="4637116"/>
                  <a:pt x="7303135" y="4668231"/>
                  <a:pt x="7322820" y="4673311"/>
                </a:cubicBezTo>
                <a:close/>
                <a:moveTo>
                  <a:pt x="7312025" y="4867621"/>
                </a:moveTo>
                <a:cubicBezTo>
                  <a:pt x="7303135" y="4893021"/>
                  <a:pt x="7343140" y="4906356"/>
                  <a:pt x="7351395" y="4880956"/>
                </a:cubicBezTo>
                <a:cubicBezTo>
                  <a:pt x="7360285" y="4855556"/>
                  <a:pt x="7320281" y="4842221"/>
                  <a:pt x="7312025" y="4867621"/>
                </a:cubicBezTo>
                <a:close/>
                <a:moveTo>
                  <a:pt x="6767831" y="4699346"/>
                </a:moveTo>
                <a:cubicBezTo>
                  <a:pt x="6742431" y="4682836"/>
                  <a:pt x="6717665" y="4723476"/>
                  <a:pt x="6743065" y="4738716"/>
                </a:cubicBezTo>
                <a:cubicBezTo>
                  <a:pt x="6769100" y="4755226"/>
                  <a:pt x="6793865" y="4715221"/>
                  <a:pt x="6767831" y="4699346"/>
                </a:cubicBezTo>
                <a:close/>
                <a:moveTo>
                  <a:pt x="7183120" y="5419436"/>
                </a:moveTo>
                <a:cubicBezTo>
                  <a:pt x="7138035" y="5395941"/>
                  <a:pt x="7117715" y="5475951"/>
                  <a:pt x="7167881" y="5477221"/>
                </a:cubicBezTo>
                <a:cubicBezTo>
                  <a:pt x="7198995" y="5478491"/>
                  <a:pt x="7211060" y="5434041"/>
                  <a:pt x="7183120" y="5419436"/>
                </a:cubicBezTo>
                <a:close/>
                <a:moveTo>
                  <a:pt x="7211695" y="5708361"/>
                </a:moveTo>
                <a:cubicBezTo>
                  <a:pt x="7249795" y="5728046"/>
                  <a:pt x="7280275" y="5668356"/>
                  <a:pt x="7241540" y="5649306"/>
                </a:cubicBezTo>
                <a:cubicBezTo>
                  <a:pt x="7203440" y="5628986"/>
                  <a:pt x="7172960" y="5689311"/>
                  <a:pt x="7211695" y="5708361"/>
                </a:cubicBezTo>
                <a:close/>
                <a:moveTo>
                  <a:pt x="7199631" y="4639021"/>
                </a:moveTo>
                <a:cubicBezTo>
                  <a:pt x="7219315" y="4645371"/>
                  <a:pt x="7228840" y="4614256"/>
                  <a:pt x="7208520" y="4608541"/>
                </a:cubicBezTo>
                <a:cubicBezTo>
                  <a:pt x="7189470" y="4602191"/>
                  <a:pt x="7179945" y="4633306"/>
                  <a:pt x="7199631" y="4639021"/>
                </a:cubicBezTo>
                <a:close/>
                <a:moveTo>
                  <a:pt x="7168515" y="4724111"/>
                </a:moveTo>
                <a:cubicBezTo>
                  <a:pt x="7190740" y="4732366"/>
                  <a:pt x="7203440" y="4697441"/>
                  <a:pt x="7180581" y="4689821"/>
                </a:cubicBezTo>
                <a:cubicBezTo>
                  <a:pt x="7158356" y="4681566"/>
                  <a:pt x="7146290" y="4716491"/>
                  <a:pt x="7168515" y="4724111"/>
                </a:cubicBezTo>
                <a:close/>
                <a:moveTo>
                  <a:pt x="7138670" y="4619971"/>
                </a:moveTo>
                <a:cubicBezTo>
                  <a:pt x="7157720" y="4626321"/>
                  <a:pt x="7168515" y="4595841"/>
                  <a:pt x="7148831" y="4589491"/>
                </a:cubicBezTo>
                <a:cubicBezTo>
                  <a:pt x="7129145" y="4583141"/>
                  <a:pt x="7118985" y="4613621"/>
                  <a:pt x="7138670" y="4619971"/>
                </a:cubicBezTo>
                <a:close/>
                <a:moveTo>
                  <a:pt x="7114540" y="4769196"/>
                </a:moveTo>
                <a:cubicBezTo>
                  <a:pt x="7089775" y="4758401"/>
                  <a:pt x="7073265" y="4797136"/>
                  <a:pt x="7098031" y="4807296"/>
                </a:cubicBezTo>
                <a:cubicBezTo>
                  <a:pt x="7122795" y="4818726"/>
                  <a:pt x="7139940" y="4779356"/>
                  <a:pt x="7114540" y="4769196"/>
                </a:cubicBezTo>
                <a:close/>
                <a:moveTo>
                  <a:pt x="7261225" y="4656801"/>
                </a:moveTo>
                <a:cubicBezTo>
                  <a:pt x="7280910" y="4662516"/>
                  <a:pt x="7289800" y="4631401"/>
                  <a:pt x="7269481" y="4626321"/>
                </a:cubicBezTo>
                <a:cubicBezTo>
                  <a:pt x="7249795" y="4620606"/>
                  <a:pt x="7241540" y="4651721"/>
                  <a:pt x="7261225" y="4656801"/>
                </a:cubicBezTo>
                <a:close/>
                <a:moveTo>
                  <a:pt x="7301231" y="5023196"/>
                </a:moveTo>
                <a:cubicBezTo>
                  <a:pt x="7329170" y="5034626"/>
                  <a:pt x="7346315" y="4990176"/>
                  <a:pt x="7317740" y="4979381"/>
                </a:cubicBezTo>
                <a:cubicBezTo>
                  <a:pt x="7289800" y="4968586"/>
                  <a:pt x="7272656" y="5013036"/>
                  <a:pt x="7301231" y="5023196"/>
                </a:cubicBezTo>
                <a:close/>
                <a:moveTo>
                  <a:pt x="7306310" y="4769196"/>
                </a:moveTo>
                <a:cubicBezTo>
                  <a:pt x="7328535" y="4776181"/>
                  <a:pt x="7339965" y="4740621"/>
                  <a:pt x="7316470" y="4734271"/>
                </a:cubicBezTo>
                <a:cubicBezTo>
                  <a:pt x="7294245" y="4727286"/>
                  <a:pt x="7283450" y="4762846"/>
                  <a:pt x="7306310" y="4769196"/>
                </a:cubicBezTo>
                <a:close/>
                <a:moveTo>
                  <a:pt x="7237095" y="4747606"/>
                </a:moveTo>
                <a:cubicBezTo>
                  <a:pt x="7259320" y="4755226"/>
                  <a:pt x="7271385" y="4719666"/>
                  <a:pt x="7248525" y="4712681"/>
                </a:cubicBezTo>
                <a:cubicBezTo>
                  <a:pt x="7226300" y="4705061"/>
                  <a:pt x="7214235" y="4740621"/>
                  <a:pt x="7237095" y="4747606"/>
                </a:cubicBezTo>
                <a:close/>
                <a:moveTo>
                  <a:pt x="6635115" y="4865081"/>
                </a:moveTo>
                <a:cubicBezTo>
                  <a:pt x="6606540" y="4841586"/>
                  <a:pt x="6570981" y="4886671"/>
                  <a:pt x="6600190" y="4909531"/>
                </a:cubicBezTo>
                <a:cubicBezTo>
                  <a:pt x="6628131" y="4932391"/>
                  <a:pt x="6664325" y="4887941"/>
                  <a:pt x="6635115" y="4865081"/>
                </a:cubicBezTo>
                <a:close/>
                <a:moveTo>
                  <a:pt x="7674610" y="5627081"/>
                </a:moveTo>
                <a:cubicBezTo>
                  <a:pt x="7669531" y="5666451"/>
                  <a:pt x="7731760" y="5673436"/>
                  <a:pt x="7735570" y="5633431"/>
                </a:cubicBezTo>
                <a:cubicBezTo>
                  <a:pt x="7740650" y="5594696"/>
                  <a:pt x="7678420" y="5587711"/>
                  <a:pt x="7674610" y="5627081"/>
                </a:cubicBezTo>
                <a:close/>
                <a:moveTo>
                  <a:pt x="7719695" y="4987001"/>
                </a:moveTo>
                <a:cubicBezTo>
                  <a:pt x="7746365" y="4990811"/>
                  <a:pt x="7752081" y="4948901"/>
                  <a:pt x="7725410" y="4945726"/>
                </a:cubicBezTo>
                <a:cubicBezTo>
                  <a:pt x="7698740" y="4941916"/>
                  <a:pt x="7693025" y="4983826"/>
                  <a:pt x="7719695" y="4987001"/>
                </a:cubicBezTo>
                <a:close/>
                <a:moveTo>
                  <a:pt x="7764145" y="4742526"/>
                </a:moveTo>
                <a:cubicBezTo>
                  <a:pt x="7784465" y="4744431"/>
                  <a:pt x="7786370" y="4712046"/>
                  <a:pt x="7766050" y="4710776"/>
                </a:cubicBezTo>
                <a:cubicBezTo>
                  <a:pt x="7745731" y="4709506"/>
                  <a:pt x="7743825" y="4741256"/>
                  <a:pt x="7764145" y="4742526"/>
                </a:cubicBezTo>
                <a:close/>
                <a:moveTo>
                  <a:pt x="7765415" y="5455631"/>
                </a:moveTo>
                <a:cubicBezTo>
                  <a:pt x="7770495" y="5419436"/>
                  <a:pt x="7713345" y="5412451"/>
                  <a:pt x="7709535" y="5448646"/>
                </a:cubicBezTo>
                <a:cubicBezTo>
                  <a:pt x="7704456" y="5485476"/>
                  <a:pt x="7761606" y="5492461"/>
                  <a:pt x="7765415" y="5455631"/>
                </a:cubicBezTo>
                <a:close/>
                <a:moveTo>
                  <a:pt x="7828281" y="4745066"/>
                </a:moveTo>
                <a:cubicBezTo>
                  <a:pt x="7848600" y="4745701"/>
                  <a:pt x="7849870" y="4713951"/>
                  <a:pt x="7829550" y="4713316"/>
                </a:cubicBezTo>
                <a:cubicBezTo>
                  <a:pt x="7808595" y="4712681"/>
                  <a:pt x="7807960" y="4745066"/>
                  <a:pt x="7828281" y="4745066"/>
                </a:cubicBezTo>
                <a:close/>
                <a:moveTo>
                  <a:pt x="7741285" y="5093046"/>
                </a:moveTo>
                <a:cubicBezTo>
                  <a:pt x="7709535" y="5087966"/>
                  <a:pt x="7705725" y="5139401"/>
                  <a:pt x="7738110" y="5139401"/>
                </a:cubicBezTo>
                <a:cubicBezTo>
                  <a:pt x="7766050" y="5140036"/>
                  <a:pt x="7769225" y="5096221"/>
                  <a:pt x="7741285" y="5093046"/>
                </a:cubicBezTo>
                <a:close/>
                <a:moveTo>
                  <a:pt x="7804150" y="4861906"/>
                </a:moveTo>
                <a:cubicBezTo>
                  <a:pt x="7827645" y="4863811"/>
                  <a:pt x="7830820" y="4826346"/>
                  <a:pt x="7806690" y="4825076"/>
                </a:cubicBezTo>
                <a:cubicBezTo>
                  <a:pt x="7783195" y="4823171"/>
                  <a:pt x="7780656" y="4860636"/>
                  <a:pt x="7804150" y="4861906"/>
                </a:cubicBezTo>
                <a:close/>
                <a:moveTo>
                  <a:pt x="7800340" y="4996526"/>
                </a:moveTo>
                <a:cubicBezTo>
                  <a:pt x="7827010" y="4999066"/>
                  <a:pt x="7830820" y="4957156"/>
                  <a:pt x="7804150" y="4955251"/>
                </a:cubicBezTo>
                <a:cubicBezTo>
                  <a:pt x="7777481" y="4952076"/>
                  <a:pt x="7773670" y="4993986"/>
                  <a:pt x="7800340" y="4996526"/>
                </a:cubicBezTo>
                <a:close/>
                <a:moveTo>
                  <a:pt x="7639685" y="4974301"/>
                </a:moveTo>
                <a:cubicBezTo>
                  <a:pt x="7666356" y="4979381"/>
                  <a:pt x="7673975" y="4937471"/>
                  <a:pt x="7646670" y="4933026"/>
                </a:cubicBezTo>
                <a:cubicBezTo>
                  <a:pt x="7620000" y="4928581"/>
                  <a:pt x="7613015" y="4970491"/>
                  <a:pt x="7639685" y="4974301"/>
                </a:cubicBezTo>
                <a:close/>
                <a:moveTo>
                  <a:pt x="7637145" y="4731096"/>
                </a:moveTo>
                <a:cubicBezTo>
                  <a:pt x="7657465" y="4733636"/>
                  <a:pt x="7661275" y="4701886"/>
                  <a:pt x="7640956" y="4699346"/>
                </a:cubicBezTo>
                <a:cubicBezTo>
                  <a:pt x="7620000" y="4696806"/>
                  <a:pt x="7616190" y="4729191"/>
                  <a:pt x="7637145" y="4731096"/>
                </a:cubicBezTo>
                <a:close/>
                <a:moveTo>
                  <a:pt x="7828281" y="5103206"/>
                </a:moveTo>
                <a:cubicBezTo>
                  <a:pt x="7798435" y="5100031"/>
                  <a:pt x="7793990" y="5147656"/>
                  <a:pt x="7824470" y="5149561"/>
                </a:cubicBezTo>
                <a:cubicBezTo>
                  <a:pt x="7853681" y="5152736"/>
                  <a:pt x="7858125" y="5105111"/>
                  <a:pt x="7828281" y="5103206"/>
                </a:cubicBezTo>
                <a:close/>
                <a:moveTo>
                  <a:pt x="7731760" y="4855556"/>
                </a:moveTo>
                <a:cubicBezTo>
                  <a:pt x="7755256" y="4858731"/>
                  <a:pt x="7759065" y="4821266"/>
                  <a:pt x="7735570" y="4818726"/>
                </a:cubicBezTo>
                <a:cubicBezTo>
                  <a:pt x="7712075" y="4816186"/>
                  <a:pt x="7708265" y="4853651"/>
                  <a:pt x="7731760" y="4855556"/>
                </a:cubicBezTo>
                <a:close/>
                <a:moveTo>
                  <a:pt x="7644131" y="4826346"/>
                </a:moveTo>
                <a:cubicBezTo>
                  <a:pt x="7640320" y="4849841"/>
                  <a:pt x="7677785" y="4854921"/>
                  <a:pt x="7680325" y="4831426"/>
                </a:cubicBezTo>
                <a:cubicBezTo>
                  <a:pt x="7684135" y="4807931"/>
                  <a:pt x="7647306" y="4802851"/>
                  <a:pt x="7644131" y="4826346"/>
                </a:cubicBezTo>
                <a:close/>
                <a:moveTo>
                  <a:pt x="7700645" y="4737446"/>
                </a:moveTo>
                <a:cubicBezTo>
                  <a:pt x="7720965" y="4739351"/>
                  <a:pt x="7724140" y="4707601"/>
                  <a:pt x="7703185" y="4705696"/>
                </a:cubicBezTo>
                <a:cubicBezTo>
                  <a:pt x="7682865" y="4703791"/>
                  <a:pt x="7680325" y="4736176"/>
                  <a:pt x="7700645" y="4737446"/>
                </a:cubicBezTo>
                <a:close/>
                <a:moveTo>
                  <a:pt x="7637781" y="5261321"/>
                </a:moveTo>
                <a:cubicBezTo>
                  <a:pt x="7630795" y="5293706"/>
                  <a:pt x="7682231" y="5304501"/>
                  <a:pt x="7688581" y="5270846"/>
                </a:cubicBezTo>
                <a:cubicBezTo>
                  <a:pt x="7695565" y="5238461"/>
                  <a:pt x="7644131" y="5228301"/>
                  <a:pt x="7637781" y="5261321"/>
                </a:cubicBezTo>
                <a:close/>
                <a:moveTo>
                  <a:pt x="7654290" y="5078441"/>
                </a:moveTo>
                <a:cubicBezTo>
                  <a:pt x="7621906" y="5072091"/>
                  <a:pt x="7616825" y="5124796"/>
                  <a:pt x="7649845" y="5124796"/>
                </a:cubicBezTo>
                <a:cubicBezTo>
                  <a:pt x="7677150" y="5125431"/>
                  <a:pt x="7681595" y="5082886"/>
                  <a:pt x="7654290" y="5078441"/>
                </a:cubicBezTo>
                <a:close/>
                <a:moveTo>
                  <a:pt x="7830820" y="5288626"/>
                </a:moveTo>
                <a:cubicBezTo>
                  <a:pt x="7828281" y="5321646"/>
                  <a:pt x="7880985" y="5324821"/>
                  <a:pt x="7882256" y="5291166"/>
                </a:cubicBezTo>
                <a:cubicBezTo>
                  <a:pt x="7884160" y="5258146"/>
                  <a:pt x="7832090" y="5255606"/>
                  <a:pt x="7830820" y="5288626"/>
                </a:cubicBezTo>
                <a:close/>
                <a:moveTo>
                  <a:pt x="7976235" y="5456901"/>
                </a:moveTo>
                <a:cubicBezTo>
                  <a:pt x="7975600" y="5441661"/>
                  <a:pt x="7961631" y="5429596"/>
                  <a:pt x="7946390" y="5430231"/>
                </a:cubicBezTo>
                <a:cubicBezTo>
                  <a:pt x="7910831" y="5432136"/>
                  <a:pt x="7912735" y="5487381"/>
                  <a:pt x="7948295" y="5486746"/>
                </a:cubicBezTo>
                <a:cubicBezTo>
                  <a:pt x="7964170" y="5487381"/>
                  <a:pt x="7977506" y="5472776"/>
                  <a:pt x="7976235" y="5456901"/>
                </a:cubicBezTo>
                <a:close/>
                <a:moveTo>
                  <a:pt x="7929881" y="5600411"/>
                </a:moveTo>
                <a:cubicBezTo>
                  <a:pt x="7889875" y="5604221"/>
                  <a:pt x="7897495" y="5666451"/>
                  <a:pt x="7936865" y="5661371"/>
                </a:cubicBezTo>
                <a:cubicBezTo>
                  <a:pt x="7976235" y="5657561"/>
                  <a:pt x="7969250" y="5595331"/>
                  <a:pt x="7929881" y="5600411"/>
                </a:cubicBezTo>
                <a:close/>
                <a:moveTo>
                  <a:pt x="7952740" y="5265766"/>
                </a:moveTo>
                <a:cubicBezTo>
                  <a:pt x="7919085" y="5265766"/>
                  <a:pt x="7920990" y="5318471"/>
                  <a:pt x="7954010" y="5317201"/>
                </a:cubicBezTo>
                <a:cubicBezTo>
                  <a:pt x="7987665" y="5317201"/>
                  <a:pt x="7986395" y="5264496"/>
                  <a:pt x="7952740" y="5265766"/>
                </a:cubicBezTo>
                <a:close/>
                <a:moveTo>
                  <a:pt x="8021320" y="4865081"/>
                </a:moveTo>
                <a:cubicBezTo>
                  <a:pt x="8045450" y="4865081"/>
                  <a:pt x="8044815" y="4826981"/>
                  <a:pt x="8020685" y="4828251"/>
                </a:cubicBezTo>
                <a:cubicBezTo>
                  <a:pt x="7997190" y="4828886"/>
                  <a:pt x="7997825" y="4865081"/>
                  <a:pt x="8021320" y="4865081"/>
                </a:cubicBezTo>
                <a:close/>
                <a:moveTo>
                  <a:pt x="7955915" y="4745701"/>
                </a:moveTo>
                <a:cubicBezTo>
                  <a:pt x="7976870" y="4745701"/>
                  <a:pt x="7976235" y="4713316"/>
                  <a:pt x="7955281" y="4713951"/>
                </a:cubicBezTo>
                <a:cubicBezTo>
                  <a:pt x="7934960" y="4713951"/>
                  <a:pt x="7935595" y="4745701"/>
                  <a:pt x="7955915" y="4745701"/>
                </a:cubicBezTo>
                <a:close/>
                <a:moveTo>
                  <a:pt x="8003540" y="5154006"/>
                </a:moveTo>
                <a:cubicBezTo>
                  <a:pt x="8034020" y="5154006"/>
                  <a:pt x="8033385" y="5105746"/>
                  <a:pt x="8002906" y="5107651"/>
                </a:cubicBezTo>
                <a:cubicBezTo>
                  <a:pt x="7973060" y="5108286"/>
                  <a:pt x="7974331" y="5154641"/>
                  <a:pt x="8003540" y="5154006"/>
                </a:cubicBezTo>
                <a:close/>
                <a:moveTo>
                  <a:pt x="7942581" y="4982556"/>
                </a:moveTo>
                <a:cubicBezTo>
                  <a:pt x="7941945" y="5009861"/>
                  <a:pt x="7984490" y="5009226"/>
                  <a:pt x="7984490" y="4982556"/>
                </a:cubicBezTo>
                <a:cubicBezTo>
                  <a:pt x="7984490" y="4955886"/>
                  <a:pt x="7941945" y="4955886"/>
                  <a:pt x="7942581" y="4982556"/>
                </a:cubicBezTo>
                <a:close/>
                <a:moveTo>
                  <a:pt x="7891781" y="5130511"/>
                </a:moveTo>
                <a:cubicBezTo>
                  <a:pt x="7890510" y="5160356"/>
                  <a:pt x="7938135" y="5162261"/>
                  <a:pt x="7938135" y="5131781"/>
                </a:cubicBezTo>
                <a:cubicBezTo>
                  <a:pt x="7939406" y="5101301"/>
                  <a:pt x="7891781" y="5100666"/>
                  <a:pt x="7891781" y="5130511"/>
                </a:cubicBezTo>
                <a:close/>
                <a:moveTo>
                  <a:pt x="7573645" y="4814916"/>
                </a:moveTo>
                <a:cubicBezTo>
                  <a:pt x="7569200" y="4838411"/>
                  <a:pt x="7606031" y="4844761"/>
                  <a:pt x="7609840" y="4821266"/>
                </a:cubicBezTo>
                <a:cubicBezTo>
                  <a:pt x="7613650" y="4797771"/>
                  <a:pt x="7576820" y="4790786"/>
                  <a:pt x="7573645" y="4814916"/>
                </a:cubicBezTo>
                <a:close/>
                <a:moveTo>
                  <a:pt x="7877175" y="4865716"/>
                </a:moveTo>
                <a:cubicBezTo>
                  <a:pt x="7900670" y="4866986"/>
                  <a:pt x="7902575" y="4829521"/>
                  <a:pt x="7878445" y="4828886"/>
                </a:cubicBezTo>
                <a:cubicBezTo>
                  <a:pt x="7854315" y="4827616"/>
                  <a:pt x="7853045" y="4865081"/>
                  <a:pt x="7877175" y="4865716"/>
                </a:cubicBezTo>
                <a:close/>
                <a:moveTo>
                  <a:pt x="7870825" y="5461346"/>
                </a:moveTo>
                <a:cubicBezTo>
                  <a:pt x="7872731" y="5424516"/>
                  <a:pt x="7814945" y="5423246"/>
                  <a:pt x="7814310" y="5459441"/>
                </a:cubicBezTo>
                <a:cubicBezTo>
                  <a:pt x="7813040" y="5496271"/>
                  <a:pt x="7870190" y="5498176"/>
                  <a:pt x="7870825" y="5461346"/>
                </a:cubicBezTo>
                <a:close/>
                <a:moveTo>
                  <a:pt x="7883525" y="4960331"/>
                </a:moveTo>
                <a:cubicBezTo>
                  <a:pt x="7856220" y="4958426"/>
                  <a:pt x="7854315" y="5000971"/>
                  <a:pt x="7881620" y="5002241"/>
                </a:cubicBezTo>
                <a:cubicBezTo>
                  <a:pt x="7908290" y="5003511"/>
                  <a:pt x="7910831" y="4960966"/>
                  <a:pt x="7883525" y="4960331"/>
                </a:cubicBezTo>
                <a:close/>
                <a:moveTo>
                  <a:pt x="7818756" y="5606126"/>
                </a:moveTo>
                <a:cubicBezTo>
                  <a:pt x="7778750" y="5605491"/>
                  <a:pt x="7778750" y="5667721"/>
                  <a:pt x="7818756" y="5667721"/>
                </a:cubicBezTo>
                <a:cubicBezTo>
                  <a:pt x="7858760" y="5668356"/>
                  <a:pt x="7858760" y="5605491"/>
                  <a:pt x="7818756" y="5606126"/>
                </a:cubicBezTo>
                <a:close/>
                <a:moveTo>
                  <a:pt x="7949565" y="4866351"/>
                </a:moveTo>
                <a:cubicBezTo>
                  <a:pt x="7949565" y="4866351"/>
                  <a:pt x="7949565" y="4866351"/>
                  <a:pt x="7949565" y="4866351"/>
                </a:cubicBezTo>
                <a:cubicBezTo>
                  <a:pt x="7973695" y="4866351"/>
                  <a:pt x="7973060" y="4829521"/>
                  <a:pt x="7949565" y="4829521"/>
                </a:cubicBezTo>
                <a:cubicBezTo>
                  <a:pt x="7925435" y="4829521"/>
                  <a:pt x="7925435" y="4866986"/>
                  <a:pt x="7949565" y="4866351"/>
                </a:cubicBezTo>
                <a:close/>
                <a:moveTo>
                  <a:pt x="7892415" y="4746336"/>
                </a:moveTo>
                <a:cubicBezTo>
                  <a:pt x="7912735" y="4746971"/>
                  <a:pt x="7913370" y="4714586"/>
                  <a:pt x="7892415" y="4714586"/>
                </a:cubicBezTo>
                <a:cubicBezTo>
                  <a:pt x="7871460" y="4714586"/>
                  <a:pt x="7871460" y="4746336"/>
                  <a:pt x="7892415" y="4746336"/>
                </a:cubicBezTo>
                <a:close/>
                <a:moveTo>
                  <a:pt x="6638925" y="4732366"/>
                </a:moveTo>
                <a:cubicBezTo>
                  <a:pt x="6612256" y="4712046"/>
                  <a:pt x="6581140" y="4754591"/>
                  <a:pt x="6608445" y="4774276"/>
                </a:cubicBezTo>
                <a:cubicBezTo>
                  <a:pt x="6635115" y="4793961"/>
                  <a:pt x="6666231" y="4751416"/>
                  <a:pt x="6638925" y="4732366"/>
                </a:cubicBezTo>
                <a:close/>
                <a:moveTo>
                  <a:pt x="6593840" y="4642196"/>
                </a:moveTo>
                <a:cubicBezTo>
                  <a:pt x="6618606" y="4659341"/>
                  <a:pt x="6645275" y="4619971"/>
                  <a:pt x="6619875" y="4603461"/>
                </a:cubicBezTo>
                <a:cubicBezTo>
                  <a:pt x="6595110" y="4585681"/>
                  <a:pt x="6568440" y="4625051"/>
                  <a:pt x="6593840" y="4642196"/>
                </a:cubicBezTo>
                <a:close/>
                <a:moveTo>
                  <a:pt x="6797675" y="4843491"/>
                </a:moveTo>
                <a:cubicBezTo>
                  <a:pt x="6770370" y="4824441"/>
                  <a:pt x="6741160" y="4868256"/>
                  <a:pt x="6769100" y="4886036"/>
                </a:cubicBezTo>
                <a:cubicBezTo>
                  <a:pt x="6796406" y="4905086"/>
                  <a:pt x="6825615" y="4861271"/>
                  <a:pt x="6797675" y="4843491"/>
                </a:cubicBezTo>
                <a:close/>
                <a:moveTo>
                  <a:pt x="6771006" y="4550121"/>
                </a:moveTo>
                <a:cubicBezTo>
                  <a:pt x="6791960" y="4561551"/>
                  <a:pt x="6809106" y="4527896"/>
                  <a:pt x="6787515" y="4517736"/>
                </a:cubicBezTo>
                <a:cubicBezTo>
                  <a:pt x="6767195" y="4506306"/>
                  <a:pt x="6749415" y="4539961"/>
                  <a:pt x="6771006" y="4550121"/>
                </a:cubicBezTo>
                <a:close/>
                <a:moveTo>
                  <a:pt x="7307581" y="5717251"/>
                </a:moveTo>
                <a:cubicBezTo>
                  <a:pt x="7290435" y="5756621"/>
                  <a:pt x="7352665" y="5782656"/>
                  <a:pt x="7369175" y="5742651"/>
                </a:cubicBezTo>
                <a:cubicBezTo>
                  <a:pt x="7385685" y="5703281"/>
                  <a:pt x="7323456" y="5677246"/>
                  <a:pt x="7307581" y="5717251"/>
                </a:cubicBezTo>
                <a:close/>
                <a:moveTo>
                  <a:pt x="7376160" y="4788881"/>
                </a:moveTo>
                <a:cubicBezTo>
                  <a:pt x="7399020" y="4795231"/>
                  <a:pt x="7408545" y="4759036"/>
                  <a:pt x="7385685" y="4753321"/>
                </a:cubicBezTo>
                <a:cubicBezTo>
                  <a:pt x="7362825" y="4746971"/>
                  <a:pt x="7352665" y="4783166"/>
                  <a:pt x="7376160" y="4788881"/>
                </a:cubicBezTo>
                <a:close/>
                <a:moveTo>
                  <a:pt x="7373620" y="5209251"/>
                </a:moveTo>
                <a:cubicBezTo>
                  <a:pt x="7404735" y="5221316"/>
                  <a:pt x="7423150" y="5172421"/>
                  <a:pt x="7392035" y="5160991"/>
                </a:cubicBezTo>
                <a:cubicBezTo>
                  <a:pt x="7360920" y="5148926"/>
                  <a:pt x="7342506" y="5198456"/>
                  <a:pt x="7373620" y="5209251"/>
                </a:cubicBezTo>
                <a:close/>
                <a:moveTo>
                  <a:pt x="7357110" y="5349586"/>
                </a:moveTo>
                <a:cubicBezTo>
                  <a:pt x="7371081" y="5276561"/>
                  <a:pt x="7259320" y="5321011"/>
                  <a:pt x="7320281" y="5364191"/>
                </a:cubicBezTo>
                <a:lnTo>
                  <a:pt x="7320281" y="5364191"/>
                </a:lnTo>
                <a:cubicBezTo>
                  <a:pt x="7334250" y="5370541"/>
                  <a:pt x="7350760" y="5364191"/>
                  <a:pt x="7357110" y="5349586"/>
                </a:cubicBezTo>
                <a:close/>
                <a:moveTo>
                  <a:pt x="6856095" y="5100666"/>
                </a:moveTo>
                <a:cubicBezTo>
                  <a:pt x="6885940" y="5121621"/>
                  <a:pt x="6918960" y="5074631"/>
                  <a:pt x="6888481" y="5054311"/>
                </a:cubicBezTo>
                <a:cubicBezTo>
                  <a:pt x="6858635" y="5032721"/>
                  <a:pt x="6825615" y="5080346"/>
                  <a:pt x="6856095" y="5100666"/>
                </a:cubicBezTo>
                <a:close/>
                <a:moveTo>
                  <a:pt x="7385050" y="4687916"/>
                </a:moveTo>
                <a:cubicBezTo>
                  <a:pt x="7404735" y="4692996"/>
                  <a:pt x="7412356" y="4661246"/>
                  <a:pt x="7392035" y="4656801"/>
                </a:cubicBezTo>
                <a:cubicBezTo>
                  <a:pt x="7371715" y="4652356"/>
                  <a:pt x="7364731" y="4684106"/>
                  <a:pt x="7385050" y="4687916"/>
                </a:cubicBezTo>
                <a:close/>
                <a:moveTo>
                  <a:pt x="6843395" y="4903816"/>
                </a:moveTo>
                <a:cubicBezTo>
                  <a:pt x="6824981" y="4931756"/>
                  <a:pt x="6868795" y="4959696"/>
                  <a:pt x="6886575" y="4931756"/>
                </a:cubicBezTo>
                <a:cubicBezTo>
                  <a:pt x="6904990" y="4903816"/>
                  <a:pt x="6860540" y="4875876"/>
                  <a:pt x="6843395" y="4903816"/>
                </a:cubicBezTo>
                <a:close/>
                <a:moveTo>
                  <a:pt x="6598285" y="4542501"/>
                </a:moveTo>
                <a:cubicBezTo>
                  <a:pt x="6621145" y="4557106"/>
                  <a:pt x="6643370" y="4520911"/>
                  <a:pt x="6620510" y="4506941"/>
                </a:cubicBezTo>
                <a:cubicBezTo>
                  <a:pt x="6597650" y="4492336"/>
                  <a:pt x="6575425" y="4528531"/>
                  <a:pt x="6598285" y="4542501"/>
                </a:cubicBezTo>
                <a:close/>
                <a:moveTo>
                  <a:pt x="6843395" y="4745701"/>
                </a:moveTo>
                <a:cubicBezTo>
                  <a:pt x="6817360" y="4729826"/>
                  <a:pt x="6793231" y="4770466"/>
                  <a:pt x="6819900" y="4785706"/>
                </a:cubicBezTo>
                <a:lnTo>
                  <a:pt x="6819900" y="4785706"/>
                </a:lnTo>
                <a:cubicBezTo>
                  <a:pt x="6845300" y="4801581"/>
                  <a:pt x="6870065" y="4760941"/>
                  <a:pt x="6843395" y="4745701"/>
                </a:cubicBezTo>
                <a:close/>
                <a:moveTo>
                  <a:pt x="6593840" y="5068281"/>
                </a:moveTo>
                <a:cubicBezTo>
                  <a:pt x="6623685" y="5094951"/>
                  <a:pt x="6664325" y="5047326"/>
                  <a:pt x="6633845" y="5021926"/>
                </a:cubicBezTo>
                <a:cubicBezTo>
                  <a:pt x="6604000" y="4995256"/>
                  <a:pt x="6563360" y="5042881"/>
                  <a:pt x="6593840" y="5068281"/>
                </a:cubicBezTo>
                <a:close/>
                <a:moveTo>
                  <a:pt x="6693535" y="4652356"/>
                </a:moveTo>
                <a:cubicBezTo>
                  <a:pt x="6659245" y="4632036"/>
                  <a:pt x="6641465" y="4694266"/>
                  <a:pt x="6680835" y="4694901"/>
                </a:cubicBezTo>
                <a:cubicBezTo>
                  <a:pt x="6703060" y="4695536"/>
                  <a:pt x="6713220" y="4663786"/>
                  <a:pt x="6693535" y="4652356"/>
                </a:cubicBezTo>
                <a:close/>
                <a:moveTo>
                  <a:pt x="6633210" y="5279101"/>
                </a:moveTo>
                <a:cubicBezTo>
                  <a:pt x="6662420" y="5280371"/>
                  <a:pt x="6678295" y="5240366"/>
                  <a:pt x="6655435" y="5221316"/>
                </a:cubicBezTo>
                <a:cubicBezTo>
                  <a:pt x="6607810" y="5183216"/>
                  <a:pt x="6572250" y="5275291"/>
                  <a:pt x="6633210" y="5279101"/>
                </a:cubicBezTo>
                <a:close/>
                <a:moveTo>
                  <a:pt x="7400290" y="5009861"/>
                </a:moveTo>
                <a:cubicBezTo>
                  <a:pt x="7371715" y="4999701"/>
                  <a:pt x="7356475" y="5044786"/>
                  <a:pt x="7385050" y="5053676"/>
                </a:cubicBezTo>
                <a:cubicBezTo>
                  <a:pt x="7413625" y="5063836"/>
                  <a:pt x="7429500" y="5019386"/>
                  <a:pt x="7400290" y="5009861"/>
                </a:cubicBezTo>
                <a:close/>
                <a:moveTo>
                  <a:pt x="7502525" y="4800946"/>
                </a:moveTo>
                <a:cubicBezTo>
                  <a:pt x="7497445" y="4823806"/>
                  <a:pt x="7534275" y="4831426"/>
                  <a:pt x="7538720" y="4807931"/>
                </a:cubicBezTo>
                <a:cubicBezTo>
                  <a:pt x="7543800" y="4785071"/>
                  <a:pt x="7506970" y="4777451"/>
                  <a:pt x="7502525" y="4800946"/>
                </a:cubicBezTo>
                <a:close/>
                <a:moveTo>
                  <a:pt x="7480935" y="4940011"/>
                </a:moveTo>
                <a:cubicBezTo>
                  <a:pt x="7506970" y="4946996"/>
                  <a:pt x="7517765" y="4906356"/>
                  <a:pt x="7491095" y="4899371"/>
                </a:cubicBezTo>
                <a:cubicBezTo>
                  <a:pt x="7465060" y="4892386"/>
                  <a:pt x="7454265" y="4933661"/>
                  <a:pt x="7480935" y="4940011"/>
                </a:cubicBezTo>
                <a:close/>
                <a:moveTo>
                  <a:pt x="7510781" y="4712681"/>
                </a:moveTo>
                <a:cubicBezTo>
                  <a:pt x="7531100" y="4716491"/>
                  <a:pt x="7536815" y="4684741"/>
                  <a:pt x="7515860" y="4681566"/>
                </a:cubicBezTo>
                <a:cubicBezTo>
                  <a:pt x="7495540" y="4677756"/>
                  <a:pt x="7489825" y="4709506"/>
                  <a:pt x="7510781" y="4712681"/>
                </a:cubicBezTo>
                <a:close/>
                <a:moveTo>
                  <a:pt x="7557770" y="5104476"/>
                </a:moveTo>
                <a:lnTo>
                  <a:pt x="7557770" y="5104476"/>
                </a:lnTo>
                <a:cubicBezTo>
                  <a:pt x="7586981" y="5112096"/>
                  <a:pt x="7598410" y="5066376"/>
                  <a:pt x="7569200" y="5059391"/>
                </a:cubicBezTo>
                <a:cubicBezTo>
                  <a:pt x="7539990" y="5051771"/>
                  <a:pt x="7528560" y="5098126"/>
                  <a:pt x="7557770" y="5104476"/>
                </a:cubicBezTo>
                <a:close/>
                <a:moveTo>
                  <a:pt x="7593331" y="5251161"/>
                </a:moveTo>
                <a:cubicBezTo>
                  <a:pt x="7602220" y="5218776"/>
                  <a:pt x="7551420" y="5205441"/>
                  <a:pt x="7543165" y="5238461"/>
                </a:cubicBezTo>
                <a:cubicBezTo>
                  <a:pt x="7534275" y="5270211"/>
                  <a:pt x="7585075" y="5283546"/>
                  <a:pt x="7593331" y="5251161"/>
                </a:cubicBezTo>
                <a:close/>
                <a:moveTo>
                  <a:pt x="7573645" y="4722841"/>
                </a:moveTo>
                <a:cubicBezTo>
                  <a:pt x="7593965" y="4726016"/>
                  <a:pt x="7598410" y="4694266"/>
                  <a:pt x="7578090" y="4691726"/>
                </a:cubicBezTo>
                <a:cubicBezTo>
                  <a:pt x="7557770" y="4687916"/>
                  <a:pt x="7553325" y="4720301"/>
                  <a:pt x="7573645" y="4722841"/>
                </a:cubicBezTo>
                <a:close/>
                <a:moveTo>
                  <a:pt x="7559675" y="4958426"/>
                </a:moveTo>
                <a:cubicBezTo>
                  <a:pt x="7585710" y="4964776"/>
                  <a:pt x="7595235" y="4922866"/>
                  <a:pt x="7568565" y="4917786"/>
                </a:cubicBezTo>
                <a:cubicBezTo>
                  <a:pt x="7542531" y="4912071"/>
                  <a:pt x="7533640" y="4953346"/>
                  <a:pt x="7559675" y="4958426"/>
                </a:cubicBezTo>
                <a:close/>
                <a:moveTo>
                  <a:pt x="7511415" y="5592156"/>
                </a:moveTo>
                <a:cubicBezTo>
                  <a:pt x="7523481" y="5554056"/>
                  <a:pt x="7463790" y="5535641"/>
                  <a:pt x="7452995" y="5573741"/>
                </a:cubicBezTo>
                <a:cubicBezTo>
                  <a:pt x="7440295" y="5611841"/>
                  <a:pt x="7499985" y="5630891"/>
                  <a:pt x="7511415" y="5592156"/>
                </a:cubicBezTo>
                <a:close/>
                <a:moveTo>
                  <a:pt x="7585710" y="5642321"/>
                </a:moveTo>
                <a:cubicBezTo>
                  <a:pt x="7624445" y="5651211"/>
                  <a:pt x="7637781" y="5590251"/>
                  <a:pt x="7598410" y="5581996"/>
                </a:cubicBezTo>
                <a:cubicBezTo>
                  <a:pt x="7559675" y="5573106"/>
                  <a:pt x="7546975" y="5634701"/>
                  <a:pt x="7585710" y="5642321"/>
                </a:cubicBezTo>
                <a:close/>
                <a:moveTo>
                  <a:pt x="7388225" y="4892386"/>
                </a:moveTo>
                <a:cubicBezTo>
                  <a:pt x="7379970" y="4918421"/>
                  <a:pt x="7420610" y="4930486"/>
                  <a:pt x="7428231" y="4904451"/>
                </a:cubicBezTo>
                <a:cubicBezTo>
                  <a:pt x="7436485" y="4878416"/>
                  <a:pt x="7395845" y="4866351"/>
                  <a:pt x="7388225" y="4892386"/>
                </a:cubicBezTo>
                <a:close/>
                <a:moveTo>
                  <a:pt x="7447281" y="4701251"/>
                </a:moveTo>
                <a:cubicBezTo>
                  <a:pt x="7467600" y="4705696"/>
                  <a:pt x="7473950" y="4673946"/>
                  <a:pt x="7453631" y="4670136"/>
                </a:cubicBezTo>
                <a:cubicBezTo>
                  <a:pt x="7433310" y="4665691"/>
                  <a:pt x="7427595" y="4697441"/>
                  <a:pt x="7447281" y="4701251"/>
                </a:cubicBezTo>
                <a:close/>
                <a:moveTo>
                  <a:pt x="7446010" y="4806661"/>
                </a:moveTo>
                <a:cubicBezTo>
                  <a:pt x="7468870" y="4812376"/>
                  <a:pt x="7477760" y="4776181"/>
                  <a:pt x="7454265" y="4771101"/>
                </a:cubicBezTo>
                <a:cubicBezTo>
                  <a:pt x="7431406" y="4765386"/>
                  <a:pt x="7423150" y="4801581"/>
                  <a:pt x="7446010" y="4806661"/>
                </a:cubicBezTo>
                <a:close/>
                <a:moveTo>
                  <a:pt x="7484110" y="5036531"/>
                </a:moveTo>
                <a:cubicBezTo>
                  <a:pt x="7455535" y="5027641"/>
                  <a:pt x="7441565" y="5072726"/>
                  <a:pt x="7470775" y="5080981"/>
                </a:cubicBezTo>
                <a:cubicBezTo>
                  <a:pt x="7499350" y="5089871"/>
                  <a:pt x="7513320" y="5044786"/>
                  <a:pt x="7484110" y="5036531"/>
                </a:cubicBezTo>
                <a:close/>
                <a:moveTo>
                  <a:pt x="7463156" y="5739476"/>
                </a:moveTo>
                <a:cubicBezTo>
                  <a:pt x="7446010" y="5733761"/>
                  <a:pt x="7426960" y="5743921"/>
                  <a:pt x="7421881" y="5761701"/>
                </a:cubicBezTo>
                <a:cubicBezTo>
                  <a:pt x="7414895" y="5782656"/>
                  <a:pt x="7432040" y="5804881"/>
                  <a:pt x="7453631" y="5804246"/>
                </a:cubicBezTo>
                <a:cubicBezTo>
                  <a:pt x="7490460" y="5805516"/>
                  <a:pt x="7499350" y="5749636"/>
                  <a:pt x="7463156" y="5739476"/>
                </a:cubicBezTo>
                <a:close/>
                <a:moveTo>
                  <a:pt x="7482840" y="5192741"/>
                </a:moveTo>
                <a:cubicBezTo>
                  <a:pt x="7451090" y="5181946"/>
                  <a:pt x="7435215" y="5232111"/>
                  <a:pt x="7466965" y="5241636"/>
                </a:cubicBezTo>
                <a:cubicBezTo>
                  <a:pt x="7498715" y="5252431"/>
                  <a:pt x="7514590" y="5202901"/>
                  <a:pt x="7482840" y="5192741"/>
                </a:cubicBezTo>
                <a:close/>
                <a:moveTo>
                  <a:pt x="6769100" y="5038436"/>
                </a:moveTo>
                <a:cubicBezTo>
                  <a:pt x="6798310" y="5060661"/>
                  <a:pt x="6832600" y="5014306"/>
                  <a:pt x="6802120" y="4992716"/>
                </a:cubicBezTo>
                <a:cubicBezTo>
                  <a:pt x="6773545" y="4971126"/>
                  <a:pt x="6739256" y="5017481"/>
                  <a:pt x="6769100" y="5038436"/>
                </a:cubicBezTo>
                <a:close/>
                <a:moveTo>
                  <a:pt x="4274185" y="4218651"/>
                </a:moveTo>
                <a:cubicBezTo>
                  <a:pt x="4307205" y="4218016"/>
                  <a:pt x="4295775" y="4165311"/>
                  <a:pt x="4265295" y="4179281"/>
                </a:cubicBezTo>
                <a:cubicBezTo>
                  <a:pt x="4245610" y="4187536"/>
                  <a:pt x="4252595" y="4219921"/>
                  <a:pt x="4274185" y="4218651"/>
                </a:cubicBezTo>
                <a:close/>
                <a:moveTo>
                  <a:pt x="4303395" y="3950681"/>
                </a:moveTo>
                <a:cubicBezTo>
                  <a:pt x="4290695" y="3919566"/>
                  <a:pt x="4242435" y="3940521"/>
                  <a:pt x="4256405" y="3971001"/>
                </a:cubicBezTo>
                <a:cubicBezTo>
                  <a:pt x="4269105" y="4002751"/>
                  <a:pt x="4317365" y="3981161"/>
                  <a:pt x="4303395" y="3950681"/>
                </a:cubicBezTo>
                <a:close/>
                <a:moveTo>
                  <a:pt x="4244340" y="4121496"/>
                </a:moveTo>
                <a:cubicBezTo>
                  <a:pt x="4281805" y="4120861"/>
                  <a:pt x="4268470" y="4061806"/>
                  <a:pt x="4234180" y="4077046"/>
                </a:cubicBezTo>
                <a:cubicBezTo>
                  <a:pt x="4211955" y="4087206"/>
                  <a:pt x="4220845" y="4122766"/>
                  <a:pt x="4244340" y="4121496"/>
                </a:cubicBezTo>
                <a:close/>
                <a:moveTo>
                  <a:pt x="4228465" y="3829396"/>
                </a:moveTo>
                <a:cubicBezTo>
                  <a:pt x="4194175" y="3842731"/>
                  <a:pt x="4216400" y="3896071"/>
                  <a:pt x="4250055" y="3881466"/>
                </a:cubicBezTo>
                <a:cubicBezTo>
                  <a:pt x="4284345" y="3868131"/>
                  <a:pt x="4262120" y="3814791"/>
                  <a:pt x="4228465" y="3829396"/>
                </a:cubicBezTo>
                <a:close/>
                <a:moveTo>
                  <a:pt x="4214495" y="3990686"/>
                </a:moveTo>
                <a:cubicBezTo>
                  <a:pt x="4171950" y="3937346"/>
                  <a:pt x="4137025" y="4041486"/>
                  <a:pt x="4203065" y="4024976"/>
                </a:cubicBezTo>
                <a:lnTo>
                  <a:pt x="4203065" y="4024976"/>
                </a:lnTo>
                <a:cubicBezTo>
                  <a:pt x="4215765" y="4019261"/>
                  <a:pt x="4220845" y="4003386"/>
                  <a:pt x="4214495" y="3990686"/>
                </a:cubicBezTo>
                <a:close/>
                <a:moveTo>
                  <a:pt x="4201795" y="4253576"/>
                </a:moveTo>
                <a:cubicBezTo>
                  <a:pt x="4235450" y="4252941"/>
                  <a:pt x="4222750" y="4199601"/>
                  <a:pt x="4192270" y="4214206"/>
                </a:cubicBezTo>
                <a:cubicBezTo>
                  <a:pt x="4172585" y="4223096"/>
                  <a:pt x="4180840" y="4254211"/>
                  <a:pt x="4201795" y="4253576"/>
                </a:cubicBezTo>
                <a:close/>
                <a:moveTo>
                  <a:pt x="4225925" y="3706841"/>
                </a:moveTo>
                <a:cubicBezTo>
                  <a:pt x="4187825" y="3718271"/>
                  <a:pt x="4207510" y="3777961"/>
                  <a:pt x="4244975" y="3765261"/>
                </a:cubicBezTo>
                <a:cubicBezTo>
                  <a:pt x="4283075" y="3753831"/>
                  <a:pt x="4264025" y="3694141"/>
                  <a:pt x="4225925" y="3706841"/>
                </a:cubicBezTo>
                <a:close/>
                <a:moveTo>
                  <a:pt x="4164965" y="4161501"/>
                </a:moveTo>
                <a:cubicBezTo>
                  <a:pt x="4203065" y="4160866"/>
                  <a:pt x="4188460" y="4100541"/>
                  <a:pt x="4154170" y="4117686"/>
                </a:cubicBezTo>
                <a:cubicBezTo>
                  <a:pt x="4132580" y="4127846"/>
                  <a:pt x="4142105" y="4162771"/>
                  <a:pt x="4164965" y="4161501"/>
                </a:cubicBezTo>
                <a:close/>
                <a:moveTo>
                  <a:pt x="4213860" y="3563966"/>
                </a:moveTo>
                <a:cubicBezTo>
                  <a:pt x="4262755" y="3564601"/>
                  <a:pt x="4258310" y="3487766"/>
                  <a:pt x="4210050" y="3492846"/>
                </a:cubicBezTo>
                <a:cubicBezTo>
                  <a:pt x="4166235" y="3496656"/>
                  <a:pt x="4170045" y="3565236"/>
                  <a:pt x="4213860" y="3563966"/>
                </a:cubicBezTo>
                <a:close/>
                <a:moveTo>
                  <a:pt x="4083050" y="3486496"/>
                </a:moveTo>
                <a:cubicBezTo>
                  <a:pt x="4135120" y="3487131"/>
                  <a:pt x="4130675" y="3404581"/>
                  <a:pt x="4078605" y="3410296"/>
                </a:cubicBezTo>
                <a:cubicBezTo>
                  <a:pt x="4032250" y="3414741"/>
                  <a:pt x="4036695" y="3487766"/>
                  <a:pt x="4083050" y="3486496"/>
                </a:cubicBezTo>
                <a:close/>
                <a:moveTo>
                  <a:pt x="4066540" y="3708746"/>
                </a:moveTo>
                <a:cubicBezTo>
                  <a:pt x="4117975" y="3708111"/>
                  <a:pt x="4102735" y="3626196"/>
                  <a:pt x="4054475" y="3644611"/>
                </a:cubicBezTo>
                <a:cubicBezTo>
                  <a:pt x="4020185" y="3656676"/>
                  <a:pt x="4030980" y="3710016"/>
                  <a:pt x="4066540" y="3708746"/>
                </a:cubicBezTo>
                <a:close/>
                <a:moveTo>
                  <a:pt x="4050665" y="3560156"/>
                </a:moveTo>
                <a:cubicBezTo>
                  <a:pt x="4061460" y="3605241"/>
                  <a:pt x="4131310" y="3587461"/>
                  <a:pt x="4119880" y="3543011"/>
                </a:cubicBezTo>
                <a:cubicBezTo>
                  <a:pt x="4109085" y="3497291"/>
                  <a:pt x="4038600" y="3515071"/>
                  <a:pt x="4050665" y="3560156"/>
                </a:cubicBezTo>
                <a:close/>
                <a:moveTo>
                  <a:pt x="4100830" y="3788121"/>
                </a:moveTo>
                <a:cubicBezTo>
                  <a:pt x="4116070" y="3824951"/>
                  <a:pt x="4173220" y="3800186"/>
                  <a:pt x="4157345" y="3763991"/>
                </a:cubicBezTo>
                <a:cubicBezTo>
                  <a:pt x="4142105" y="3727161"/>
                  <a:pt x="4084320" y="3751926"/>
                  <a:pt x="4100830" y="3788121"/>
                </a:cubicBezTo>
                <a:close/>
                <a:moveTo>
                  <a:pt x="4092575" y="4024341"/>
                </a:moveTo>
                <a:cubicBezTo>
                  <a:pt x="4062730" y="4040216"/>
                  <a:pt x="4088130" y="4085936"/>
                  <a:pt x="4117340" y="4069426"/>
                </a:cubicBezTo>
                <a:cubicBezTo>
                  <a:pt x="4147185" y="4054186"/>
                  <a:pt x="4121785" y="4007831"/>
                  <a:pt x="4092575" y="4024341"/>
                </a:cubicBezTo>
                <a:close/>
                <a:moveTo>
                  <a:pt x="4182745" y="3670646"/>
                </a:moveTo>
                <a:cubicBezTo>
                  <a:pt x="4231640" y="3670646"/>
                  <a:pt x="4221480" y="3593176"/>
                  <a:pt x="4174490" y="3605241"/>
                </a:cubicBezTo>
                <a:cubicBezTo>
                  <a:pt x="4137025" y="3614131"/>
                  <a:pt x="4145280" y="3671916"/>
                  <a:pt x="4182745" y="3670646"/>
                </a:cubicBezTo>
                <a:close/>
                <a:moveTo>
                  <a:pt x="4220845" y="3482686"/>
                </a:moveTo>
                <a:cubicBezTo>
                  <a:pt x="4270375" y="3485861"/>
                  <a:pt x="4274185" y="3408391"/>
                  <a:pt x="4225290" y="3406486"/>
                </a:cubicBezTo>
                <a:cubicBezTo>
                  <a:pt x="4175760" y="3403311"/>
                  <a:pt x="4171315" y="3480781"/>
                  <a:pt x="4220845" y="3482686"/>
                </a:cubicBezTo>
                <a:close/>
                <a:moveTo>
                  <a:pt x="4302760" y="3645881"/>
                </a:moveTo>
                <a:cubicBezTo>
                  <a:pt x="4349115" y="3646516"/>
                  <a:pt x="4344035" y="3572856"/>
                  <a:pt x="4298315" y="3579841"/>
                </a:cubicBezTo>
                <a:cubicBezTo>
                  <a:pt x="4258310" y="3584921"/>
                  <a:pt x="4262755" y="3647151"/>
                  <a:pt x="4302760" y="3645881"/>
                </a:cubicBezTo>
                <a:close/>
                <a:moveTo>
                  <a:pt x="6725920" y="4450426"/>
                </a:moveTo>
                <a:cubicBezTo>
                  <a:pt x="6744335" y="4459316"/>
                  <a:pt x="6758306" y="4430106"/>
                  <a:pt x="6739256" y="4421851"/>
                </a:cubicBezTo>
                <a:cubicBezTo>
                  <a:pt x="6721475" y="4412961"/>
                  <a:pt x="6707506" y="4442171"/>
                  <a:pt x="6725920" y="4450426"/>
                </a:cubicBezTo>
                <a:close/>
                <a:moveTo>
                  <a:pt x="4469130" y="3574126"/>
                </a:moveTo>
                <a:cubicBezTo>
                  <a:pt x="4491355" y="3578571"/>
                  <a:pt x="4512945" y="3559521"/>
                  <a:pt x="4511040" y="3536661"/>
                </a:cubicBezTo>
                <a:cubicBezTo>
                  <a:pt x="4585970" y="3486496"/>
                  <a:pt x="4457700" y="3417916"/>
                  <a:pt x="4457700" y="3508086"/>
                </a:cubicBezTo>
                <a:cubicBezTo>
                  <a:pt x="4429125" y="3523326"/>
                  <a:pt x="4436745" y="3569681"/>
                  <a:pt x="4469130" y="3574126"/>
                </a:cubicBezTo>
                <a:close/>
                <a:moveTo>
                  <a:pt x="4345940" y="3736686"/>
                </a:moveTo>
                <a:cubicBezTo>
                  <a:pt x="4390390" y="3736686"/>
                  <a:pt x="4382770" y="3666201"/>
                  <a:pt x="4339590" y="3675726"/>
                </a:cubicBezTo>
                <a:cubicBezTo>
                  <a:pt x="4304030" y="3683346"/>
                  <a:pt x="4310380" y="3737956"/>
                  <a:pt x="4345940" y="3736686"/>
                </a:cubicBezTo>
                <a:close/>
                <a:moveTo>
                  <a:pt x="4370070" y="3950681"/>
                </a:moveTo>
                <a:cubicBezTo>
                  <a:pt x="4409440" y="3950046"/>
                  <a:pt x="4398645" y="3887181"/>
                  <a:pt x="4361180" y="3900516"/>
                </a:cubicBezTo>
                <a:cubicBezTo>
                  <a:pt x="4334510" y="3909406"/>
                  <a:pt x="4342130" y="3951316"/>
                  <a:pt x="4370070" y="3950681"/>
                </a:cubicBezTo>
                <a:close/>
                <a:moveTo>
                  <a:pt x="4547870" y="3798281"/>
                </a:moveTo>
                <a:cubicBezTo>
                  <a:pt x="4584065" y="3793201"/>
                  <a:pt x="4575810" y="3736686"/>
                  <a:pt x="4539615" y="3742401"/>
                </a:cubicBezTo>
                <a:cubicBezTo>
                  <a:pt x="4503420" y="3747481"/>
                  <a:pt x="4512310" y="3804631"/>
                  <a:pt x="4547870" y="3798281"/>
                </a:cubicBezTo>
                <a:close/>
                <a:moveTo>
                  <a:pt x="4154805" y="3924011"/>
                </a:moveTo>
                <a:cubicBezTo>
                  <a:pt x="4187825" y="3908771"/>
                  <a:pt x="4163060" y="3856701"/>
                  <a:pt x="4130040" y="3873211"/>
                </a:cubicBezTo>
                <a:cubicBezTo>
                  <a:pt x="4097020" y="3888451"/>
                  <a:pt x="4122420" y="3940521"/>
                  <a:pt x="4154805" y="3924011"/>
                </a:cubicBezTo>
                <a:close/>
                <a:moveTo>
                  <a:pt x="4406900" y="4050376"/>
                </a:moveTo>
                <a:cubicBezTo>
                  <a:pt x="4443095" y="4049741"/>
                  <a:pt x="4432300" y="3992591"/>
                  <a:pt x="4398645" y="4005291"/>
                </a:cubicBezTo>
                <a:cubicBezTo>
                  <a:pt x="4375150" y="4013546"/>
                  <a:pt x="4382770" y="4051011"/>
                  <a:pt x="4406900" y="4050376"/>
                </a:cubicBezTo>
                <a:close/>
                <a:moveTo>
                  <a:pt x="4575175" y="3992591"/>
                </a:moveTo>
                <a:cubicBezTo>
                  <a:pt x="4610100" y="3992591"/>
                  <a:pt x="4601845" y="3937346"/>
                  <a:pt x="4568825" y="3946871"/>
                </a:cubicBezTo>
                <a:cubicBezTo>
                  <a:pt x="4543425" y="3953856"/>
                  <a:pt x="4549140" y="3993861"/>
                  <a:pt x="4575175" y="3992591"/>
                </a:cubicBezTo>
                <a:close/>
                <a:moveTo>
                  <a:pt x="4572000" y="3650326"/>
                </a:moveTo>
                <a:cubicBezTo>
                  <a:pt x="4531995" y="3649691"/>
                  <a:pt x="4532630" y="3712556"/>
                  <a:pt x="4572000" y="3711921"/>
                </a:cubicBezTo>
                <a:cubicBezTo>
                  <a:pt x="4612005" y="3711921"/>
                  <a:pt x="4612005" y="3649691"/>
                  <a:pt x="4572000" y="3650326"/>
                </a:cubicBezTo>
                <a:close/>
                <a:moveTo>
                  <a:pt x="4424680" y="3636356"/>
                </a:moveTo>
                <a:cubicBezTo>
                  <a:pt x="4467860" y="3636991"/>
                  <a:pt x="4467225" y="3569046"/>
                  <a:pt x="4424045" y="3570316"/>
                </a:cubicBezTo>
                <a:cubicBezTo>
                  <a:pt x="4381500" y="3569681"/>
                  <a:pt x="4382135" y="3636991"/>
                  <a:pt x="4424680" y="3636356"/>
                </a:cubicBezTo>
                <a:close/>
                <a:moveTo>
                  <a:pt x="4343400" y="3560156"/>
                </a:moveTo>
                <a:cubicBezTo>
                  <a:pt x="4374515" y="3562696"/>
                  <a:pt x="4392930" y="3521421"/>
                  <a:pt x="4370705" y="3500466"/>
                </a:cubicBezTo>
                <a:cubicBezTo>
                  <a:pt x="4408170" y="3491576"/>
                  <a:pt x="4406900" y="3433156"/>
                  <a:pt x="4368800" y="3426806"/>
                </a:cubicBezTo>
                <a:cubicBezTo>
                  <a:pt x="4332605" y="3417916"/>
                  <a:pt x="4307205" y="3466176"/>
                  <a:pt x="4333875" y="3490941"/>
                </a:cubicBezTo>
                <a:cubicBezTo>
                  <a:pt x="4297045" y="3501101"/>
                  <a:pt x="4304665" y="3559521"/>
                  <a:pt x="4343400" y="3560156"/>
                </a:cubicBezTo>
                <a:close/>
                <a:moveTo>
                  <a:pt x="4062730" y="3972271"/>
                </a:moveTo>
                <a:cubicBezTo>
                  <a:pt x="4095115" y="3955126"/>
                  <a:pt x="4067175" y="3904326"/>
                  <a:pt x="4035425" y="3922741"/>
                </a:cubicBezTo>
                <a:cubicBezTo>
                  <a:pt x="4003040" y="3939886"/>
                  <a:pt x="4030980" y="3990051"/>
                  <a:pt x="4062730" y="3972271"/>
                </a:cubicBezTo>
                <a:close/>
                <a:moveTo>
                  <a:pt x="4458335" y="3718271"/>
                </a:moveTo>
                <a:cubicBezTo>
                  <a:pt x="4500245" y="3718906"/>
                  <a:pt x="4497070" y="3652231"/>
                  <a:pt x="4455160" y="3657311"/>
                </a:cubicBezTo>
                <a:cubicBezTo>
                  <a:pt x="4417060" y="3660486"/>
                  <a:pt x="4420870" y="3718906"/>
                  <a:pt x="4458335" y="3718271"/>
                </a:cubicBezTo>
                <a:close/>
                <a:moveTo>
                  <a:pt x="4446905" y="3817966"/>
                </a:moveTo>
                <a:cubicBezTo>
                  <a:pt x="4482465" y="3809711"/>
                  <a:pt x="4469130" y="3753831"/>
                  <a:pt x="4433570" y="3762721"/>
                </a:cubicBezTo>
                <a:cubicBezTo>
                  <a:pt x="4398010" y="3770976"/>
                  <a:pt x="4411345" y="3826856"/>
                  <a:pt x="4446905" y="3817966"/>
                </a:cubicBezTo>
                <a:close/>
                <a:moveTo>
                  <a:pt x="4462145" y="3919566"/>
                </a:moveTo>
                <a:cubicBezTo>
                  <a:pt x="4500880" y="3919566"/>
                  <a:pt x="4491355" y="3857971"/>
                  <a:pt x="4454525" y="3869401"/>
                </a:cubicBezTo>
                <a:cubicBezTo>
                  <a:pt x="4426585" y="3877021"/>
                  <a:pt x="4433570" y="3920201"/>
                  <a:pt x="4462145" y="3919566"/>
                </a:cubicBezTo>
                <a:close/>
                <a:moveTo>
                  <a:pt x="4490720" y="4019896"/>
                </a:moveTo>
                <a:cubicBezTo>
                  <a:pt x="4493260" y="4019896"/>
                  <a:pt x="4495800" y="4019261"/>
                  <a:pt x="4498340" y="4018626"/>
                </a:cubicBezTo>
                <a:lnTo>
                  <a:pt x="4498340" y="4018626"/>
                </a:lnTo>
                <a:cubicBezTo>
                  <a:pt x="4526915" y="4009101"/>
                  <a:pt x="4511675" y="3964651"/>
                  <a:pt x="4483100" y="3974811"/>
                </a:cubicBezTo>
                <a:cubicBezTo>
                  <a:pt x="4458335" y="3981796"/>
                  <a:pt x="4465320" y="4020531"/>
                  <a:pt x="4490720" y="4019896"/>
                </a:cubicBezTo>
                <a:close/>
                <a:moveTo>
                  <a:pt x="3942715" y="3976716"/>
                </a:moveTo>
                <a:cubicBezTo>
                  <a:pt x="3910965" y="3995766"/>
                  <a:pt x="3942080" y="4044661"/>
                  <a:pt x="3972560" y="4024341"/>
                </a:cubicBezTo>
                <a:cubicBezTo>
                  <a:pt x="4004310" y="4005926"/>
                  <a:pt x="3973830" y="3957031"/>
                  <a:pt x="3942715" y="3976716"/>
                </a:cubicBezTo>
                <a:close/>
                <a:moveTo>
                  <a:pt x="3551555" y="4338031"/>
                </a:moveTo>
                <a:cubicBezTo>
                  <a:pt x="3580130" y="4315171"/>
                  <a:pt x="3542665" y="4270721"/>
                  <a:pt x="3515360" y="4294851"/>
                </a:cubicBezTo>
                <a:cubicBezTo>
                  <a:pt x="3487420" y="4318346"/>
                  <a:pt x="3524250" y="4362161"/>
                  <a:pt x="3551555" y="4338031"/>
                </a:cubicBezTo>
                <a:close/>
                <a:moveTo>
                  <a:pt x="3542665" y="4456141"/>
                </a:moveTo>
                <a:cubicBezTo>
                  <a:pt x="3588385" y="4454236"/>
                  <a:pt x="3564255" y="4383116"/>
                  <a:pt x="3526790" y="4410421"/>
                </a:cubicBezTo>
                <a:cubicBezTo>
                  <a:pt x="3507740" y="4424391"/>
                  <a:pt x="3519170" y="4457411"/>
                  <a:pt x="3542665" y="4456141"/>
                </a:cubicBezTo>
                <a:close/>
                <a:moveTo>
                  <a:pt x="3531235" y="3981161"/>
                </a:moveTo>
                <a:cubicBezTo>
                  <a:pt x="3498215" y="4009101"/>
                  <a:pt x="3542665" y="4059901"/>
                  <a:pt x="3575050" y="4031326"/>
                </a:cubicBezTo>
                <a:cubicBezTo>
                  <a:pt x="3607435" y="4002751"/>
                  <a:pt x="3562985" y="3951951"/>
                  <a:pt x="3531235" y="3981161"/>
                </a:cubicBezTo>
                <a:close/>
                <a:moveTo>
                  <a:pt x="3574415" y="4613621"/>
                </a:moveTo>
                <a:cubicBezTo>
                  <a:pt x="3609340" y="4612351"/>
                  <a:pt x="3593465" y="4557106"/>
                  <a:pt x="3562985" y="4574886"/>
                </a:cubicBezTo>
                <a:cubicBezTo>
                  <a:pt x="3545840" y="4585681"/>
                  <a:pt x="3554730" y="4614891"/>
                  <a:pt x="3574415" y="4613621"/>
                </a:cubicBezTo>
                <a:close/>
                <a:moveTo>
                  <a:pt x="3647440" y="3960206"/>
                </a:moveTo>
                <a:cubicBezTo>
                  <a:pt x="3706495" y="3956396"/>
                  <a:pt x="3675380" y="3866861"/>
                  <a:pt x="3626485" y="3901151"/>
                </a:cubicBezTo>
                <a:cubicBezTo>
                  <a:pt x="3601720" y="3919566"/>
                  <a:pt x="3616960" y="3961476"/>
                  <a:pt x="3647440" y="3960206"/>
                </a:cubicBezTo>
                <a:close/>
                <a:moveTo>
                  <a:pt x="3615055" y="4277071"/>
                </a:moveTo>
                <a:cubicBezTo>
                  <a:pt x="3665220" y="4275166"/>
                  <a:pt x="3637915" y="4196426"/>
                  <a:pt x="3597275" y="4226906"/>
                </a:cubicBezTo>
                <a:cubicBezTo>
                  <a:pt x="3576320" y="4242781"/>
                  <a:pt x="3589655" y="4278341"/>
                  <a:pt x="3615055" y="4277071"/>
                </a:cubicBezTo>
                <a:close/>
                <a:moveTo>
                  <a:pt x="4007485" y="4073236"/>
                </a:moveTo>
                <a:cubicBezTo>
                  <a:pt x="3978275" y="4089746"/>
                  <a:pt x="4005580" y="4134831"/>
                  <a:pt x="4034155" y="4117686"/>
                </a:cubicBezTo>
                <a:cubicBezTo>
                  <a:pt x="4062730" y="4100541"/>
                  <a:pt x="4036060" y="4056091"/>
                  <a:pt x="4007485" y="4073236"/>
                </a:cubicBezTo>
                <a:close/>
                <a:moveTo>
                  <a:pt x="3620135" y="4397086"/>
                </a:moveTo>
                <a:cubicBezTo>
                  <a:pt x="3665220" y="4395181"/>
                  <a:pt x="3641725" y="4324696"/>
                  <a:pt x="3604260" y="4350731"/>
                </a:cubicBezTo>
                <a:cubicBezTo>
                  <a:pt x="3584575" y="4364701"/>
                  <a:pt x="3596640" y="4397721"/>
                  <a:pt x="3620135" y="4397086"/>
                </a:cubicBezTo>
                <a:close/>
                <a:moveTo>
                  <a:pt x="3564255" y="4540596"/>
                </a:moveTo>
                <a:cubicBezTo>
                  <a:pt x="3604895" y="4539326"/>
                  <a:pt x="3584575" y="4475826"/>
                  <a:pt x="3550920" y="4498051"/>
                </a:cubicBezTo>
                <a:cubicBezTo>
                  <a:pt x="3531870" y="4510751"/>
                  <a:pt x="3542665" y="4541231"/>
                  <a:pt x="3564255" y="4540596"/>
                </a:cubicBezTo>
                <a:close/>
                <a:moveTo>
                  <a:pt x="3697605" y="4338031"/>
                </a:moveTo>
                <a:cubicBezTo>
                  <a:pt x="3742690" y="4336126"/>
                  <a:pt x="3719830" y="4266276"/>
                  <a:pt x="3682365" y="4291676"/>
                </a:cubicBezTo>
                <a:cubicBezTo>
                  <a:pt x="3662045" y="4305646"/>
                  <a:pt x="3674110" y="4339301"/>
                  <a:pt x="3697605" y="4338031"/>
                </a:cubicBezTo>
                <a:close/>
                <a:moveTo>
                  <a:pt x="3756025" y="4033866"/>
                </a:moveTo>
                <a:cubicBezTo>
                  <a:pt x="3788410" y="4010371"/>
                  <a:pt x="3750310" y="3960206"/>
                  <a:pt x="3719195" y="3984971"/>
                </a:cubicBezTo>
                <a:cubicBezTo>
                  <a:pt x="3686810" y="4008466"/>
                  <a:pt x="3724275" y="4058631"/>
                  <a:pt x="3756025" y="4033866"/>
                </a:cubicBezTo>
                <a:close/>
                <a:moveTo>
                  <a:pt x="3791585" y="4276436"/>
                </a:moveTo>
                <a:cubicBezTo>
                  <a:pt x="3818890" y="4257386"/>
                  <a:pt x="3788410" y="4214841"/>
                  <a:pt x="3761740" y="4234526"/>
                </a:cubicBezTo>
                <a:cubicBezTo>
                  <a:pt x="3733800" y="4253576"/>
                  <a:pt x="3764915" y="4296121"/>
                  <a:pt x="3791585" y="4276436"/>
                </a:cubicBezTo>
                <a:close/>
                <a:moveTo>
                  <a:pt x="3637280" y="4489796"/>
                </a:moveTo>
                <a:cubicBezTo>
                  <a:pt x="3677285" y="4488526"/>
                  <a:pt x="3657600" y="4425661"/>
                  <a:pt x="3623945" y="4447251"/>
                </a:cubicBezTo>
                <a:cubicBezTo>
                  <a:pt x="3604895" y="4459316"/>
                  <a:pt x="3615055" y="4490431"/>
                  <a:pt x="3637280" y="4489796"/>
                </a:cubicBezTo>
                <a:close/>
                <a:moveTo>
                  <a:pt x="3642360" y="4571076"/>
                </a:moveTo>
                <a:cubicBezTo>
                  <a:pt x="3677285" y="4570441"/>
                  <a:pt x="3662045" y="4514561"/>
                  <a:pt x="3631565" y="4532341"/>
                </a:cubicBezTo>
                <a:cubicBezTo>
                  <a:pt x="3613785" y="4543136"/>
                  <a:pt x="3622675" y="4572346"/>
                  <a:pt x="3642360" y="4571076"/>
                </a:cubicBezTo>
                <a:close/>
                <a:moveTo>
                  <a:pt x="3698240" y="4211031"/>
                </a:moveTo>
                <a:cubicBezTo>
                  <a:pt x="3747770" y="4209126"/>
                  <a:pt x="3721735" y="4131656"/>
                  <a:pt x="3681095" y="4160231"/>
                </a:cubicBezTo>
                <a:cubicBezTo>
                  <a:pt x="3659505" y="4176106"/>
                  <a:pt x="3672205" y="4212301"/>
                  <a:pt x="3698240" y="4211031"/>
                </a:cubicBezTo>
                <a:close/>
                <a:moveTo>
                  <a:pt x="3670935" y="4060536"/>
                </a:moveTo>
                <a:cubicBezTo>
                  <a:pt x="3646170" y="4029421"/>
                  <a:pt x="3597910" y="4068791"/>
                  <a:pt x="3623310" y="4099271"/>
                </a:cubicBezTo>
                <a:cubicBezTo>
                  <a:pt x="3648710" y="4131021"/>
                  <a:pt x="3696970" y="4091016"/>
                  <a:pt x="3670935" y="4060536"/>
                </a:cubicBezTo>
                <a:close/>
                <a:moveTo>
                  <a:pt x="3540125" y="4130386"/>
                </a:moveTo>
                <a:cubicBezTo>
                  <a:pt x="3540125" y="4130386"/>
                  <a:pt x="3540125" y="4130386"/>
                  <a:pt x="3540125" y="4130386"/>
                </a:cubicBezTo>
                <a:cubicBezTo>
                  <a:pt x="3509645" y="4155786"/>
                  <a:pt x="3550920" y="4203411"/>
                  <a:pt x="3580130" y="4176741"/>
                </a:cubicBezTo>
                <a:cubicBezTo>
                  <a:pt x="3610610" y="4151341"/>
                  <a:pt x="3569335" y="4104351"/>
                  <a:pt x="3540125" y="4130386"/>
                </a:cubicBezTo>
                <a:close/>
                <a:moveTo>
                  <a:pt x="3946525" y="3513166"/>
                </a:moveTo>
                <a:cubicBezTo>
                  <a:pt x="4003040" y="3513166"/>
                  <a:pt x="3990975" y="3423631"/>
                  <a:pt x="3936365" y="3438236"/>
                </a:cubicBezTo>
                <a:cubicBezTo>
                  <a:pt x="3894455" y="3449031"/>
                  <a:pt x="3903980" y="3514436"/>
                  <a:pt x="3946525" y="3513166"/>
                </a:cubicBezTo>
                <a:close/>
                <a:moveTo>
                  <a:pt x="3926205" y="3911946"/>
                </a:moveTo>
                <a:cubicBezTo>
                  <a:pt x="3977640" y="3910676"/>
                  <a:pt x="3955415" y="3829396"/>
                  <a:pt x="3910330" y="3854796"/>
                </a:cubicBezTo>
                <a:cubicBezTo>
                  <a:pt x="3883660" y="3869401"/>
                  <a:pt x="3896360" y="3912581"/>
                  <a:pt x="3926205" y="3911946"/>
                </a:cubicBezTo>
                <a:close/>
                <a:moveTo>
                  <a:pt x="3845560" y="4298026"/>
                </a:moveTo>
                <a:cubicBezTo>
                  <a:pt x="3819525" y="4313901"/>
                  <a:pt x="3845560" y="4353906"/>
                  <a:pt x="3870960" y="4337396"/>
                </a:cubicBezTo>
                <a:cubicBezTo>
                  <a:pt x="3896360" y="4321521"/>
                  <a:pt x="3870960" y="4281516"/>
                  <a:pt x="3845560" y="4298026"/>
                </a:cubicBezTo>
                <a:close/>
                <a:moveTo>
                  <a:pt x="3877945" y="4185631"/>
                </a:moveTo>
                <a:cubicBezTo>
                  <a:pt x="3859530" y="4157691"/>
                  <a:pt x="3816350" y="4186901"/>
                  <a:pt x="3835400" y="4214841"/>
                </a:cubicBezTo>
                <a:cubicBezTo>
                  <a:pt x="3853815" y="4242146"/>
                  <a:pt x="3896995" y="4212936"/>
                  <a:pt x="3877945" y="4185631"/>
                </a:cubicBezTo>
                <a:close/>
                <a:moveTo>
                  <a:pt x="4556125" y="3894166"/>
                </a:moveTo>
                <a:cubicBezTo>
                  <a:pt x="4593590" y="3894166"/>
                  <a:pt x="4586605" y="3835111"/>
                  <a:pt x="4550410" y="3843366"/>
                </a:cubicBezTo>
                <a:cubicBezTo>
                  <a:pt x="4521200" y="3849081"/>
                  <a:pt x="4526280" y="3894801"/>
                  <a:pt x="4556125" y="3894166"/>
                </a:cubicBezTo>
                <a:close/>
                <a:moveTo>
                  <a:pt x="3998595" y="3838921"/>
                </a:moveTo>
                <a:cubicBezTo>
                  <a:pt x="4017010" y="3874481"/>
                  <a:pt x="4071620" y="3845906"/>
                  <a:pt x="4053205" y="3810346"/>
                </a:cubicBezTo>
                <a:cubicBezTo>
                  <a:pt x="4034790" y="3775421"/>
                  <a:pt x="3979545" y="3803996"/>
                  <a:pt x="3998595" y="3838921"/>
                </a:cubicBezTo>
                <a:close/>
                <a:moveTo>
                  <a:pt x="3947795" y="3558251"/>
                </a:moveTo>
                <a:cubicBezTo>
                  <a:pt x="3903980" y="3574761"/>
                  <a:pt x="3931285" y="3642071"/>
                  <a:pt x="3973830" y="3624291"/>
                </a:cubicBezTo>
                <a:cubicBezTo>
                  <a:pt x="4017010" y="3608416"/>
                  <a:pt x="3990340" y="3540471"/>
                  <a:pt x="3947795" y="3558251"/>
                </a:cubicBezTo>
                <a:close/>
                <a:moveTo>
                  <a:pt x="3983990" y="3710651"/>
                </a:moveTo>
                <a:cubicBezTo>
                  <a:pt x="3964940" y="3671916"/>
                  <a:pt x="3904615" y="3702396"/>
                  <a:pt x="3924935" y="3740496"/>
                </a:cubicBezTo>
                <a:cubicBezTo>
                  <a:pt x="3943985" y="3779231"/>
                  <a:pt x="4004310" y="3748751"/>
                  <a:pt x="3983990" y="3710651"/>
                </a:cubicBezTo>
                <a:close/>
                <a:moveTo>
                  <a:pt x="3439160" y="4064346"/>
                </a:moveTo>
                <a:cubicBezTo>
                  <a:pt x="3407410" y="4093556"/>
                  <a:pt x="3453765" y="4142451"/>
                  <a:pt x="3484880" y="4112606"/>
                </a:cubicBezTo>
                <a:cubicBezTo>
                  <a:pt x="3516630" y="4083396"/>
                  <a:pt x="3470275" y="4034501"/>
                  <a:pt x="3439160" y="4064346"/>
                </a:cubicBezTo>
                <a:close/>
                <a:moveTo>
                  <a:pt x="3453765" y="4207221"/>
                </a:moveTo>
                <a:cubicBezTo>
                  <a:pt x="3423920" y="4233891"/>
                  <a:pt x="3466465" y="4279611"/>
                  <a:pt x="3495040" y="4252306"/>
                </a:cubicBezTo>
                <a:cubicBezTo>
                  <a:pt x="3524885" y="4226271"/>
                  <a:pt x="3482975" y="4179916"/>
                  <a:pt x="3453765" y="4207221"/>
                </a:cubicBezTo>
                <a:close/>
                <a:moveTo>
                  <a:pt x="3432175" y="4404071"/>
                </a:moveTo>
                <a:cubicBezTo>
                  <a:pt x="3455670" y="4432011"/>
                  <a:pt x="3498850" y="4393911"/>
                  <a:pt x="3474720" y="4366606"/>
                </a:cubicBezTo>
                <a:cubicBezTo>
                  <a:pt x="3451225" y="4338666"/>
                  <a:pt x="3407410" y="4376766"/>
                  <a:pt x="3432175" y="4404071"/>
                </a:cubicBezTo>
                <a:close/>
                <a:moveTo>
                  <a:pt x="3466465" y="4517101"/>
                </a:moveTo>
                <a:cubicBezTo>
                  <a:pt x="3512185" y="4515196"/>
                  <a:pt x="3487420" y="4444076"/>
                  <a:pt x="3450590" y="4471381"/>
                </a:cubicBezTo>
                <a:cubicBezTo>
                  <a:pt x="3431540" y="4485351"/>
                  <a:pt x="3443605" y="4517736"/>
                  <a:pt x="3466465" y="4517101"/>
                </a:cubicBezTo>
                <a:close/>
                <a:moveTo>
                  <a:pt x="3693160" y="4519006"/>
                </a:moveTo>
                <a:cubicBezTo>
                  <a:pt x="3707130" y="4542501"/>
                  <a:pt x="3743325" y="4520276"/>
                  <a:pt x="3728720" y="4497416"/>
                </a:cubicBezTo>
                <a:cubicBezTo>
                  <a:pt x="3715385" y="4473921"/>
                  <a:pt x="3679190" y="4496146"/>
                  <a:pt x="3693160" y="4519006"/>
                </a:cubicBezTo>
                <a:close/>
                <a:moveTo>
                  <a:pt x="3696970" y="4396451"/>
                </a:moveTo>
                <a:cubicBezTo>
                  <a:pt x="3677920" y="4408516"/>
                  <a:pt x="3688080" y="4439631"/>
                  <a:pt x="3710305" y="4438996"/>
                </a:cubicBezTo>
                <a:cubicBezTo>
                  <a:pt x="3750310" y="4437726"/>
                  <a:pt x="3731260" y="4374861"/>
                  <a:pt x="3696970" y="4396451"/>
                </a:cubicBezTo>
                <a:close/>
                <a:moveTo>
                  <a:pt x="3855085" y="3925281"/>
                </a:moveTo>
                <a:cubicBezTo>
                  <a:pt x="3832860" y="3892261"/>
                  <a:pt x="3781425" y="3927186"/>
                  <a:pt x="3804285" y="3960206"/>
                </a:cubicBezTo>
                <a:cubicBezTo>
                  <a:pt x="3827145" y="3993226"/>
                  <a:pt x="3878580" y="3958301"/>
                  <a:pt x="3855085" y="3925281"/>
                </a:cubicBezTo>
                <a:close/>
                <a:moveTo>
                  <a:pt x="3491865" y="4592031"/>
                </a:moveTo>
                <a:cubicBezTo>
                  <a:pt x="3532505" y="4590761"/>
                  <a:pt x="3512185" y="4527261"/>
                  <a:pt x="3478530" y="4550121"/>
                </a:cubicBezTo>
                <a:cubicBezTo>
                  <a:pt x="3478530" y="4550121"/>
                  <a:pt x="3478530" y="4550121"/>
                  <a:pt x="3478530" y="4550121"/>
                </a:cubicBezTo>
                <a:cubicBezTo>
                  <a:pt x="3459480" y="4562186"/>
                  <a:pt x="3470275" y="4593301"/>
                  <a:pt x="3491865" y="4592031"/>
                </a:cubicBezTo>
                <a:close/>
                <a:moveTo>
                  <a:pt x="4311650" y="3828126"/>
                </a:moveTo>
                <a:cubicBezTo>
                  <a:pt x="4322445" y="3863051"/>
                  <a:pt x="4377055" y="3845271"/>
                  <a:pt x="4364990" y="3810981"/>
                </a:cubicBezTo>
                <a:cubicBezTo>
                  <a:pt x="4354830" y="3775421"/>
                  <a:pt x="4300220" y="3793201"/>
                  <a:pt x="4311650" y="3828126"/>
                </a:cubicBezTo>
                <a:close/>
                <a:moveTo>
                  <a:pt x="6316980" y="4292311"/>
                </a:moveTo>
                <a:cubicBezTo>
                  <a:pt x="6306820" y="4313901"/>
                  <a:pt x="6340475" y="4329776"/>
                  <a:pt x="6350000" y="4307551"/>
                </a:cubicBezTo>
                <a:cubicBezTo>
                  <a:pt x="6360795" y="4286596"/>
                  <a:pt x="6326505" y="4270721"/>
                  <a:pt x="6316980" y="4292311"/>
                </a:cubicBezTo>
                <a:close/>
                <a:moveTo>
                  <a:pt x="6483985" y="4615526"/>
                </a:moveTo>
                <a:cubicBezTo>
                  <a:pt x="6457950" y="4594571"/>
                  <a:pt x="6425565" y="4635846"/>
                  <a:pt x="6452235" y="4656166"/>
                </a:cubicBezTo>
                <a:cubicBezTo>
                  <a:pt x="6478270" y="4677121"/>
                  <a:pt x="6510656" y="4635846"/>
                  <a:pt x="6483985" y="4615526"/>
                </a:cubicBezTo>
                <a:close/>
                <a:moveTo>
                  <a:pt x="6455410" y="5109556"/>
                </a:moveTo>
                <a:cubicBezTo>
                  <a:pt x="6517640" y="5105111"/>
                  <a:pt x="6479540" y="5011766"/>
                  <a:pt x="6431915" y="5053041"/>
                </a:cubicBezTo>
                <a:cubicBezTo>
                  <a:pt x="6410960" y="5072726"/>
                  <a:pt x="6427470" y="5110826"/>
                  <a:pt x="6455410" y="5109556"/>
                </a:cubicBezTo>
                <a:close/>
                <a:moveTo>
                  <a:pt x="6485255" y="4420581"/>
                </a:moveTo>
                <a:cubicBezTo>
                  <a:pt x="6462395" y="4405976"/>
                  <a:pt x="6440170" y="4441536"/>
                  <a:pt x="6463030" y="4455506"/>
                </a:cubicBezTo>
                <a:cubicBezTo>
                  <a:pt x="6485255" y="4470111"/>
                  <a:pt x="6508115" y="4434551"/>
                  <a:pt x="6485255" y="4420581"/>
                </a:cubicBezTo>
                <a:close/>
                <a:moveTo>
                  <a:pt x="6447155" y="4539326"/>
                </a:moveTo>
                <a:cubicBezTo>
                  <a:pt x="6471285" y="4557106"/>
                  <a:pt x="6499225" y="4519006"/>
                  <a:pt x="6474460" y="4501226"/>
                </a:cubicBezTo>
                <a:cubicBezTo>
                  <a:pt x="6450330" y="4484081"/>
                  <a:pt x="6422390" y="4522181"/>
                  <a:pt x="6447155" y="4539326"/>
                </a:cubicBezTo>
                <a:close/>
                <a:moveTo>
                  <a:pt x="6443345" y="4923501"/>
                </a:moveTo>
                <a:cubicBezTo>
                  <a:pt x="6470015" y="4924771"/>
                  <a:pt x="6484620" y="4887941"/>
                  <a:pt x="6464300" y="4870161"/>
                </a:cubicBezTo>
                <a:cubicBezTo>
                  <a:pt x="6419850" y="4834601"/>
                  <a:pt x="6386830" y="4919691"/>
                  <a:pt x="6443345" y="4923501"/>
                </a:cubicBezTo>
                <a:close/>
                <a:moveTo>
                  <a:pt x="6352540" y="4665691"/>
                </a:moveTo>
                <a:cubicBezTo>
                  <a:pt x="6328410" y="4692996"/>
                  <a:pt x="6371590" y="4730461"/>
                  <a:pt x="6395085" y="4702521"/>
                </a:cubicBezTo>
                <a:cubicBezTo>
                  <a:pt x="6419850" y="4675216"/>
                  <a:pt x="6376035" y="4637751"/>
                  <a:pt x="6352540" y="4665691"/>
                </a:cubicBezTo>
                <a:close/>
                <a:moveTo>
                  <a:pt x="6407785" y="4555201"/>
                </a:moveTo>
                <a:cubicBezTo>
                  <a:pt x="6381750" y="4534246"/>
                  <a:pt x="6349365" y="4574886"/>
                  <a:pt x="6375400" y="4595206"/>
                </a:cubicBezTo>
                <a:cubicBezTo>
                  <a:pt x="6401435" y="4616796"/>
                  <a:pt x="6434455" y="4576156"/>
                  <a:pt x="6407785" y="4555201"/>
                </a:cubicBezTo>
                <a:close/>
                <a:moveTo>
                  <a:pt x="6375400" y="4487256"/>
                </a:moveTo>
                <a:cubicBezTo>
                  <a:pt x="6399530" y="4505671"/>
                  <a:pt x="6427470" y="4466936"/>
                  <a:pt x="6402705" y="4449791"/>
                </a:cubicBezTo>
                <a:cubicBezTo>
                  <a:pt x="6402705" y="4449791"/>
                  <a:pt x="6402705" y="4449791"/>
                  <a:pt x="6402705" y="4449791"/>
                </a:cubicBezTo>
                <a:cubicBezTo>
                  <a:pt x="6378575" y="4431376"/>
                  <a:pt x="6350635" y="4469476"/>
                  <a:pt x="6375400" y="4487256"/>
                </a:cubicBezTo>
                <a:close/>
                <a:moveTo>
                  <a:pt x="6376670" y="4303106"/>
                </a:moveTo>
                <a:cubicBezTo>
                  <a:pt x="6395720" y="4310726"/>
                  <a:pt x="6407150" y="4280246"/>
                  <a:pt x="6387465" y="4273261"/>
                </a:cubicBezTo>
                <a:cubicBezTo>
                  <a:pt x="6368415" y="4266276"/>
                  <a:pt x="6356985" y="4296756"/>
                  <a:pt x="6376670" y="4303106"/>
                </a:cubicBezTo>
                <a:close/>
                <a:moveTo>
                  <a:pt x="6381115" y="4792056"/>
                </a:moveTo>
                <a:cubicBezTo>
                  <a:pt x="6352540" y="4764116"/>
                  <a:pt x="6309360" y="4809836"/>
                  <a:pt x="6339205" y="4836506"/>
                </a:cubicBezTo>
                <a:cubicBezTo>
                  <a:pt x="6367145" y="4864446"/>
                  <a:pt x="6410325" y="4819361"/>
                  <a:pt x="6381115" y="4792056"/>
                </a:cubicBezTo>
                <a:close/>
                <a:moveTo>
                  <a:pt x="6347460" y="4336126"/>
                </a:moveTo>
                <a:cubicBezTo>
                  <a:pt x="6324600" y="4322156"/>
                  <a:pt x="6303010" y="4358351"/>
                  <a:pt x="6326505" y="4372321"/>
                </a:cubicBezTo>
                <a:cubicBezTo>
                  <a:pt x="6349365" y="4385656"/>
                  <a:pt x="6370955" y="4349461"/>
                  <a:pt x="6347460" y="4336126"/>
                </a:cubicBezTo>
                <a:close/>
                <a:moveTo>
                  <a:pt x="6381750" y="4322791"/>
                </a:moveTo>
                <a:cubicBezTo>
                  <a:pt x="6377305" y="4331681"/>
                  <a:pt x="6381115" y="4343111"/>
                  <a:pt x="6390005" y="4347556"/>
                </a:cubicBezTo>
                <a:lnTo>
                  <a:pt x="6390005" y="4347556"/>
                </a:lnTo>
                <a:cubicBezTo>
                  <a:pt x="6436995" y="4359621"/>
                  <a:pt x="6411595" y="4284691"/>
                  <a:pt x="6381750" y="4322791"/>
                </a:cubicBezTo>
                <a:close/>
                <a:moveTo>
                  <a:pt x="6446520" y="4354541"/>
                </a:moveTo>
                <a:cubicBezTo>
                  <a:pt x="6435725" y="4375496"/>
                  <a:pt x="6468745" y="4392641"/>
                  <a:pt x="6479540" y="4371051"/>
                </a:cubicBezTo>
                <a:cubicBezTo>
                  <a:pt x="6490335" y="4350096"/>
                  <a:pt x="6457315" y="4333586"/>
                  <a:pt x="6446520" y="4354541"/>
                </a:cubicBezTo>
                <a:close/>
                <a:moveTo>
                  <a:pt x="6435725" y="4325966"/>
                </a:moveTo>
                <a:cubicBezTo>
                  <a:pt x="6454775" y="4333586"/>
                  <a:pt x="6466840" y="4303741"/>
                  <a:pt x="6447155" y="4296121"/>
                </a:cubicBezTo>
                <a:cubicBezTo>
                  <a:pt x="6428105" y="4288501"/>
                  <a:pt x="6416675" y="4318346"/>
                  <a:pt x="6435725" y="4325966"/>
                </a:cubicBezTo>
                <a:close/>
                <a:moveTo>
                  <a:pt x="6388100" y="4384386"/>
                </a:moveTo>
                <a:cubicBezTo>
                  <a:pt x="6373495" y="4407246"/>
                  <a:pt x="6409690" y="4429471"/>
                  <a:pt x="6423660" y="4405976"/>
                </a:cubicBezTo>
                <a:cubicBezTo>
                  <a:pt x="6438265" y="4383116"/>
                  <a:pt x="6402070" y="4361526"/>
                  <a:pt x="6388100" y="4384386"/>
                </a:cubicBezTo>
                <a:close/>
                <a:moveTo>
                  <a:pt x="6432550" y="4734906"/>
                </a:moveTo>
                <a:cubicBezTo>
                  <a:pt x="6397625" y="4800311"/>
                  <a:pt x="6517640" y="4790151"/>
                  <a:pt x="6472555" y="4731731"/>
                </a:cubicBezTo>
                <a:cubicBezTo>
                  <a:pt x="6472555" y="4731731"/>
                  <a:pt x="6472555" y="4731731"/>
                  <a:pt x="6472555" y="4731731"/>
                </a:cubicBezTo>
                <a:cubicBezTo>
                  <a:pt x="6460490" y="4721571"/>
                  <a:pt x="6442710" y="4722841"/>
                  <a:pt x="6432550" y="4734906"/>
                </a:cubicBezTo>
                <a:close/>
                <a:moveTo>
                  <a:pt x="4514215" y="3605241"/>
                </a:moveTo>
                <a:cubicBezTo>
                  <a:pt x="4509770" y="3659851"/>
                  <a:pt x="4598035" y="3646516"/>
                  <a:pt x="4577715" y="3595716"/>
                </a:cubicBezTo>
                <a:cubicBezTo>
                  <a:pt x="4591685" y="3609686"/>
                  <a:pt x="4616450" y="3609051"/>
                  <a:pt x="4629150" y="3593811"/>
                </a:cubicBezTo>
                <a:cubicBezTo>
                  <a:pt x="4702175" y="3576666"/>
                  <a:pt x="4634865" y="3475701"/>
                  <a:pt x="4591050" y="3536661"/>
                </a:cubicBezTo>
                <a:cubicBezTo>
                  <a:pt x="4572000" y="3542376"/>
                  <a:pt x="4561205" y="3567141"/>
                  <a:pt x="4570095" y="3584921"/>
                </a:cubicBezTo>
                <a:cubicBezTo>
                  <a:pt x="4551680" y="3565871"/>
                  <a:pt x="4516120" y="3578571"/>
                  <a:pt x="4514215" y="3605241"/>
                </a:cubicBezTo>
                <a:close/>
                <a:moveTo>
                  <a:pt x="6553200" y="4463761"/>
                </a:moveTo>
                <a:cubicBezTo>
                  <a:pt x="6530975" y="4448521"/>
                  <a:pt x="6507481" y="4484081"/>
                  <a:pt x="6530340" y="4498686"/>
                </a:cubicBezTo>
                <a:cubicBezTo>
                  <a:pt x="6552565" y="4513926"/>
                  <a:pt x="6576060" y="4478366"/>
                  <a:pt x="6553200" y="4463761"/>
                </a:cubicBezTo>
                <a:close/>
                <a:moveTo>
                  <a:pt x="6644006" y="4481541"/>
                </a:moveTo>
                <a:cubicBezTo>
                  <a:pt x="6664325" y="4493606"/>
                  <a:pt x="6682740" y="4461221"/>
                  <a:pt x="6661785" y="4449791"/>
                </a:cubicBezTo>
                <a:cubicBezTo>
                  <a:pt x="6641465" y="4437726"/>
                  <a:pt x="6623050" y="4470111"/>
                  <a:pt x="6644006" y="4481541"/>
                </a:cubicBezTo>
                <a:close/>
                <a:moveTo>
                  <a:pt x="6514465" y="4559011"/>
                </a:moveTo>
                <a:cubicBezTo>
                  <a:pt x="6496685" y="4583776"/>
                  <a:pt x="6535420" y="4611081"/>
                  <a:pt x="6552565" y="4585681"/>
                </a:cubicBezTo>
                <a:cubicBezTo>
                  <a:pt x="6570345" y="4560916"/>
                  <a:pt x="6531610" y="4533611"/>
                  <a:pt x="6514465" y="4559011"/>
                </a:cubicBezTo>
                <a:close/>
                <a:moveTo>
                  <a:pt x="6610985" y="4398356"/>
                </a:moveTo>
                <a:cubicBezTo>
                  <a:pt x="6629400" y="4407246"/>
                  <a:pt x="6642735" y="4377401"/>
                  <a:pt x="6623685" y="4369146"/>
                </a:cubicBezTo>
                <a:cubicBezTo>
                  <a:pt x="6605270" y="4360891"/>
                  <a:pt x="6591935" y="4390101"/>
                  <a:pt x="6610985" y="4398356"/>
                </a:cubicBezTo>
                <a:close/>
                <a:moveTo>
                  <a:pt x="6706870" y="4516466"/>
                </a:moveTo>
                <a:cubicBezTo>
                  <a:pt x="6727825" y="4527896"/>
                  <a:pt x="6745606" y="4494876"/>
                  <a:pt x="6724015" y="4484081"/>
                </a:cubicBezTo>
                <a:cubicBezTo>
                  <a:pt x="6703695" y="4472651"/>
                  <a:pt x="6685915" y="4505671"/>
                  <a:pt x="6706870" y="4516466"/>
                </a:cubicBezTo>
                <a:close/>
                <a:moveTo>
                  <a:pt x="6369050" y="5022561"/>
                </a:moveTo>
                <a:cubicBezTo>
                  <a:pt x="6431280" y="5018116"/>
                  <a:pt x="6393815" y="4925406"/>
                  <a:pt x="6345555" y="4965411"/>
                </a:cubicBezTo>
                <a:cubicBezTo>
                  <a:pt x="6324600" y="4985096"/>
                  <a:pt x="6340475" y="5023196"/>
                  <a:pt x="6369050" y="5022561"/>
                </a:cubicBezTo>
                <a:close/>
                <a:moveTo>
                  <a:pt x="6660515" y="4555836"/>
                </a:moveTo>
                <a:cubicBezTo>
                  <a:pt x="6646545" y="4578696"/>
                  <a:pt x="6682740" y="4600921"/>
                  <a:pt x="6696075" y="4577426"/>
                </a:cubicBezTo>
                <a:cubicBezTo>
                  <a:pt x="6710045" y="4554566"/>
                  <a:pt x="6673850" y="4532341"/>
                  <a:pt x="6660515" y="4555836"/>
                </a:cubicBezTo>
                <a:close/>
                <a:moveTo>
                  <a:pt x="6668770" y="4424391"/>
                </a:moveTo>
                <a:cubicBezTo>
                  <a:pt x="6687185" y="4433281"/>
                  <a:pt x="6701156" y="4404071"/>
                  <a:pt x="6682106" y="4395181"/>
                </a:cubicBezTo>
                <a:cubicBezTo>
                  <a:pt x="6663056" y="4386291"/>
                  <a:pt x="6649720" y="4415501"/>
                  <a:pt x="6668770" y="4424391"/>
                </a:cubicBezTo>
                <a:close/>
                <a:moveTo>
                  <a:pt x="6553200" y="4372956"/>
                </a:moveTo>
                <a:cubicBezTo>
                  <a:pt x="6572250" y="4381211"/>
                  <a:pt x="6584950" y="4351366"/>
                  <a:pt x="6565265" y="4343746"/>
                </a:cubicBezTo>
                <a:cubicBezTo>
                  <a:pt x="6546215" y="4335491"/>
                  <a:pt x="6533515" y="4365336"/>
                  <a:pt x="6553200" y="4372956"/>
                </a:cubicBezTo>
                <a:close/>
                <a:moveTo>
                  <a:pt x="6510656" y="4387561"/>
                </a:moveTo>
                <a:cubicBezTo>
                  <a:pt x="6499225" y="4408516"/>
                  <a:pt x="6532245" y="4426296"/>
                  <a:pt x="6543040" y="4404706"/>
                </a:cubicBezTo>
                <a:cubicBezTo>
                  <a:pt x="6554470" y="4383751"/>
                  <a:pt x="6521450" y="4366606"/>
                  <a:pt x="6510656" y="4387561"/>
                </a:cubicBezTo>
                <a:close/>
                <a:moveTo>
                  <a:pt x="6494780" y="4348826"/>
                </a:moveTo>
                <a:cubicBezTo>
                  <a:pt x="6513831" y="4357081"/>
                  <a:pt x="6525895" y="4326601"/>
                  <a:pt x="6506845" y="4319616"/>
                </a:cubicBezTo>
                <a:cubicBezTo>
                  <a:pt x="6487160" y="4311361"/>
                  <a:pt x="6475095" y="4341841"/>
                  <a:pt x="6494780" y="4348826"/>
                </a:cubicBezTo>
                <a:close/>
                <a:moveTo>
                  <a:pt x="6525260" y="4679661"/>
                </a:moveTo>
                <a:cubicBezTo>
                  <a:pt x="6504940" y="4705696"/>
                  <a:pt x="6546850" y="4737446"/>
                  <a:pt x="6566535" y="4710776"/>
                </a:cubicBezTo>
                <a:cubicBezTo>
                  <a:pt x="6586856" y="4684106"/>
                  <a:pt x="6544945" y="4652356"/>
                  <a:pt x="6525260" y="4679661"/>
                </a:cubicBezTo>
                <a:close/>
                <a:moveTo>
                  <a:pt x="6543675" y="5195281"/>
                </a:moveTo>
                <a:cubicBezTo>
                  <a:pt x="6572250" y="5196551"/>
                  <a:pt x="6588125" y="5157816"/>
                  <a:pt x="6566535" y="5138131"/>
                </a:cubicBezTo>
                <a:cubicBezTo>
                  <a:pt x="6518910" y="5098761"/>
                  <a:pt x="6482080" y="5190836"/>
                  <a:pt x="6543675" y="5195281"/>
                </a:cubicBezTo>
                <a:close/>
                <a:moveTo>
                  <a:pt x="6517640" y="4842856"/>
                </a:moveTo>
                <a:cubicBezTo>
                  <a:pt x="6545581" y="4866351"/>
                  <a:pt x="6582410" y="4821901"/>
                  <a:pt x="6553200" y="4799041"/>
                </a:cubicBezTo>
                <a:cubicBezTo>
                  <a:pt x="6525260" y="4775546"/>
                  <a:pt x="6489065" y="4819996"/>
                  <a:pt x="6517640" y="4842856"/>
                </a:cubicBezTo>
                <a:close/>
                <a:moveTo>
                  <a:pt x="6507481" y="4992081"/>
                </a:moveTo>
                <a:cubicBezTo>
                  <a:pt x="6536690" y="5019386"/>
                  <a:pt x="6578600" y="4972396"/>
                  <a:pt x="6548120" y="4946361"/>
                </a:cubicBezTo>
                <a:cubicBezTo>
                  <a:pt x="6518910" y="4919691"/>
                  <a:pt x="6477635" y="4966046"/>
                  <a:pt x="6507481" y="4992081"/>
                </a:cubicBezTo>
                <a:close/>
                <a:moveTo>
                  <a:pt x="6581140" y="4446616"/>
                </a:moveTo>
                <a:cubicBezTo>
                  <a:pt x="6601460" y="4458681"/>
                  <a:pt x="6619875" y="4425661"/>
                  <a:pt x="6598920" y="4414231"/>
                </a:cubicBezTo>
                <a:cubicBezTo>
                  <a:pt x="6577965" y="4402801"/>
                  <a:pt x="6560185" y="4435186"/>
                  <a:pt x="6581140" y="4446616"/>
                </a:cubicBezTo>
                <a:close/>
                <a:moveTo>
                  <a:pt x="6277610" y="4295486"/>
                </a:moveTo>
                <a:cubicBezTo>
                  <a:pt x="6254115" y="4282151"/>
                  <a:pt x="6233160" y="4318981"/>
                  <a:pt x="6257290" y="4331681"/>
                </a:cubicBezTo>
                <a:lnTo>
                  <a:pt x="6257290" y="4331681"/>
                </a:lnTo>
                <a:cubicBezTo>
                  <a:pt x="6280150" y="4345651"/>
                  <a:pt x="6301105" y="4308821"/>
                  <a:pt x="6277610" y="4295486"/>
                </a:cubicBezTo>
                <a:close/>
                <a:moveTo>
                  <a:pt x="6313170" y="4593301"/>
                </a:moveTo>
                <a:cubicBezTo>
                  <a:pt x="6285865" y="4568536"/>
                  <a:pt x="6247765" y="4611716"/>
                  <a:pt x="6275705" y="4635846"/>
                </a:cubicBezTo>
                <a:cubicBezTo>
                  <a:pt x="6302375" y="4659976"/>
                  <a:pt x="6341110" y="4617431"/>
                  <a:pt x="6313170" y="4593301"/>
                </a:cubicBezTo>
                <a:close/>
                <a:moveTo>
                  <a:pt x="6283960" y="4934296"/>
                </a:moveTo>
                <a:cubicBezTo>
                  <a:pt x="6345555" y="4929851"/>
                  <a:pt x="6308725" y="4837776"/>
                  <a:pt x="6261100" y="4877146"/>
                </a:cubicBezTo>
                <a:cubicBezTo>
                  <a:pt x="6238875" y="4896831"/>
                  <a:pt x="6254750" y="4934931"/>
                  <a:pt x="6283960" y="4934296"/>
                </a:cubicBezTo>
                <a:close/>
                <a:moveTo>
                  <a:pt x="6276340" y="4254211"/>
                </a:moveTo>
                <a:cubicBezTo>
                  <a:pt x="6287770" y="4216746"/>
                  <a:pt x="6224905" y="4232621"/>
                  <a:pt x="6252845" y="4259926"/>
                </a:cubicBezTo>
                <a:cubicBezTo>
                  <a:pt x="6234430" y="4306916"/>
                  <a:pt x="6315075" y="4286596"/>
                  <a:pt x="6276340" y="4254211"/>
                </a:cubicBezTo>
                <a:close/>
                <a:moveTo>
                  <a:pt x="6299200" y="4756496"/>
                </a:moveTo>
                <a:cubicBezTo>
                  <a:pt x="6327140" y="4728556"/>
                  <a:pt x="6282055" y="4684741"/>
                  <a:pt x="6254750" y="4713951"/>
                </a:cubicBezTo>
                <a:cubicBezTo>
                  <a:pt x="6227445" y="4742526"/>
                  <a:pt x="6271895" y="4785706"/>
                  <a:pt x="6299200" y="4756496"/>
                </a:cubicBezTo>
                <a:close/>
                <a:moveTo>
                  <a:pt x="6316980" y="4282151"/>
                </a:moveTo>
                <a:cubicBezTo>
                  <a:pt x="6336030" y="4289136"/>
                  <a:pt x="6346825" y="4258656"/>
                  <a:pt x="6327140" y="4252306"/>
                </a:cubicBezTo>
                <a:cubicBezTo>
                  <a:pt x="6308090" y="4245321"/>
                  <a:pt x="6297295" y="4275801"/>
                  <a:pt x="6316980" y="4282151"/>
                </a:cubicBezTo>
                <a:close/>
                <a:moveTo>
                  <a:pt x="6230620" y="4385021"/>
                </a:moveTo>
                <a:cubicBezTo>
                  <a:pt x="6255385" y="4402166"/>
                  <a:pt x="6282055" y="4363431"/>
                  <a:pt x="6256655" y="4346286"/>
                </a:cubicBezTo>
                <a:cubicBezTo>
                  <a:pt x="6256655" y="4346286"/>
                  <a:pt x="6256655" y="4346286"/>
                  <a:pt x="6256655" y="4346286"/>
                </a:cubicBezTo>
                <a:cubicBezTo>
                  <a:pt x="6232525" y="4329141"/>
                  <a:pt x="6205220" y="4368511"/>
                  <a:pt x="6230620" y="4385021"/>
                </a:cubicBezTo>
                <a:close/>
                <a:moveTo>
                  <a:pt x="6256655" y="4432646"/>
                </a:moveTo>
                <a:cubicBezTo>
                  <a:pt x="6230620" y="4411056"/>
                  <a:pt x="6198235" y="4452331"/>
                  <a:pt x="6224270" y="4472651"/>
                </a:cubicBezTo>
                <a:cubicBezTo>
                  <a:pt x="6250305" y="4494241"/>
                  <a:pt x="6283325" y="4453601"/>
                  <a:pt x="6256655" y="4432646"/>
                </a:cubicBezTo>
                <a:close/>
                <a:moveTo>
                  <a:pt x="5257800" y="3941791"/>
                </a:moveTo>
                <a:cubicBezTo>
                  <a:pt x="5195570" y="3974176"/>
                  <a:pt x="5280025" y="4049741"/>
                  <a:pt x="5305425" y="3984971"/>
                </a:cubicBezTo>
                <a:cubicBezTo>
                  <a:pt x="5321935" y="3994496"/>
                  <a:pt x="5345430" y="3986876"/>
                  <a:pt x="5352415" y="3968461"/>
                </a:cubicBezTo>
                <a:cubicBezTo>
                  <a:pt x="5353685" y="3969731"/>
                  <a:pt x="5355590" y="3970366"/>
                  <a:pt x="5357495" y="3971001"/>
                </a:cubicBezTo>
                <a:cubicBezTo>
                  <a:pt x="5335905" y="3977986"/>
                  <a:pt x="5341620" y="4012276"/>
                  <a:pt x="5364480" y="4011006"/>
                </a:cubicBezTo>
                <a:cubicBezTo>
                  <a:pt x="5386705" y="4011641"/>
                  <a:pt x="5393055" y="3978621"/>
                  <a:pt x="5372100" y="3971001"/>
                </a:cubicBezTo>
                <a:cubicBezTo>
                  <a:pt x="5384800" y="3967191"/>
                  <a:pt x="5392420" y="3950681"/>
                  <a:pt x="5386070" y="3938616"/>
                </a:cubicBezTo>
                <a:cubicBezTo>
                  <a:pt x="5403850" y="3914486"/>
                  <a:pt x="5372100" y="3882101"/>
                  <a:pt x="5347335" y="3899246"/>
                </a:cubicBezTo>
                <a:cubicBezTo>
                  <a:pt x="5330190" y="3875751"/>
                  <a:pt x="5297805" y="3886546"/>
                  <a:pt x="5294630" y="3914486"/>
                </a:cubicBezTo>
                <a:cubicBezTo>
                  <a:pt x="5291455" y="3911311"/>
                  <a:pt x="5287010" y="3908771"/>
                  <a:pt x="5282565" y="3908136"/>
                </a:cubicBezTo>
                <a:cubicBezTo>
                  <a:pt x="5264150" y="3904326"/>
                  <a:pt x="5248275" y="3925281"/>
                  <a:pt x="5257800" y="3941791"/>
                </a:cubicBezTo>
                <a:close/>
                <a:moveTo>
                  <a:pt x="6186805" y="4293581"/>
                </a:moveTo>
                <a:cubicBezTo>
                  <a:pt x="6208395" y="4306281"/>
                  <a:pt x="6229350" y="4273261"/>
                  <a:pt x="6209030" y="4258656"/>
                </a:cubicBezTo>
                <a:cubicBezTo>
                  <a:pt x="6219190" y="4254846"/>
                  <a:pt x="6223635" y="4240241"/>
                  <a:pt x="6216650" y="4231351"/>
                </a:cubicBezTo>
                <a:cubicBezTo>
                  <a:pt x="6221730" y="4205316"/>
                  <a:pt x="6179185" y="4207221"/>
                  <a:pt x="6186170" y="4232621"/>
                </a:cubicBezTo>
                <a:cubicBezTo>
                  <a:pt x="6181090" y="4240241"/>
                  <a:pt x="6183630" y="4250401"/>
                  <a:pt x="6189980" y="4256116"/>
                </a:cubicBezTo>
                <a:cubicBezTo>
                  <a:pt x="6173470" y="4260561"/>
                  <a:pt x="6170930" y="4285961"/>
                  <a:pt x="6186805" y="4293581"/>
                </a:cubicBezTo>
                <a:close/>
                <a:moveTo>
                  <a:pt x="6199505" y="4845396"/>
                </a:moveTo>
                <a:cubicBezTo>
                  <a:pt x="6261100" y="4840951"/>
                  <a:pt x="6224905" y="4748876"/>
                  <a:pt x="6176645" y="4788246"/>
                </a:cubicBezTo>
                <a:cubicBezTo>
                  <a:pt x="6154420" y="4807296"/>
                  <a:pt x="6170295" y="4846031"/>
                  <a:pt x="6199505" y="4845396"/>
                </a:cubicBezTo>
                <a:close/>
                <a:moveTo>
                  <a:pt x="5614035" y="4066251"/>
                </a:moveTo>
                <a:cubicBezTo>
                  <a:pt x="5610225" y="4071966"/>
                  <a:pt x="5608955" y="4078951"/>
                  <a:pt x="5609590" y="4085301"/>
                </a:cubicBezTo>
                <a:cubicBezTo>
                  <a:pt x="5598160" y="4084031"/>
                  <a:pt x="5585460" y="4089746"/>
                  <a:pt x="5579745" y="4100541"/>
                </a:cubicBezTo>
                <a:cubicBezTo>
                  <a:pt x="5556885" y="4098001"/>
                  <a:pt x="5557520" y="4135466"/>
                  <a:pt x="5580380" y="4131656"/>
                </a:cubicBezTo>
                <a:cubicBezTo>
                  <a:pt x="5591175" y="4150071"/>
                  <a:pt x="5620385" y="4150706"/>
                  <a:pt x="5631815" y="4132291"/>
                </a:cubicBezTo>
                <a:cubicBezTo>
                  <a:pt x="5648325" y="4145626"/>
                  <a:pt x="5668645" y="4118321"/>
                  <a:pt x="5650865" y="4106891"/>
                </a:cubicBezTo>
                <a:cubicBezTo>
                  <a:pt x="5657215" y="4103716"/>
                  <a:pt x="5662930" y="4097366"/>
                  <a:pt x="5664835" y="4090381"/>
                </a:cubicBezTo>
                <a:cubicBezTo>
                  <a:pt x="5675630" y="4098001"/>
                  <a:pt x="5690870" y="4095461"/>
                  <a:pt x="5699125" y="4085301"/>
                </a:cubicBezTo>
                <a:cubicBezTo>
                  <a:pt x="5701030" y="4085936"/>
                  <a:pt x="5702935" y="4085936"/>
                  <a:pt x="5705475" y="4085301"/>
                </a:cubicBezTo>
                <a:cubicBezTo>
                  <a:pt x="5698490" y="4108161"/>
                  <a:pt x="5734685" y="4118321"/>
                  <a:pt x="5740400" y="4095461"/>
                </a:cubicBezTo>
                <a:cubicBezTo>
                  <a:pt x="5741670" y="4096731"/>
                  <a:pt x="5743575" y="4098636"/>
                  <a:pt x="5745480" y="4099271"/>
                </a:cubicBezTo>
                <a:cubicBezTo>
                  <a:pt x="5741035" y="4103716"/>
                  <a:pt x="5738495" y="4110066"/>
                  <a:pt x="5738495" y="4115781"/>
                </a:cubicBezTo>
                <a:cubicBezTo>
                  <a:pt x="5731510" y="4112606"/>
                  <a:pt x="5723890" y="4111971"/>
                  <a:pt x="5716905" y="4114511"/>
                </a:cubicBezTo>
                <a:cubicBezTo>
                  <a:pt x="5700395" y="4097366"/>
                  <a:pt x="5676900" y="4127846"/>
                  <a:pt x="5697855" y="4139276"/>
                </a:cubicBezTo>
                <a:cubicBezTo>
                  <a:pt x="5697220" y="4145626"/>
                  <a:pt x="5699125" y="4151976"/>
                  <a:pt x="5702935" y="4157056"/>
                </a:cubicBezTo>
                <a:cubicBezTo>
                  <a:pt x="5673090" y="4149436"/>
                  <a:pt x="5652135" y="4191346"/>
                  <a:pt x="5676900" y="4210396"/>
                </a:cubicBezTo>
                <a:cubicBezTo>
                  <a:pt x="5703570" y="4233891"/>
                  <a:pt x="5742940" y="4196426"/>
                  <a:pt x="5721350" y="4169121"/>
                </a:cubicBezTo>
                <a:cubicBezTo>
                  <a:pt x="5737860" y="4172931"/>
                  <a:pt x="5755005" y="4158326"/>
                  <a:pt x="5754370" y="4141181"/>
                </a:cubicBezTo>
                <a:cubicBezTo>
                  <a:pt x="5755005" y="4141181"/>
                  <a:pt x="5755640" y="4141816"/>
                  <a:pt x="5755640" y="4141816"/>
                </a:cubicBezTo>
                <a:cubicBezTo>
                  <a:pt x="5763260" y="4154516"/>
                  <a:pt x="5785485" y="4148801"/>
                  <a:pt x="5784850" y="4132926"/>
                </a:cubicBezTo>
                <a:cubicBezTo>
                  <a:pt x="5786755" y="4130386"/>
                  <a:pt x="5788660" y="4127211"/>
                  <a:pt x="5789295" y="4123401"/>
                </a:cubicBezTo>
                <a:cubicBezTo>
                  <a:pt x="5798820" y="4125941"/>
                  <a:pt x="5809615" y="4119591"/>
                  <a:pt x="5811520" y="4109431"/>
                </a:cubicBezTo>
                <a:cubicBezTo>
                  <a:pt x="5812155" y="4117051"/>
                  <a:pt x="5817235" y="4124036"/>
                  <a:pt x="5824855" y="4127211"/>
                </a:cubicBezTo>
                <a:cubicBezTo>
                  <a:pt x="5813425" y="4132291"/>
                  <a:pt x="5813425" y="4150706"/>
                  <a:pt x="5824855" y="4155786"/>
                </a:cubicBezTo>
                <a:cubicBezTo>
                  <a:pt x="5821045" y="4162771"/>
                  <a:pt x="5821045" y="4170391"/>
                  <a:pt x="5823585" y="4177376"/>
                </a:cubicBezTo>
                <a:cubicBezTo>
                  <a:pt x="5794375" y="4162771"/>
                  <a:pt x="5767705" y="4206586"/>
                  <a:pt x="5795010" y="4225636"/>
                </a:cubicBezTo>
                <a:cubicBezTo>
                  <a:pt x="5817235" y="4243416"/>
                  <a:pt x="5850255" y="4216746"/>
                  <a:pt x="5837555" y="4191346"/>
                </a:cubicBezTo>
                <a:cubicBezTo>
                  <a:pt x="5856605" y="4200871"/>
                  <a:pt x="5879465" y="4179281"/>
                  <a:pt x="5871845" y="4159596"/>
                </a:cubicBezTo>
                <a:cubicBezTo>
                  <a:pt x="5874385" y="4158961"/>
                  <a:pt x="5876925" y="4157056"/>
                  <a:pt x="5878830" y="4155151"/>
                </a:cubicBezTo>
                <a:cubicBezTo>
                  <a:pt x="5881370" y="4170391"/>
                  <a:pt x="5904230" y="4172296"/>
                  <a:pt x="5909310" y="4157691"/>
                </a:cubicBezTo>
                <a:cubicBezTo>
                  <a:pt x="5912485" y="4157691"/>
                  <a:pt x="5915660" y="4156421"/>
                  <a:pt x="5918200" y="4154516"/>
                </a:cubicBezTo>
                <a:cubicBezTo>
                  <a:pt x="5920740" y="4157691"/>
                  <a:pt x="5923915" y="4159596"/>
                  <a:pt x="5927725" y="4160866"/>
                </a:cubicBezTo>
                <a:cubicBezTo>
                  <a:pt x="5916930" y="4169121"/>
                  <a:pt x="5916295" y="4186266"/>
                  <a:pt x="5925820" y="4195156"/>
                </a:cubicBezTo>
                <a:cubicBezTo>
                  <a:pt x="5902960" y="4197061"/>
                  <a:pt x="5894705" y="4229446"/>
                  <a:pt x="5915025" y="4242146"/>
                </a:cubicBezTo>
                <a:cubicBezTo>
                  <a:pt x="5940425" y="4259926"/>
                  <a:pt x="5970270" y="4222461"/>
                  <a:pt x="5946775" y="4202141"/>
                </a:cubicBezTo>
                <a:cubicBezTo>
                  <a:pt x="5956300" y="4200871"/>
                  <a:pt x="5964555" y="4191981"/>
                  <a:pt x="5965825" y="4182456"/>
                </a:cubicBezTo>
                <a:cubicBezTo>
                  <a:pt x="5973445" y="4191981"/>
                  <a:pt x="5988685" y="4191981"/>
                  <a:pt x="5996940" y="4183091"/>
                </a:cubicBezTo>
                <a:cubicBezTo>
                  <a:pt x="5999480" y="4183726"/>
                  <a:pt x="6002020" y="4183726"/>
                  <a:pt x="6004560" y="4183726"/>
                </a:cubicBezTo>
                <a:cubicBezTo>
                  <a:pt x="6021070" y="4215476"/>
                  <a:pt x="6055360" y="4167851"/>
                  <a:pt x="6019800" y="4162136"/>
                </a:cubicBezTo>
                <a:cubicBezTo>
                  <a:pt x="6017895" y="4149436"/>
                  <a:pt x="6001385" y="4142451"/>
                  <a:pt x="5991225" y="4150071"/>
                </a:cubicBezTo>
                <a:cubicBezTo>
                  <a:pt x="5983605" y="4145626"/>
                  <a:pt x="5974715" y="4147531"/>
                  <a:pt x="5968365" y="4152611"/>
                </a:cubicBezTo>
                <a:cubicBezTo>
                  <a:pt x="5963920" y="4148166"/>
                  <a:pt x="5955665" y="4146896"/>
                  <a:pt x="5949950" y="4150071"/>
                </a:cubicBezTo>
                <a:cubicBezTo>
                  <a:pt x="5956300" y="4135466"/>
                  <a:pt x="5939790" y="4119591"/>
                  <a:pt x="5925820" y="4126576"/>
                </a:cubicBezTo>
                <a:cubicBezTo>
                  <a:pt x="5916930" y="4110066"/>
                  <a:pt x="5889625" y="4114511"/>
                  <a:pt x="5887085" y="4133561"/>
                </a:cubicBezTo>
                <a:cubicBezTo>
                  <a:pt x="5886450" y="4129751"/>
                  <a:pt x="5884545" y="4125306"/>
                  <a:pt x="5882005" y="4122131"/>
                </a:cubicBezTo>
                <a:cubicBezTo>
                  <a:pt x="5882005" y="4108161"/>
                  <a:pt x="5864225" y="4099271"/>
                  <a:pt x="5853430" y="4108161"/>
                </a:cubicBezTo>
                <a:cubicBezTo>
                  <a:pt x="5854700" y="4083396"/>
                  <a:pt x="5815965" y="4078951"/>
                  <a:pt x="5812155" y="4103716"/>
                </a:cubicBezTo>
                <a:cubicBezTo>
                  <a:pt x="5811520" y="4099271"/>
                  <a:pt x="5809615" y="4095461"/>
                  <a:pt x="5806440" y="4092286"/>
                </a:cubicBezTo>
                <a:cubicBezTo>
                  <a:pt x="5803900" y="4079586"/>
                  <a:pt x="5788660" y="4071331"/>
                  <a:pt x="5776595" y="4076411"/>
                </a:cubicBezTo>
                <a:cubicBezTo>
                  <a:pt x="5772785" y="4055456"/>
                  <a:pt x="5739765" y="4055456"/>
                  <a:pt x="5735955" y="4077046"/>
                </a:cubicBezTo>
                <a:cubicBezTo>
                  <a:pt x="5732780" y="4073871"/>
                  <a:pt x="5728335" y="4071966"/>
                  <a:pt x="5723890" y="4071966"/>
                </a:cubicBezTo>
                <a:cubicBezTo>
                  <a:pt x="5733415" y="4052916"/>
                  <a:pt x="5711190" y="4031961"/>
                  <a:pt x="5692775" y="4041486"/>
                </a:cubicBezTo>
                <a:cubicBezTo>
                  <a:pt x="5676900" y="4028786"/>
                  <a:pt x="5660390" y="4042756"/>
                  <a:pt x="5655945" y="4059266"/>
                </a:cubicBezTo>
                <a:cubicBezTo>
                  <a:pt x="5641340" y="4050376"/>
                  <a:pt x="5623560" y="4051646"/>
                  <a:pt x="5614035" y="4066251"/>
                </a:cubicBezTo>
                <a:close/>
                <a:moveTo>
                  <a:pt x="5843270" y="4125306"/>
                </a:moveTo>
                <a:cubicBezTo>
                  <a:pt x="5842000" y="4126576"/>
                  <a:pt x="5841365" y="4128481"/>
                  <a:pt x="5840730" y="4129751"/>
                </a:cubicBezTo>
                <a:cubicBezTo>
                  <a:pt x="5840095" y="4129116"/>
                  <a:pt x="5838825" y="4128481"/>
                  <a:pt x="5838190" y="4127846"/>
                </a:cubicBezTo>
                <a:cubicBezTo>
                  <a:pt x="5840095" y="4127211"/>
                  <a:pt x="5842000" y="4125941"/>
                  <a:pt x="5843270" y="4125306"/>
                </a:cubicBezTo>
                <a:close/>
                <a:moveTo>
                  <a:pt x="5759450" y="4240876"/>
                </a:moveTo>
                <a:cubicBezTo>
                  <a:pt x="5732780" y="4270086"/>
                  <a:pt x="5779770" y="4311996"/>
                  <a:pt x="5805805" y="4281516"/>
                </a:cubicBezTo>
                <a:cubicBezTo>
                  <a:pt x="5832475" y="4251671"/>
                  <a:pt x="5784850" y="4210396"/>
                  <a:pt x="5759450" y="4240876"/>
                </a:cubicBezTo>
                <a:close/>
                <a:moveTo>
                  <a:pt x="6149975" y="4303741"/>
                </a:moveTo>
                <a:cubicBezTo>
                  <a:pt x="6132830" y="4328506"/>
                  <a:pt x="6172835" y="4354541"/>
                  <a:pt x="6189345" y="4329141"/>
                </a:cubicBezTo>
                <a:cubicBezTo>
                  <a:pt x="6205855" y="4304376"/>
                  <a:pt x="6166485" y="4278341"/>
                  <a:pt x="6149975" y="4303741"/>
                </a:cubicBezTo>
                <a:close/>
                <a:moveTo>
                  <a:pt x="6032500" y="4204681"/>
                </a:moveTo>
                <a:cubicBezTo>
                  <a:pt x="6007100" y="4184996"/>
                  <a:pt x="5979160" y="4227541"/>
                  <a:pt x="6006465" y="4243416"/>
                </a:cubicBezTo>
                <a:cubicBezTo>
                  <a:pt x="6022340" y="4253576"/>
                  <a:pt x="6045200" y="4238336"/>
                  <a:pt x="6041390" y="4219921"/>
                </a:cubicBezTo>
                <a:cubicBezTo>
                  <a:pt x="6052820" y="4228176"/>
                  <a:pt x="6069965" y="4221826"/>
                  <a:pt x="6073140" y="4207856"/>
                </a:cubicBezTo>
                <a:cubicBezTo>
                  <a:pt x="6073775" y="4207856"/>
                  <a:pt x="6074410" y="4208491"/>
                  <a:pt x="6075045" y="4208491"/>
                </a:cubicBezTo>
                <a:lnTo>
                  <a:pt x="6075045" y="4208491"/>
                </a:lnTo>
                <a:cubicBezTo>
                  <a:pt x="6095365" y="4214206"/>
                  <a:pt x="6102985" y="4180551"/>
                  <a:pt x="6082030" y="4177376"/>
                </a:cubicBezTo>
                <a:cubicBezTo>
                  <a:pt x="6073775" y="4166581"/>
                  <a:pt x="6055995" y="4169121"/>
                  <a:pt x="6050915" y="4181821"/>
                </a:cubicBezTo>
                <a:cubicBezTo>
                  <a:pt x="6040120" y="4182456"/>
                  <a:pt x="6030595" y="4193886"/>
                  <a:pt x="6032500" y="4204681"/>
                </a:cubicBezTo>
                <a:close/>
                <a:moveTo>
                  <a:pt x="6106795" y="4249131"/>
                </a:moveTo>
                <a:cubicBezTo>
                  <a:pt x="6081395" y="4232621"/>
                  <a:pt x="6056630" y="4273261"/>
                  <a:pt x="6082665" y="4288501"/>
                </a:cubicBezTo>
                <a:cubicBezTo>
                  <a:pt x="6103620" y="4302471"/>
                  <a:pt x="6129655" y="4273261"/>
                  <a:pt x="6113145" y="4254211"/>
                </a:cubicBezTo>
                <a:cubicBezTo>
                  <a:pt x="6129020" y="4266911"/>
                  <a:pt x="6153150" y="4248496"/>
                  <a:pt x="6144895" y="4230081"/>
                </a:cubicBezTo>
                <a:cubicBezTo>
                  <a:pt x="6183630" y="4195791"/>
                  <a:pt x="6116320" y="4175471"/>
                  <a:pt x="6117590" y="4218651"/>
                </a:cubicBezTo>
                <a:cubicBezTo>
                  <a:pt x="6104890" y="4223096"/>
                  <a:pt x="6100445" y="4240876"/>
                  <a:pt x="6109335" y="4250401"/>
                </a:cubicBezTo>
                <a:cubicBezTo>
                  <a:pt x="6108700" y="4250401"/>
                  <a:pt x="6107430" y="4249766"/>
                  <a:pt x="6106795" y="4249131"/>
                </a:cubicBezTo>
                <a:close/>
                <a:moveTo>
                  <a:pt x="6234430" y="4522816"/>
                </a:moveTo>
                <a:cubicBezTo>
                  <a:pt x="6207760" y="4498051"/>
                  <a:pt x="6169025" y="4540596"/>
                  <a:pt x="6196965" y="4564726"/>
                </a:cubicBezTo>
                <a:cubicBezTo>
                  <a:pt x="6223000" y="4589491"/>
                  <a:pt x="6261735" y="4546946"/>
                  <a:pt x="6234430" y="4522816"/>
                </a:cubicBezTo>
                <a:close/>
                <a:moveTo>
                  <a:pt x="5951220" y="4445981"/>
                </a:moveTo>
                <a:cubicBezTo>
                  <a:pt x="5977890" y="4447251"/>
                  <a:pt x="5992495" y="4411056"/>
                  <a:pt x="5972175" y="4393276"/>
                </a:cubicBezTo>
                <a:cubicBezTo>
                  <a:pt x="5927725" y="4356446"/>
                  <a:pt x="5894070" y="4441536"/>
                  <a:pt x="5951220" y="4445981"/>
                </a:cubicBezTo>
                <a:close/>
                <a:moveTo>
                  <a:pt x="5995035" y="4312631"/>
                </a:moveTo>
                <a:cubicBezTo>
                  <a:pt x="5967095" y="4288501"/>
                  <a:pt x="5930265" y="4332951"/>
                  <a:pt x="5958840" y="4355811"/>
                </a:cubicBezTo>
                <a:lnTo>
                  <a:pt x="5958840" y="4355811"/>
                </a:lnTo>
                <a:cubicBezTo>
                  <a:pt x="5986780" y="4379941"/>
                  <a:pt x="6023610" y="4335491"/>
                  <a:pt x="5995035" y="4312631"/>
                </a:cubicBezTo>
                <a:close/>
                <a:moveTo>
                  <a:pt x="5845175" y="4316441"/>
                </a:moveTo>
                <a:cubicBezTo>
                  <a:pt x="5817870" y="4345651"/>
                  <a:pt x="5864225" y="4387561"/>
                  <a:pt x="5890260" y="4357716"/>
                </a:cubicBezTo>
                <a:cubicBezTo>
                  <a:pt x="5917565" y="4328506"/>
                  <a:pt x="5871210" y="4286596"/>
                  <a:pt x="5845175" y="4316441"/>
                </a:cubicBezTo>
                <a:close/>
                <a:moveTo>
                  <a:pt x="6303645" y="4435186"/>
                </a:moveTo>
                <a:cubicBezTo>
                  <a:pt x="6327775" y="4452966"/>
                  <a:pt x="6355715" y="4414231"/>
                  <a:pt x="6330315" y="4397086"/>
                </a:cubicBezTo>
                <a:cubicBezTo>
                  <a:pt x="6306185" y="4379306"/>
                  <a:pt x="6278880" y="4418676"/>
                  <a:pt x="6303645" y="4435186"/>
                </a:cubicBezTo>
                <a:close/>
                <a:moveTo>
                  <a:pt x="5916930" y="4285326"/>
                </a:moveTo>
                <a:cubicBezTo>
                  <a:pt x="5940425" y="4256751"/>
                  <a:pt x="5894705" y="4221191"/>
                  <a:pt x="5872480" y="4250401"/>
                </a:cubicBezTo>
                <a:cubicBezTo>
                  <a:pt x="5849620" y="4278976"/>
                  <a:pt x="5894705" y="4314536"/>
                  <a:pt x="5916930" y="4285326"/>
                </a:cubicBezTo>
                <a:close/>
                <a:moveTo>
                  <a:pt x="6022975" y="4255481"/>
                </a:moveTo>
                <a:cubicBezTo>
                  <a:pt x="5985510" y="4230716"/>
                  <a:pt x="5963285" y="4300566"/>
                  <a:pt x="6008370" y="4302471"/>
                </a:cubicBezTo>
                <a:cubicBezTo>
                  <a:pt x="6031865" y="4303106"/>
                  <a:pt x="6043295" y="4268816"/>
                  <a:pt x="6022975" y="4255481"/>
                </a:cubicBezTo>
                <a:close/>
                <a:moveTo>
                  <a:pt x="6299835" y="4534246"/>
                </a:moveTo>
                <a:cubicBezTo>
                  <a:pt x="6325235" y="4555836"/>
                  <a:pt x="6358890" y="4515196"/>
                  <a:pt x="6332220" y="4494241"/>
                </a:cubicBezTo>
                <a:cubicBezTo>
                  <a:pt x="6306820" y="4473286"/>
                  <a:pt x="6273800" y="4513926"/>
                  <a:pt x="6299835" y="4534246"/>
                </a:cubicBezTo>
                <a:close/>
                <a:moveTo>
                  <a:pt x="6102350" y="4313266"/>
                </a:moveTo>
                <a:cubicBezTo>
                  <a:pt x="6075680" y="4292946"/>
                  <a:pt x="6044565" y="4334856"/>
                  <a:pt x="6071870" y="4354541"/>
                </a:cubicBezTo>
                <a:cubicBezTo>
                  <a:pt x="6097905" y="4374861"/>
                  <a:pt x="6129020" y="4332316"/>
                  <a:pt x="6102350" y="4313266"/>
                </a:cubicBezTo>
                <a:close/>
                <a:moveTo>
                  <a:pt x="6115685" y="4755226"/>
                </a:moveTo>
                <a:cubicBezTo>
                  <a:pt x="6177280" y="4750781"/>
                  <a:pt x="6141085" y="4659341"/>
                  <a:pt x="6092825" y="4698076"/>
                </a:cubicBezTo>
                <a:cubicBezTo>
                  <a:pt x="6070600" y="4717126"/>
                  <a:pt x="6086475" y="4756496"/>
                  <a:pt x="6115685" y="4755226"/>
                </a:cubicBezTo>
                <a:close/>
                <a:moveTo>
                  <a:pt x="6033135" y="4525356"/>
                </a:moveTo>
                <a:cubicBezTo>
                  <a:pt x="6059170" y="4526626"/>
                  <a:pt x="6074410" y="4491066"/>
                  <a:pt x="6054725" y="4472651"/>
                </a:cubicBezTo>
                <a:cubicBezTo>
                  <a:pt x="6010275" y="4435186"/>
                  <a:pt x="5975350" y="4521546"/>
                  <a:pt x="6033135" y="4525356"/>
                </a:cubicBezTo>
                <a:close/>
                <a:moveTo>
                  <a:pt x="6179820" y="4372321"/>
                </a:moveTo>
                <a:cubicBezTo>
                  <a:pt x="6142355" y="4345651"/>
                  <a:pt x="6118225" y="4416771"/>
                  <a:pt x="6163945" y="4418676"/>
                </a:cubicBezTo>
                <a:cubicBezTo>
                  <a:pt x="6187440" y="4419311"/>
                  <a:pt x="6199505" y="4386291"/>
                  <a:pt x="6179820" y="4372321"/>
                </a:cubicBezTo>
                <a:close/>
                <a:moveTo>
                  <a:pt x="6155690" y="4451696"/>
                </a:moveTo>
                <a:cubicBezTo>
                  <a:pt x="6129020" y="4426931"/>
                  <a:pt x="6090285" y="4469476"/>
                  <a:pt x="6118225" y="4493606"/>
                </a:cubicBezTo>
                <a:cubicBezTo>
                  <a:pt x="6144895" y="4518371"/>
                  <a:pt x="6183630" y="4475826"/>
                  <a:pt x="6155690" y="4451696"/>
                </a:cubicBezTo>
                <a:close/>
                <a:moveTo>
                  <a:pt x="6075680" y="4381211"/>
                </a:moveTo>
                <a:cubicBezTo>
                  <a:pt x="6048375" y="4357081"/>
                  <a:pt x="6010910" y="4400261"/>
                  <a:pt x="6038850" y="4423756"/>
                </a:cubicBezTo>
                <a:cubicBezTo>
                  <a:pt x="6066155" y="4448521"/>
                  <a:pt x="6104255" y="4404706"/>
                  <a:pt x="6075680" y="4381211"/>
                </a:cubicBezTo>
                <a:close/>
                <a:moveTo>
                  <a:pt x="6092190" y="4597111"/>
                </a:moveTo>
                <a:cubicBezTo>
                  <a:pt x="6120130" y="4625686"/>
                  <a:pt x="6163945" y="4581236"/>
                  <a:pt x="6135370" y="4553296"/>
                </a:cubicBezTo>
                <a:cubicBezTo>
                  <a:pt x="6107430" y="4525356"/>
                  <a:pt x="6063615" y="4569806"/>
                  <a:pt x="6092190" y="4597111"/>
                </a:cubicBezTo>
                <a:close/>
                <a:moveTo>
                  <a:pt x="6195060" y="4686646"/>
                </a:moveTo>
                <a:cubicBezTo>
                  <a:pt x="6221730" y="4687916"/>
                  <a:pt x="6236335" y="4652356"/>
                  <a:pt x="6216650" y="4633941"/>
                </a:cubicBezTo>
                <a:cubicBezTo>
                  <a:pt x="6172835" y="4596476"/>
                  <a:pt x="6137910" y="4682201"/>
                  <a:pt x="6195060" y="4686646"/>
                </a:cubicBezTo>
                <a:close/>
                <a:moveTo>
                  <a:pt x="3783965" y="4389466"/>
                </a:moveTo>
                <a:cubicBezTo>
                  <a:pt x="3823970" y="4388196"/>
                  <a:pt x="3804920" y="4325966"/>
                  <a:pt x="3771265" y="4346921"/>
                </a:cubicBezTo>
                <a:cubicBezTo>
                  <a:pt x="3771265" y="4346921"/>
                  <a:pt x="3771265" y="4346921"/>
                  <a:pt x="3771265" y="4346921"/>
                </a:cubicBezTo>
                <a:cubicBezTo>
                  <a:pt x="3751580" y="4358986"/>
                  <a:pt x="3761740" y="4390736"/>
                  <a:pt x="3783965" y="4389466"/>
                </a:cubicBezTo>
                <a:close/>
                <a:moveTo>
                  <a:pt x="10634345" y="2436206"/>
                </a:moveTo>
                <a:cubicBezTo>
                  <a:pt x="10654030" y="2413346"/>
                  <a:pt x="10617835" y="2382866"/>
                  <a:pt x="10598785" y="2406361"/>
                </a:cubicBezTo>
                <a:cubicBezTo>
                  <a:pt x="10579100" y="2429221"/>
                  <a:pt x="10615295" y="2459701"/>
                  <a:pt x="10634345" y="2436206"/>
                </a:cubicBezTo>
                <a:close/>
                <a:moveTo>
                  <a:pt x="10637520" y="2554951"/>
                </a:moveTo>
                <a:cubicBezTo>
                  <a:pt x="10655300" y="2555586"/>
                  <a:pt x="10665460" y="2531456"/>
                  <a:pt x="10652125" y="2519391"/>
                </a:cubicBezTo>
                <a:cubicBezTo>
                  <a:pt x="10622915" y="2493991"/>
                  <a:pt x="10599420" y="2553046"/>
                  <a:pt x="10637520" y="2554951"/>
                </a:cubicBezTo>
                <a:close/>
                <a:moveTo>
                  <a:pt x="10689590" y="2336511"/>
                </a:moveTo>
                <a:cubicBezTo>
                  <a:pt x="10656570" y="2309841"/>
                  <a:pt x="10631805" y="2375246"/>
                  <a:pt x="10674350" y="2377151"/>
                </a:cubicBezTo>
                <a:cubicBezTo>
                  <a:pt x="10694670" y="2377786"/>
                  <a:pt x="10705465" y="2349211"/>
                  <a:pt x="10689590" y="2336511"/>
                </a:cubicBezTo>
                <a:close/>
                <a:moveTo>
                  <a:pt x="10694035" y="2497801"/>
                </a:moveTo>
                <a:cubicBezTo>
                  <a:pt x="10732770" y="2495896"/>
                  <a:pt x="10708640" y="2436206"/>
                  <a:pt x="10679430" y="2462241"/>
                </a:cubicBezTo>
                <a:cubicBezTo>
                  <a:pt x="10666095" y="2474306"/>
                  <a:pt x="10676255" y="2498436"/>
                  <a:pt x="10694035" y="2497801"/>
                </a:cubicBezTo>
                <a:close/>
                <a:moveTo>
                  <a:pt x="10582910" y="2614006"/>
                </a:moveTo>
                <a:cubicBezTo>
                  <a:pt x="10601325" y="2614641"/>
                  <a:pt x="10610850" y="2589876"/>
                  <a:pt x="10596880" y="2577811"/>
                </a:cubicBezTo>
                <a:cubicBezTo>
                  <a:pt x="10567670" y="2553046"/>
                  <a:pt x="10544810" y="2612101"/>
                  <a:pt x="10582910" y="2614006"/>
                </a:cubicBezTo>
                <a:close/>
                <a:moveTo>
                  <a:pt x="10528935" y="2673696"/>
                </a:moveTo>
                <a:cubicBezTo>
                  <a:pt x="10547350" y="2674331"/>
                  <a:pt x="10557510" y="2648931"/>
                  <a:pt x="10542905" y="2637501"/>
                </a:cubicBezTo>
                <a:cubicBezTo>
                  <a:pt x="10513060" y="2613371"/>
                  <a:pt x="10491470" y="2671791"/>
                  <a:pt x="10528935" y="2673696"/>
                </a:cubicBezTo>
                <a:close/>
                <a:moveTo>
                  <a:pt x="10578465" y="2504786"/>
                </a:moveTo>
                <a:cubicBezTo>
                  <a:pt x="10597515" y="2481291"/>
                  <a:pt x="10560685" y="2451446"/>
                  <a:pt x="10542270" y="2475576"/>
                </a:cubicBezTo>
                <a:cubicBezTo>
                  <a:pt x="10522585" y="2499071"/>
                  <a:pt x="10559415" y="2528281"/>
                  <a:pt x="10578465" y="2504786"/>
                </a:cubicBezTo>
                <a:close/>
                <a:moveTo>
                  <a:pt x="10733405" y="2310476"/>
                </a:moveTo>
                <a:cubicBezTo>
                  <a:pt x="10753725" y="2311111"/>
                  <a:pt x="10765155" y="2283171"/>
                  <a:pt x="10749280" y="2269836"/>
                </a:cubicBezTo>
                <a:cubicBezTo>
                  <a:pt x="10715625" y="2243166"/>
                  <a:pt x="10690225" y="2308571"/>
                  <a:pt x="10733405" y="2310476"/>
                </a:cubicBezTo>
                <a:close/>
                <a:moveTo>
                  <a:pt x="10809605" y="2386041"/>
                </a:moveTo>
                <a:cubicBezTo>
                  <a:pt x="10847705" y="2384136"/>
                  <a:pt x="10824845" y="2325716"/>
                  <a:pt x="10795635" y="2349846"/>
                </a:cubicBezTo>
                <a:cubicBezTo>
                  <a:pt x="10781665" y="2362546"/>
                  <a:pt x="10791825" y="2387311"/>
                  <a:pt x="10809605" y="2386041"/>
                </a:cubicBezTo>
                <a:close/>
                <a:moveTo>
                  <a:pt x="10751185" y="2441286"/>
                </a:moveTo>
                <a:cubicBezTo>
                  <a:pt x="10789920" y="2439381"/>
                  <a:pt x="10765790" y="2380326"/>
                  <a:pt x="10736580" y="2405726"/>
                </a:cubicBezTo>
                <a:cubicBezTo>
                  <a:pt x="10723245" y="2417791"/>
                  <a:pt x="10733405" y="2441921"/>
                  <a:pt x="10751185" y="2441286"/>
                </a:cubicBezTo>
                <a:close/>
                <a:moveTo>
                  <a:pt x="10890885" y="1957416"/>
                </a:moveTo>
                <a:cubicBezTo>
                  <a:pt x="10866755" y="1934556"/>
                  <a:pt x="10831195" y="1973291"/>
                  <a:pt x="10855960" y="1995516"/>
                </a:cubicBezTo>
                <a:cubicBezTo>
                  <a:pt x="10880725" y="2018376"/>
                  <a:pt x="10915650" y="1979641"/>
                  <a:pt x="10890885" y="1957416"/>
                </a:cubicBezTo>
                <a:close/>
                <a:moveTo>
                  <a:pt x="10825480" y="2029806"/>
                </a:moveTo>
                <a:cubicBezTo>
                  <a:pt x="10800715" y="2007581"/>
                  <a:pt x="10766425" y="2046951"/>
                  <a:pt x="10791825" y="2068541"/>
                </a:cubicBezTo>
                <a:cubicBezTo>
                  <a:pt x="10816590" y="2090766"/>
                  <a:pt x="10850880" y="2051396"/>
                  <a:pt x="10825480" y="2029806"/>
                </a:cubicBezTo>
                <a:close/>
                <a:moveTo>
                  <a:pt x="10855960" y="2182206"/>
                </a:moveTo>
                <a:cubicBezTo>
                  <a:pt x="10899140" y="2179666"/>
                  <a:pt x="10872470" y="2112991"/>
                  <a:pt x="10839450" y="2142201"/>
                </a:cubicBezTo>
                <a:cubicBezTo>
                  <a:pt x="10824845" y="2156171"/>
                  <a:pt x="10836275" y="2182841"/>
                  <a:pt x="10855960" y="2182206"/>
                </a:cubicBezTo>
                <a:close/>
                <a:moveTo>
                  <a:pt x="10761980" y="2104101"/>
                </a:moveTo>
                <a:cubicBezTo>
                  <a:pt x="10725150" y="2076161"/>
                  <a:pt x="10699750" y="2147916"/>
                  <a:pt x="10745470" y="2149821"/>
                </a:cubicBezTo>
                <a:cubicBezTo>
                  <a:pt x="10768965" y="2150456"/>
                  <a:pt x="10781030" y="2118706"/>
                  <a:pt x="10761980" y="2104101"/>
                </a:cubicBezTo>
                <a:close/>
                <a:moveTo>
                  <a:pt x="10490835" y="2578446"/>
                </a:moveTo>
                <a:cubicBezTo>
                  <a:pt x="10514330" y="2597496"/>
                  <a:pt x="10543540" y="2560031"/>
                  <a:pt x="10519410" y="2541616"/>
                </a:cubicBezTo>
                <a:cubicBezTo>
                  <a:pt x="10495915" y="2522566"/>
                  <a:pt x="10466705" y="2560031"/>
                  <a:pt x="10490835" y="2578446"/>
                </a:cubicBezTo>
                <a:close/>
                <a:moveTo>
                  <a:pt x="10793730" y="2245706"/>
                </a:moveTo>
                <a:cubicBezTo>
                  <a:pt x="10814050" y="2246341"/>
                  <a:pt x="10824845" y="2219036"/>
                  <a:pt x="10809605" y="2205701"/>
                </a:cubicBezTo>
                <a:cubicBezTo>
                  <a:pt x="10777220" y="2177126"/>
                  <a:pt x="10750550" y="2243801"/>
                  <a:pt x="10793730" y="2245706"/>
                </a:cubicBezTo>
                <a:close/>
                <a:moveTo>
                  <a:pt x="10787380" y="1617691"/>
                </a:moveTo>
                <a:cubicBezTo>
                  <a:pt x="10751185" y="1594196"/>
                  <a:pt x="10714990" y="1651346"/>
                  <a:pt x="10751820" y="1673571"/>
                </a:cubicBezTo>
                <a:cubicBezTo>
                  <a:pt x="10788015" y="1697066"/>
                  <a:pt x="10824210" y="1639916"/>
                  <a:pt x="10787380" y="1617691"/>
                </a:cubicBezTo>
                <a:close/>
                <a:moveTo>
                  <a:pt x="10701020" y="2179666"/>
                </a:moveTo>
                <a:cubicBezTo>
                  <a:pt x="10674985" y="2158711"/>
                  <a:pt x="10642600" y="2199986"/>
                  <a:pt x="10669270" y="2220306"/>
                </a:cubicBezTo>
                <a:cubicBezTo>
                  <a:pt x="10694670" y="2241261"/>
                  <a:pt x="10727055" y="2199986"/>
                  <a:pt x="10701020" y="2179666"/>
                </a:cubicBezTo>
                <a:close/>
                <a:moveTo>
                  <a:pt x="10736580" y="1555461"/>
                </a:moveTo>
                <a:cubicBezTo>
                  <a:pt x="10696575" y="1532601"/>
                  <a:pt x="10661015" y="1596101"/>
                  <a:pt x="10701655" y="1617691"/>
                </a:cubicBezTo>
                <a:cubicBezTo>
                  <a:pt x="10741660" y="1641186"/>
                  <a:pt x="10777855" y="1577686"/>
                  <a:pt x="10736580" y="1555461"/>
                </a:cubicBezTo>
                <a:close/>
                <a:moveTo>
                  <a:pt x="10753725" y="1454496"/>
                </a:moveTo>
                <a:cubicBezTo>
                  <a:pt x="10729595" y="1493866"/>
                  <a:pt x="10792460" y="1530696"/>
                  <a:pt x="10815320" y="1490691"/>
                </a:cubicBezTo>
                <a:cubicBezTo>
                  <a:pt x="10839450" y="1450686"/>
                  <a:pt x="10776585" y="1414491"/>
                  <a:pt x="10753725" y="1454496"/>
                </a:cubicBezTo>
                <a:close/>
                <a:moveTo>
                  <a:pt x="10489565" y="2419696"/>
                </a:moveTo>
                <a:cubicBezTo>
                  <a:pt x="10469880" y="2447001"/>
                  <a:pt x="10513060" y="2476846"/>
                  <a:pt x="10532110" y="2448906"/>
                </a:cubicBezTo>
                <a:cubicBezTo>
                  <a:pt x="10551795" y="2422236"/>
                  <a:pt x="10508615" y="2392391"/>
                  <a:pt x="10489565" y="2419696"/>
                </a:cubicBezTo>
                <a:close/>
                <a:moveTo>
                  <a:pt x="10728960" y="2046951"/>
                </a:moveTo>
                <a:cubicBezTo>
                  <a:pt x="10750550" y="2017741"/>
                  <a:pt x="10704195" y="1984086"/>
                  <a:pt x="10683240" y="2013931"/>
                </a:cubicBezTo>
                <a:cubicBezTo>
                  <a:pt x="10661650" y="2043141"/>
                  <a:pt x="10708005" y="2076796"/>
                  <a:pt x="10728960" y="2046951"/>
                </a:cubicBezTo>
                <a:close/>
                <a:moveTo>
                  <a:pt x="10787380" y="1768186"/>
                </a:moveTo>
                <a:cubicBezTo>
                  <a:pt x="10754995" y="1745326"/>
                  <a:pt x="10719435" y="1796761"/>
                  <a:pt x="10752455" y="1818986"/>
                </a:cubicBezTo>
                <a:cubicBezTo>
                  <a:pt x="10785475" y="1841846"/>
                  <a:pt x="10821035" y="1790411"/>
                  <a:pt x="10787380" y="1768186"/>
                </a:cubicBezTo>
                <a:close/>
                <a:moveTo>
                  <a:pt x="10936605" y="2080606"/>
                </a:moveTo>
                <a:cubicBezTo>
                  <a:pt x="10916285" y="2058381"/>
                  <a:pt x="10881360" y="2090766"/>
                  <a:pt x="10902950" y="2112356"/>
                </a:cubicBezTo>
                <a:cubicBezTo>
                  <a:pt x="10923270" y="2135216"/>
                  <a:pt x="10958195" y="2102831"/>
                  <a:pt x="10936605" y="2080606"/>
                </a:cubicBezTo>
                <a:close/>
                <a:moveTo>
                  <a:pt x="10746740" y="1928206"/>
                </a:moveTo>
                <a:cubicBezTo>
                  <a:pt x="10724515" y="1956781"/>
                  <a:pt x="10770235" y="1991706"/>
                  <a:pt x="10791825" y="1962496"/>
                </a:cubicBezTo>
                <a:cubicBezTo>
                  <a:pt x="10814050" y="1933286"/>
                  <a:pt x="10768330" y="1898361"/>
                  <a:pt x="10746740" y="1928206"/>
                </a:cubicBezTo>
                <a:close/>
                <a:moveTo>
                  <a:pt x="10722610" y="1721831"/>
                </a:moveTo>
                <a:cubicBezTo>
                  <a:pt x="10674350" y="1694526"/>
                  <a:pt x="10650220" y="1782156"/>
                  <a:pt x="10705465" y="1783426"/>
                </a:cubicBezTo>
                <a:cubicBezTo>
                  <a:pt x="10737215" y="1784696"/>
                  <a:pt x="10751185" y="1738341"/>
                  <a:pt x="10722610" y="1721831"/>
                </a:cubicBezTo>
                <a:close/>
                <a:moveTo>
                  <a:pt x="10546715" y="2339686"/>
                </a:moveTo>
                <a:cubicBezTo>
                  <a:pt x="10527030" y="2366356"/>
                  <a:pt x="10568940" y="2397471"/>
                  <a:pt x="10588625" y="2370166"/>
                </a:cubicBezTo>
                <a:cubicBezTo>
                  <a:pt x="10608310" y="2343496"/>
                  <a:pt x="10565765" y="2312381"/>
                  <a:pt x="10546715" y="2339686"/>
                </a:cubicBezTo>
                <a:close/>
                <a:moveTo>
                  <a:pt x="10542905" y="2269201"/>
                </a:moveTo>
                <a:cubicBezTo>
                  <a:pt x="10512425" y="2248881"/>
                  <a:pt x="10481310" y="2297776"/>
                  <a:pt x="10512425" y="2316826"/>
                </a:cubicBezTo>
                <a:cubicBezTo>
                  <a:pt x="10542905" y="2336511"/>
                  <a:pt x="10574020" y="2288251"/>
                  <a:pt x="10542905" y="2269201"/>
                </a:cubicBezTo>
                <a:close/>
                <a:moveTo>
                  <a:pt x="10601325" y="2180301"/>
                </a:moveTo>
                <a:cubicBezTo>
                  <a:pt x="10570845" y="2159346"/>
                  <a:pt x="10539095" y="2207606"/>
                  <a:pt x="10570210" y="2227291"/>
                </a:cubicBezTo>
                <a:cubicBezTo>
                  <a:pt x="10600055" y="2248246"/>
                  <a:pt x="10632440" y="2200621"/>
                  <a:pt x="10601325" y="2180301"/>
                </a:cubicBezTo>
                <a:close/>
                <a:moveTo>
                  <a:pt x="10673080" y="1670396"/>
                </a:moveTo>
                <a:cubicBezTo>
                  <a:pt x="10632440" y="1648171"/>
                  <a:pt x="10598150" y="1712306"/>
                  <a:pt x="10639425" y="1733261"/>
                </a:cubicBezTo>
                <a:cubicBezTo>
                  <a:pt x="10680065" y="1756121"/>
                  <a:pt x="10714355" y="1691986"/>
                  <a:pt x="10673080" y="1670396"/>
                </a:cubicBezTo>
                <a:close/>
                <a:moveTo>
                  <a:pt x="10878820" y="1156046"/>
                </a:moveTo>
                <a:cubicBezTo>
                  <a:pt x="10920730" y="1182081"/>
                  <a:pt x="10960735" y="1114771"/>
                  <a:pt x="10917555" y="1090641"/>
                </a:cubicBezTo>
                <a:cubicBezTo>
                  <a:pt x="10875010" y="1064606"/>
                  <a:pt x="10835640" y="1131281"/>
                  <a:pt x="10878820" y="1156046"/>
                </a:cubicBezTo>
                <a:close/>
                <a:moveTo>
                  <a:pt x="10605135" y="2260946"/>
                </a:moveTo>
                <a:cubicBezTo>
                  <a:pt x="10584815" y="2287616"/>
                  <a:pt x="10626090" y="2318731"/>
                  <a:pt x="10646410" y="2292061"/>
                </a:cubicBezTo>
                <a:cubicBezTo>
                  <a:pt x="10666730" y="2266026"/>
                  <a:pt x="10624820" y="2234276"/>
                  <a:pt x="10605135" y="2260946"/>
                </a:cubicBezTo>
                <a:close/>
                <a:moveTo>
                  <a:pt x="10629265" y="2139661"/>
                </a:moveTo>
                <a:cubicBezTo>
                  <a:pt x="10659110" y="2161251"/>
                  <a:pt x="10692130" y="2113626"/>
                  <a:pt x="10661650" y="2093306"/>
                </a:cubicBezTo>
                <a:cubicBezTo>
                  <a:pt x="10631170" y="2072351"/>
                  <a:pt x="10598785" y="2119341"/>
                  <a:pt x="10629265" y="2139661"/>
                </a:cubicBezTo>
                <a:close/>
                <a:moveTo>
                  <a:pt x="10723245" y="1862801"/>
                </a:moveTo>
                <a:cubicBezTo>
                  <a:pt x="10690225" y="1840576"/>
                  <a:pt x="10655935" y="1892646"/>
                  <a:pt x="10689590" y="1914236"/>
                </a:cubicBezTo>
                <a:cubicBezTo>
                  <a:pt x="10722610" y="1936461"/>
                  <a:pt x="10756900" y="1884391"/>
                  <a:pt x="10723245" y="1862801"/>
                </a:cubicBezTo>
                <a:close/>
                <a:moveTo>
                  <a:pt x="11494770" y="524856"/>
                </a:moveTo>
                <a:cubicBezTo>
                  <a:pt x="11458575" y="553431"/>
                  <a:pt x="11504295" y="609946"/>
                  <a:pt x="11539855" y="580101"/>
                </a:cubicBezTo>
                <a:cubicBezTo>
                  <a:pt x="11576050" y="551526"/>
                  <a:pt x="11530330" y="495011"/>
                  <a:pt x="11494770" y="524856"/>
                </a:cubicBezTo>
                <a:close/>
                <a:moveTo>
                  <a:pt x="11583035" y="957291"/>
                </a:moveTo>
                <a:cubicBezTo>
                  <a:pt x="11562080" y="923636"/>
                  <a:pt x="11509375" y="956656"/>
                  <a:pt x="11531600" y="990311"/>
                </a:cubicBezTo>
                <a:cubicBezTo>
                  <a:pt x="11552555" y="1024601"/>
                  <a:pt x="11605260" y="990946"/>
                  <a:pt x="11583035" y="957291"/>
                </a:cubicBezTo>
                <a:close/>
                <a:moveTo>
                  <a:pt x="11552555" y="1455131"/>
                </a:moveTo>
                <a:cubicBezTo>
                  <a:pt x="11594465" y="1453861"/>
                  <a:pt x="11578590" y="1387821"/>
                  <a:pt x="11540490" y="1406871"/>
                </a:cubicBezTo>
                <a:cubicBezTo>
                  <a:pt x="11516995" y="1417666"/>
                  <a:pt x="11526520" y="1455766"/>
                  <a:pt x="11552555" y="1455131"/>
                </a:cubicBezTo>
                <a:close/>
                <a:moveTo>
                  <a:pt x="11492865" y="388331"/>
                </a:moveTo>
                <a:cubicBezTo>
                  <a:pt x="11501755" y="388331"/>
                  <a:pt x="11511280" y="385156"/>
                  <a:pt x="11518265" y="378806"/>
                </a:cubicBezTo>
                <a:lnTo>
                  <a:pt x="11518265" y="378806"/>
                </a:lnTo>
                <a:cubicBezTo>
                  <a:pt x="11555095" y="346421"/>
                  <a:pt x="11503025" y="288636"/>
                  <a:pt x="11466830" y="322291"/>
                </a:cubicBezTo>
                <a:cubicBezTo>
                  <a:pt x="11440795" y="343881"/>
                  <a:pt x="11459210" y="389601"/>
                  <a:pt x="11492865" y="388331"/>
                </a:cubicBezTo>
                <a:close/>
                <a:moveTo>
                  <a:pt x="11467465" y="1502121"/>
                </a:moveTo>
                <a:cubicBezTo>
                  <a:pt x="11510645" y="1500851"/>
                  <a:pt x="11492230" y="1433541"/>
                  <a:pt x="11454130" y="1454496"/>
                </a:cubicBezTo>
                <a:cubicBezTo>
                  <a:pt x="11431905" y="1466561"/>
                  <a:pt x="11442065" y="1503391"/>
                  <a:pt x="11467465" y="1502121"/>
                </a:cubicBezTo>
                <a:close/>
                <a:moveTo>
                  <a:pt x="11487785" y="1020156"/>
                </a:moveTo>
                <a:cubicBezTo>
                  <a:pt x="11464925" y="987771"/>
                  <a:pt x="11414125" y="1024601"/>
                  <a:pt x="11438255" y="1056351"/>
                </a:cubicBezTo>
                <a:cubicBezTo>
                  <a:pt x="11461750" y="1089371"/>
                  <a:pt x="11511915" y="1051906"/>
                  <a:pt x="11487785" y="1020156"/>
                </a:cubicBezTo>
                <a:close/>
                <a:moveTo>
                  <a:pt x="11506200" y="784571"/>
                </a:moveTo>
                <a:cubicBezTo>
                  <a:pt x="11480165" y="750281"/>
                  <a:pt x="11426825" y="792191"/>
                  <a:pt x="11454130" y="825846"/>
                </a:cubicBezTo>
                <a:cubicBezTo>
                  <a:pt x="11480165" y="859501"/>
                  <a:pt x="11532870" y="817591"/>
                  <a:pt x="11506200" y="784571"/>
                </a:cubicBezTo>
                <a:close/>
                <a:moveTo>
                  <a:pt x="11529060" y="1244946"/>
                </a:moveTo>
                <a:cubicBezTo>
                  <a:pt x="11576050" y="1243676"/>
                  <a:pt x="11555730" y="1169381"/>
                  <a:pt x="11514455" y="1192876"/>
                </a:cubicBezTo>
                <a:cubicBezTo>
                  <a:pt x="11490325" y="1206211"/>
                  <a:pt x="11501755" y="1246216"/>
                  <a:pt x="11529060" y="1244946"/>
                </a:cubicBezTo>
                <a:close/>
                <a:moveTo>
                  <a:pt x="11393805" y="612486"/>
                </a:moveTo>
                <a:cubicBezTo>
                  <a:pt x="11359515" y="643601"/>
                  <a:pt x="11409045" y="696306"/>
                  <a:pt x="11442065" y="664556"/>
                </a:cubicBezTo>
                <a:lnTo>
                  <a:pt x="11442065" y="664556"/>
                </a:lnTo>
                <a:cubicBezTo>
                  <a:pt x="11476355" y="633441"/>
                  <a:pt x="11426825" y="580101"/>
                  <a:pt x="11393805" y="612486"/>
                </a:cubicBezTo>
                <a:close/>
                <a:moveTo>
                  <a:pt x="11103610" y="801716"/>
                </a:moveTo>
                <a:cubicBezTo>
                  <a:pt x="11142980" y="830926"/>
                  <a:pt x="11188700" y="768061"/>
                  <a:pt x="11148060" y="740121"/>
                </a:cubicBezTo>
                <a:cubicBezTo>
                  <a:pt x="11108690" y="710276"/>
                  <a:pt x="11062970" y="773776"/>
                  <a:pt x="11103610" y="801716"/>
                </a:cubicBezTo>
                <a:close/>
                <a:moveTo>
                  <a:pt x="11024870" y="917921"/>
                </a:moveTo>
                <a:cubicBezTo>
                  <a:pt x="11065510" y="945861"/>
                  <a:pt x="11108690" y="881726"/>
                  <a:pt x="11067415" y="854421"/>
                </a:cubicBezTo>
                <a:cubicBezTo>
                  <a:pt x="11026775" y="826481"/>
                  <a:pt x="10983595" y="890616"/>
                  <a:pt x="11024870" y="917921"/>
                </a:cubicBezTo>
                <a:close/>
                <a:moveTo>
                  <a:pt x="10950575" y="1036031"/>
                </a:moveTo>
                <a:cubicBezTo>
                  <a:pt x="10991850" y="1062701"/>
                  <a:pt x="11033125" y="997296"/>
                  <a:pt x="10991215" y="971261"/>
                </a:cubicBezTo>
                <a:cubicBezTo>
                  <a:pt x="10949305" y="944591"/>
                  <a:pt x="10908030" y="1009996"/>
                  <a:pt x="10950575" y="1036031"/>
                </a:cubicBezTo>
                <a:close/>
                <a:moveTo>
                  <a:pt x="11273790" y="580101"/>
                </a:moveTo>
                <a:cubicBezTo>
                  <a:pt x="11310620" y="613121"/>
                  <a:pt x="11361420" y="554066"/>
                  <a:pt x="11323320" y="522316"/>
                </a:cubicBezTo>
                <a:cubicBezTo>
                  <a:pt x="11286490" y="489296"/>
                  <a:pt x="11235690" y="547716"/>
                  <a:pt x="11273790" y="580101"/>
                </a:cubicBezTo>
                <a:close/>
                <a:moveTo>
                  <a:pt x="11186160" y="689321"/>
                </a:moveTo>
                <a:cubicBezTo>
                  <a:pt x="11224260" y="720436"/>
                  <a:pt x="11272520" y="658841"/>
                  <a:pt x="11233150" y="628996"/>
                </a:cubicBezTo>
                <a:cubicBezTo>
                  <a:pt x="11194415" y="597881"/>
                  <a:pt x="11146790" y="659476"/>
                  <a:pt x="11186160" y="689321"/>
                </a:cubicBezTo>
                <a:close/>
                <a:moveTo>
                  <a:pt x="11298555" y="705831"/>
                </a:moveTo>
                <a:cubicBezTo>
                  <a:pt x="11298555" y="705831"/>
                  <a:pt x="11298555" y="705831"/>
                  <a:pt x="11298555" y="705831"/>
                </a:cubicBezTo>
                <a:cubicBezTo>
                  <a:pt x="11266170" y="738851"/>
                  <a:pt x="11318240" y="789016"/>
                  <a:pt x="11349990" y="755361"/>
                </a:cubicBezTo>
                <a:cubicBezTo>
                  <a:pt x="11383010" y="722341"/>
                  <a:pt x="11330305" y="672176"/>
                  <a:pt x="11298555" y="705831"/>
                </a:cubicBezTo>
                <a:close/>
                <a:moveTo>
                  <a:pt x="11392535" y="485486"/>
                </a:moveTo>
                <a:cubicBezTo>
                  <a:pt x="11425555" y="486756"/>
                  <a:pt x="11443970" y="442306"/>
                  <a:pt x="11419205" y="420081"/>
                </a:cubicBezTo>
                <a:cubicBezTo>
                  <a:pt x="11363960" y="374361"/>
                  <a:pt x="11321415" y="480406"/>
                  <a:pt x="11392535" y="485486"/>
                </a:cubicBezTo>
                <a:close/>
                <a:moveTo>
                  <a:pt x="11400155" y="1970751"/>
                </a:moveTo>
                <a:cubicBezTo>
                  <a:pt x="11433810" y="1970116"/>
                  <a:pt x="11421110" y="1916776"/>
                  <a:pt x="11390630" y="1931381"/>
                </a:cubicBezTo>
                <a:cubicBezTo>
                  <a:pt x="11370945" y="1940271"/>
                  <a:pt x="11379200" y="1971386"/>
                  <a:pt x="11400155" y="1970751"/>
                </a:cubicBezTo>
                <a:close/>
                <a:moveTo>
                  <a:pt x="11169015" y="1723736"/>
                </a:moveTo>
                <a:cubicBezTo>
                  <a:pt x="11194415" y="1702781"/>
                  <a:pt x="11160760" y="1662776"/>
                  <a:pt x="11135360" y="1684366"/>
                </a:cubicBezTo>
                <a:cubicBezTo>
                  <a:pt x="11109325" y="1705956"/>
                  <a:pt x="11143615" y="1745961"/>
                  <a:pt x="11169015" y="1723736"/>
                </a:cubicBezTo>
                <a:close/>
                <a:moveTo>
                  <a:pt x="11122025" y="1945351"/>
                </a:moveTo>
                <a:cubicBezTo>
                  <a:pt x="11163300" y="1944081"/>
                  <a:pt x="11141075" y="1879311"/>
                  <a:pt x="11107420" y="1904076"/>
                </a:cubicBezTo>
                <a:cubicBezTo>
                  <a:pt x="11090275" y="1916776"/>
                  <a:pt x="11101070" y="1945986"/>
                  <a:pt x="11122025" y="1945351"/>
                </a:cubicBezTo>
                <a:close/>
                <a:moveTo>
                  <a:pt x="11193145" y="1892011"/>
                </a:moveTo>
                <a:cubicBezTo>
                  <a:pt x="11233785" y="1890741"/>
                  <a:pt x="11213465" y="1827241"/>
                  <a:pt x="11179175" y="1850101"/>
                </a:cubicBezTo>
                <a:cubicBezTo>
                  <a:pt x="11161395" y="1862166"/>
                  <a:pt x="11171555" y="1892646"/>
                  <a:pt x="11193145" y="1892011"/>
                </a:cubicBezTo>
                <a:close/>
                <a:moveTo>
                  <a:pt x="11096625" y="1787871"/>
                </a:moveTo>
                <a:cubicBezTo>
                  <a:pt x="11121390" y="1765646"/>
                  <a:pt x="11085830" y="1726911"/>
                  <a:pt x="11061700" y="1749771"/>
                </a:cubicBezTo>
                <a:cubicBezTo>
                  <a:pt x="11036935" y="1771996"/>
                  <a:pt x="11072495" y="1810731"/>
                  <a:pt x="11096625" y="1787871"/>
                </a:cubicBezTo>
                <a:close/>
                <a:moveTo>
                  <a:pt x="11026775" y="1817716"/>
                </a:moveTo>
                <a:cubicBezTo>
                  <a:pt x="11003915" y="1793586"/>
                  <a:pt x="10966450" y="1830416"/>
                  <a:pt x="10989945" y="1853911"/>
                </a:cubicBezTo>
                <a:cubicBezTo>
                  <a:pt x="11013440" y="1878041"/>
                  <a:pt x="11050905" y="1841211"/>
                  <a:pt x="11026775" y="1817716"/>
                </a:cubicBezTo>
                <a:close/>
                <a:moveTo>
                  <a:pt x="11052810" y="2001866"/>
                </a:moveTo>
                <a:cubicBezTo>
                  <a:pt x="11094720" y="1999961"/>
                  <a:pt x="11071225" y="1935191"/>
                  <a:pt x="11037570" y="1960591"/>
                </a:cubicBezTo>
                <a:cubicBezTo>
                  <a:pt x="11021060" y="1973291"/>
                  <a:pt x="11031855" y="2002501"/>
                  <a:pt x="11052810" y="2001866"/>
                </a:cubicBezTo>
                <a:close/>
                <a:moveTo>
                  <a:pt x="10985500" y="2059651"/>
                </a:moveTo>
                <a:cubicBezTo>
                  <a:pt x="11028045" y="2057746"/>
                  <a:pt x="11003280" y="1992341"/>
                  <a:pt x="10970260" y="2019011"/>
                </a:cubicBezTo>
                <a:cubicBezTo>
                  <a:pt x="10970260" y="2019011"/>
                  <a:pt x="10970260" y="2019011"/>
                  <a:pt x="10970260" y="2019011"/>
                </a:cubicBezTo>
                <a:cubicBezTo>
                  <a:pt x="10953750" y="2032346"/>
                  <a:pt x="10965180" y="2060921"/>
                  <a:pt x="10985500" y="2059651"/>
                </a:cubicBezTo>
                <a:close/>
                <a:moveTo>
                  <a:pt x="11243310" y="1662141"/>
                </a:moveTo>
                <a:cubicBezTo>
                  <a:pt x="11269980" y="1641821"/>
                  <a:pt x="11236960" y="1600546"/>
                  <a:pt x="11211560" y="1621501"/>
                </a:cubicBezTo>
                <a:cubicBezTo>
                  <a:pt x="11184890" y="1642456"/>
                  <a:pt x="11217275" y="1683731"/>
                  <a:pt x="11243310" y="1662141"/>
                </a:cubicBezTo>
                <a:close/>
                <a:moveTo>
                  <a:pt x="11320145" y="1604356"/>
                </a:moveTo>
                <a:cubicBezTo>
                  <a:pt x="11347450" y="1585306"/>
                  <a:pt x="11316335" y="1542761"/>
                  <a:pt x="11289665" y="1562446"/>
                </a:cubicBezTo>
                <a:cubicBezTo>
                  <a:pt x="11262360" y="1581496"/>
                  <a:pt x="11293475" y="1624041"/>
                  <a:pt x="11320145" y="1604356"/>
                </a:cubicBezTo>
                <a:close/>
                <a:moveTo>
                  <a:pt x="10958195" y="1886296"/>
                </a:moveTo>
                <a:cubicBezTo>
                  <a:pt x="10934700" y="1862801"/>
                  <a:pt x="10897870" y="1900901"/>
                  <a:pt x="10922635" y="1923126"/>
                </a:cubicBezTo>
                <a:cubicBezTo>
                  <a:pt x="10946130" y="1947256"/>
                  <a:pt x="10982325" y="1909156"/>
                  <a:pt x="10958195" y="1886296"/>
                </a:cubicBezTo>
                <a:close/>
                <a:moveTo>
                  <a:pt x="11437620" y="1712941"/>
                </a:moveTo>
                <a:cubicBezTo>
                  <a:pt x="11423015" y="1686271"/>
                  <a:pt x="11381740" y="1709766"/>
                  <a:pt x="11396980" y="1735801"/>
                </a:cubicBezTo>
                <a:cubicBezTo>
                  <a:pt x="11411585" y="1761836"/>
                  <a:pt x="11452860" y="1738976"/>
                  <a:pt x="11437620" y="1712941"/>
                </a:cubicBezTo>
                <a:close/>
                <a:moveTo>
                  <a:pt x="11384915" y="1553556"/>
                </a:moveTo>
                <a:cubicBezTo>
                  <a:pt x="11428730" y="1552286"/>
                  <a:pt x="11408410" y="1483071"/>
                  <a:pt x="11370945" y="1506566"/>
                </a:cubicBezTo>
                <a:cubicBezTo>
                  <a:pt x="11349355" y="1519266"/>
                  <a:pt x="11360150" y="1554826"/>
                  <a:pt x="11384915" y="1553556"/>
                </a:cubicBezTo>
                <a:close/>
                <a:moveTo>
                  <a:pt x="11360150" y="1756756"/>
                </a:moveTo>
                <a:cubicBezTo>
                  <a:pt x="11344910" y="1730721"/>
                  <a:pt x="11304270" y="1755486"/>
                  <a:pt x="11320780" y="1781521"/>
                </a:cubicBezTo>
                <a:cubicBezTo>
                  <a:pt x="11336655" y="1807556"/>
                  <a:pt x="11376660" y="1782791"/>
                  <a:pt x="11360150" y="1756756"/>
                </a:cubicBezTo>
                <a:close/>
                <a:moveTo>
                  <a:pt x="11463655" y="1258281"/>
                </a:moveTo>
                <a:cubicBezTo>
                  <a:pt x="11443335" y="1227801"/>
                  <a:pt x="11395710" y="1260186"/>
                  <a:pt x="11417300" y="1290031"/>
                </a:cubicBezTo>
                <a:cubicBezTo>
                  <a:pt x="11437620" y="1320511"/>
                  <a:pt x="11484610" y="1288126"/>
                  <a:pt x="11463655" y="1258281"/>
                </a:cubicBezTo>
                <a:close/>
                <a:moveTo>
                  <a:pt x="11328400" y="2008216"/>
                </a:moveTo>
                <a:cubicBezTo>
                  <a:pt x="11362690" y="2007581"/>
                  <a:pt x="11348720" y="1953606"/>
                  <a:pt x="11318240" y="1968846"/>
                </a:cubicBezTo>
                <a:cubicBezTo>
                  <a:pt x="11299825" y="1979006"/>
                  <a:pt x="11308080" y="2008851"/>
                  <a:pt x="11328400" y="2008216"/>
                </a:cubicBezTo>
                <a:close/>
                <a:moveTo>
                  <a:pt x="11265535" y="1840576"/>
                </a:moveTo>
                <a:cubicBezTo>
                  <a:pt x="11305540" y="1839306"/>
                  <a:pt x="11286490" y="1776441"/>
                  <a:pt x="11252200" y="1798031"/>
                </a:cubicBezTo>
                <a:cubicBezTo>
                  <a:pt x="11233785" y="1810096"/>
                  <a:pt x="11243945" y="1841846"/>
                  <a:pt x="11265535" y="1840576"/>
                </a:cubicBezTo>
                <a:close/>
                <a:moveTo>
                  <a:pt x="10627995" y="2010756"/>
                </a:moveTo>
                <a:cubicBezTo>
                  <a:pt x="10661015" y="2032346"/>
                  <a:pt x="10694670" y="1979641"/>
                  <a:pt x="10660380" y="1958686"/>
                </a:cubicBezTo>
                <a:cubicBezTo>
                  <a:pt x="10627360" y="1937096"/>
                  <a:pt x="10594340" y="1989801"/>
                  <a:pt x="10627995" y="2010756"/>
                </a:cubicBezTo>
                <a:close/>
                <a:moveTo>
                  <a:pt x="11875770" y="580101"/>
                </a:moveTo>
                <a:cubicBezTo>
                  <a:pt x="11888470" y="621376"/>
                  <a:pt x="11952605" y="601056"/>
                  <a:pt x="11939270" y="560416"/>
                </a:cubicBezTo>
                <a:cubicBezTo>
                  <a:pt x="11927205" y="519141"/>
                  <a:pt x="11862435" y="539461"/>
                  <a:pt x="11875770" y="580101"/>
                </a:cubicBezTo>
                <a:close/>
                <a:moveTo>
                  <a:pt x="11967210" y="273396"/>
                </a:moveTo>
                <a:cubicBezTo>
                  <a:pt x="11922125" y="284191"/>
                  <a:pt x="11941175" y="354676"/>
                  <a:pt x="11984990" y="342611"/>
                </a:cubicBezTo>
                <a:cubicBezTo>
                  <a:pt x="12029440" y="331181"/>
                  <a:pt x="12011660" y="261331"/>
                  <a:pt x="11967210" y="273396"/>
                </a:cubicBezTo>
                <a:close/>
                <a:moveTo>
                  <a:pt x="11974830" y="825846"/>
                </a:moveTo>
                <a:cubicBezTo>
                  <a:pt x="12019280" y="825846"/>
                  <a:pt x="12011660" y="755996"/>
                  <a:pt x="11968480" y="765521"/>
                </a:cubicBezTo>
                <a:cubicBezTo>
                  <a:pt x="11933555" y="772506"/>
                  <a:pt x="11939905" y="827116"/>
                  <a:pt x="11974830" y="825846"/>
                </a:cubicBezTo>
                <a:close/>
                <a:moveTo>
                  <a:pt x="11838305" y="315941"/>
                </a:moveTo>
                <a:cubicBezTo>
                  <a:pt x="11795125" y="333086"/>
                  <a:pt x="11823065" y="400396"/>
                  <a:pt x="11864975" y="381981"/>
                </a:cubicBezTo>
                <a:cubicBezTo>
                  <a:pt x="11908155" y="365471"/>
                  <a:pt x="11880850" y="298161"/>
                  <a:pt x="11838305" y="315941"/>
                </a:cubicBezTo>
                <a:close/>
                <a:moveTo>
                  <a:pt x="11837035" y="153381"/>
                </a:moveTo>
                <a:cubicBezTo>
                  <a:pt x="11897995" y="152111"/>
                  <a:pt x="11877040" y="56226"/>
                  <a:pt x="11821160" y="80356"/>
                </a:cubicBezTo>
                <a:cubicBezTo>
                  <a:pt x="11784330" y="96231"/>
                  <a:pt x="11797665" y="154651"/>
                  <a:pt x="11837035" y="153381"/>
                </a:cubicBezTo>
                <a:close/>
                <a:moveTo>
                  <a:pt x="12001500" y="1545301"/>
                </a:moveTo>
                <a:cubicBezTo>
                  <a:pt x="12033885" y="1545301"/>
                  <a:pt x="12030075" y="1494501"/>
                  <a:pt x="11998325" y="1498946"/>
                </a:cubicBezTo>
                <a:cubicBezTo>
                  <a:pt x="11970385" y="1502121"/>
                  <a:pt x="11973560" y="1545936"/>
                  <a:pt x="12001500" y="1545301"/>
                </a:cubicBezTo>
                <a:close/>
                <a:moveTo>
                  <a:pt x="12037695" y="1272886"/>
                </a:moveTo>
                <a:cubicBezTo>
                  <a:pt x="12033250" y="1239866"/>
                  <a:pt x="11981180" y="1247486"/>
                  <a:pt x="11986895" y="1280506"/>
                </a:cubicBezTo>
                <a:cubicBezTo>
                  <a:pt x="11991340" y="1313526"/>
                  <a:pt x="12042775" y="1305906"/>
                  <a:pt x="12037695" y="1272886"/>
                </a:cubicBezTo>
                <a:close/>
                <a:moveTo>
                  <a:pt x="12048490" y="1026506"/>
                </a:moveTo>
                <a:cubicBezTo>
                  <a:pt x="12043410" y="990311"/>
                  <a:pt x="11986260" y="999201"/>
                  <a:pt x="11992610" y="1035396"/>
                </a:cubicBezTo>
                <a:cubicBezTo>
                  <a:pt x="11997690" y="1071591"/>
                  <a:pt x="12054205" y="1062701"/>
                  <a:pt x="12048490" y="1026506"/>
                </a:cubicBezTo>
                <a:close/>
                <a:moveTo>
                  <a:pt x="11967210" y="104486"/>
                </a:moveTo>
                <a:cubicBezTo>
                  <a:pt x="12023725" y="104486"/>
                  <a:pt x="12011025" y="14316"/>
                  <a:pt x="11956415" y="29556"/>
                </a:cubicBezTo>
                <a:cubicBezTo>
                  <a:pt x="11914505" y="40351"/>
                  <a:pt x="11924665" y="105756"/>
                  <a:pt x="11967210" y="104486"/>
                </a:cubicBezTo>
                <a:close/>
                <a:moveTo>
                  <a:pt x="10854690" y="1514821"/>
                </a:moveTo>
                <a:cubicBezTo>
                  <a:pt x="10819130" y="1490691"/>
                  <a:pt x="10781665" y="1547206"/>
                  <a:pt x="10817860" y="1570066"/>
                </a:cubicBezTo>
                <a:cubicBezTo>
                  <a:pt x="10853420" y="1594196"/>
                  <a:pt x="10890885" y="1537681"/>
                  <a:pt x="10854690" y="1514821"/>
                </a:cubicBezTo>
                <a:close/>
                <a:moveTo>
                  <a:pt x="11608435" y="1140171"/>
                </a:moveTo>
                <a:cubicBezTo>
                  <a:pt x="11575415" y="1156681"/>
                  <a:pt x="11602085" y="1207481"/>
                  <a:pt x="11634470" y="1190336"/>
                </a:cubicBezTo>
                <a:cubicBezTo>
                  <a:pt x="11667490" y="1173826"/>
                  <a:pt x="11640820" y="1123026"/>
                  <a:pt x="11608435" y="1140171"/>
                </a:cubicBezTo>
                <a:close/>
                <a:moveTo>
                  <a:pt x="11762740" y="627091"/>
                </a:moveTo>
                <a:cubicBezTo>
                  <a:pt x="11779885" y="667096"/>
                  <a:pt x="11841480" y="639791"/>
                  <a:pt x="11823700" y="600421"/>
                </a:cubicBezTo>
                <a:cubicBezTo>
                  <a:pt x="11806555" y="560416"/>
                  <a:pt x="11744960" y="587721"/>
                  <a:pt x="11762740" y="627091"/>
                </a:cubicBezTo>
                <a:close/>
                <a:moveTo>
                  <a:pt x="11682730" y="901411"/>
                </a:moveTo>
                <a:cubicBezTo>
                  <a:pt x="11664315" y="865851"/>
                  <a:pt x="11609070" y="895696"/>
                  <a:pt x="11628755" y="930621"/>
                </a:cubicBezTo>
                <a:cubicBezTo>
                  <a:pt x="11647805" y="966181"/>
                  <a:pt x="11702415" y="936336"/>
                  <a:pt x="11682730" y="901411"/>
                </a:cubicBezTo>
                <a:close/>
                <a:moveTo>
                  <a:pt x="11716385" y="374361"/>
                </a:moveTo>
                <a:cubicBezTo>
                  <a:pt x="11675745" y="395951"/>
                  <a:pt x="11710670" y="459451"/>
                  <a:pt x="11750675" y="436591"/>
                </a:cubicBezTo>
                <a:cubicBezTo>
                  <a:pt x="11791950" y="415001"/>
                  <a:pt x="11757025" y="351501"/>
                  <a:pt x="11716385" y="374361"/>
                </a:cubicBezTo>
                <a:close/>
                <a:moveTo>
                  <a:pt x="11602085" y="444846"/>
                </a:moveTo>
                <a:cubicBezTo>
                  <a:pt x="11563350" y="470246"/>
                  <a:pt x="11604625" y="530571"/>
                  <a:pt x="11642090" y="503901"/>
                </a:cubicBezTo>
                <a:cubicBezTo>
                  <a:pt x="11680825" y="477866"/>
                  <a:pt x="11640185" y="418176"/>
                  <a:pt x="11602085" y="444846"/>
                </a:cubicBezTo>
                <a:close/>
                <a:moveTo>
                  <a:pt x="11714480" y="219421"/>
                </a:moveTo>
                <a:cubicBezTo>
                  <a:pt x="11779250" y="216246"/>
                  <a:pt x="11751310" y="117821"/>
                  <a:pt x="11694160" y="148936"/>
                </a:cubicBezTo>
                <a:cubicBezTo>
                  <a:pt x="11661775" y="167351"/>
                  <a:pt x="11677650" y="220691"/>
                  <a:pt x="11714480" y="219421"/>
                </a:cubicBezTo>
                <a:close/>
                <a:moveTo>
                  <a:pt x="11654790" y="684241"/>
                </a:moveTo>
                <a:cubicBezTo>
                  <a:pt x="11675745" y="722341"/>
                  <a:pt x="11734165" y="688686"/>
                  <a:pt x="11712575" y="651856"/>
                </a:cubicBezTo>
                <a:cubicBezTo>
                  <a:pt x="11692255" y="614391"/>
                  <a:pt x="11633200" y="647411"/>
                  <a:pt x="11654790" y="684241"/>
                </a:cubicBezTo>
                <a:close/>
                <a:moveTo>
                  <a:pt x="12139930" y="280381"/>
                </a:moveTo>
                <a:cubicBezTo>
                  <a:pt x="12135485" y="234661"/>
                  <a:pt x="12063095" y="242281"/>
                  <a:pt x="12068810" y="288001"/>
                </a:cubicBezTo>
                <a:cubicBezTo>
                  <a:pt x="12073255" y="334356"/>
                  <a:pt x="12145645" y="326101"/>
                  <a:pt x="12139930" y="280381"/>
                </a:cubicBezTo>
                <a:close/>
                <a:moveTo>
                  <a:pt x="11993880" y="547081"/>
                </a:moveTo>
                <a:cubicBezTo>
                  <a:pt x="12001500" y="589626"/>
                  <a:pt x="12067540" y="576926"/>
                  <a:pt x="12059285" y="535016"/>
                </a:cubicBezTo>
                <a:cubicBezTo>
                  <a:pt x="12051665" y="492471"/>
                  <a:pt x="11985625" y="504536"/>
                  <a:pt x="11993880" y="547081"/>
                </a:cubicBezTo>
                <a:close/>
                <a:moveTo>
                  <a:pt x="11941810" y="1288761"/>
                </a:moveTo>
                <a:cubicBezTo>
                  <a:pt x="11934825" y="1256376"/>
                  <a:pt x="11884025" y="1267171"/>
                  <a:pt x="11891645" y="1300191"/>
                </a:cubicBezTo>
                <a:cubicBezTo>
                  <a:pt x="11898630" y="1332576"/>
                  <a:pt x="11949430" y="1321146"/>
                  <a:pt x="11941810" y="1288761"/>
                </a:cubicBezTo>
                <a:close/>
                <a:moveTo>
                  <a:pt x="11944350" y="1044921"/>
                </a:moveTo>
                <a:cubicBezTo>
                  <a:pt x="11936095" y="1009361"/>
                  <a:pt x="11880215" y="1023331"/>
                  <a:pt x="11889740" y="1058891"/>
                </a:cubicBezTo>
                <a:cubicBezTo>
                  <a:pt x="11897995" y="1094451"/>
                  <a:pt x="11953875" y="1080481"/>
                  <a:pt x="11944350" y="1044921"/>
                </a:cubicBezTo>
                <a:close/>
                <a:moveTo>
                  <a:pt x="11909425" y="1513551"/>
                </a:moveTo>
                <a:cubicBezTo>
                  <a:pt x="11879580" y="1519266"/>
                  <a:pt x="11889105" y="1565621"/>
                  <a:pt x="11918315" y="1559271"/>
                </a:cubicBezTo>
                <a:cubicBezTo>
                  <a:pt x="11948160" y="1554191"/>
                  <a:pt x="11939270" y="1507836"/>
                  <a:pt x="11909425" y="1513551"/>
                </a:cubicBezTo>
                <a:close/>
                <a:moveTo>
                  <a:pt x="12089765" y="1536411"/>
                </a:moveTo>
                <a:cubicBezTo>
                  <a:pt x="12120880" y="1537046"/>
                  <a:pt x="12119610" y="1487516"/>
                  <a:pt x="12087860" y="1490056"/>
                </a:cubicBezTo>
                <a:cubicBezTo>
                  <a:pt x="12059285" y="1491326"/>
                  <a:pt x="12061190" y="1537046"/>
                  <a:pt x="12089765" y="1536411"/>
                </a:cubicBezTo>
                <a:close/>
                <a:moveTo>
                  <a:pt x="12103735" y="76546"/>
                </a:moveTo>
                <a:cubicBezTo>
                  <a:pt x="12155805" y="77181"/>
                  <a:pt x="12151360" y="-6004"/>
                  <a:pt x="12099290" y="346"/>
                </a:cubicBezTo>
                <a:cubicBezTo>
                  <a:pt x="12052300" y="5426"/>
                  <a:pt x="12056745" y="77816"/>
                  <a:pt x="12103735" y="76546"/>
                </a:cubicBezTo>
                <a:close/>
                <a:moveTo>
                  <a:pt x="12091035" y="807431"/>
                </a:moveTo>
                <a:cubicBezTo>
                  <a:pt x="12130405" y="803621"/>
                  <a:pt x="12124055" y="741391"/>
                  <a:pt x="12084685" y="746471"/>
                </a:cubicBezTo>
                <a:cubicBezTo>
                  <a:pt x="12044680" y="750281"/>
                  <a:pt x="12051665" y="812511"/>
                  <a:pt x="12091035" y="807431"/>
                </a:cubicBezTo>
                <a:close/>
                <a:moveTo>
                  <a:pt x="11822430" y="1344641"/>
                </a:moveTo>
                <a:cubicBezTo>
                  <a:pt x="11824970" y="1344641"/>
                  <a:pt x="11827510" y="1344006"/>
                  <a:pt x="11830050" y="1343371"/>
                </a:cubicBezTo>
                <a:lnTo>
                  <a:pt x="11830050" y="1343371"/>
                </a:lnTo>
                <a:cubicBezTo>
                  <a:pt x="11862435" y="1334481"/>
                  <a:pt x="11847195" y="1284316"/>
                  <a:pt x="11815445" y="1293841"/>
                </a:cubicBezTo>
                <a:cubicBezTo>
                  <a:pt x="11786870" y="1301461"/>
                  <a:pt x="11793855" y="1345276"/>
                  <a:pt x="11822430" y="1344641"/>
                </a:cubicBezTo>
                <a:close/>
                <a:moveTo>
                  <a:pt x="11827510" y="1579591"/>
                </a:moveTo>
                <a:cubicBezTo>
                  <a:pt x="11861800" y="1579591"/>
                  <a:pt x="11854815" y="1524981"/>
                  <a:pt x="11821795" y="1533871"/>
                </a:cubicBezTo>
                <a:cubicBezTo>
                  <a:pt x="11795760" y="1539586"/>
                  <a:pt x="11801475" y="1580226"/>
                  <a:pt x="11827510" y="1579591"/>
                </a:cubicBezTo>
                <a:close/>
                <a:moveTo>
                  <a:pt x="11894185" y="815686"/>
                </a:moveTo>
                <a:cubicBezTo>
                  <a:pt x="11882120" y="777586"/>
                  <a:pt x="11823065" y="797271"/>
                  <a:pt x="11835765" y="834736"/>
                </a:cubicBezTo>
                <a:cubicBezTo>
                  <a:pt x="11848465" y="873471"/>
                  <a:pt x="11907520" y="853786"/>
                  <a:pt x="11894185" y="815686"/>
                </a:cubicBezTo>
                <a:close/>
                <a:moveTo>
                  <a:pt x="11852910" y="1810731"/>
                </a:moveTo>
                <a:cubicBezTo>
                  <a:pt x="11882755" y="1810731"/>
                  <a:pt x="11877675" y="1763106"/>
                  <a:pt x="11848465" y="1769456"/>
                </a:cubicBezTo>
                <a:cubicBezTo>
                  <a:pt x="11824970" y="1773901"/>
                  <a:pt x="11828780" y="1811366"/>
                  <a:pt x="11852910" y="1810731"/>
                </a:cubicBezTo>
                <a:close/>
                <a:moveTo>
                  <a:pt x="11730355" y="1375756"/>
                </a:moveTo>
                <a:cubicBezTo>
                  <a:pt x="11769725" y="1375121"/>
                  <a:pt x="11758930" y="1312256"/>
                  <a:pt x="11721465" y="1326226"/>
                </a:cubicBezTo>
                <a:cubicBezTo>
                  <a:pt x="11694795" y="1334481"/>
                  <a:pt x="11703050" y="1376391"/>
                  <a:pt x="11730355" y="1375756"/>
                </a:cubicBezTo>
                <a:close/>
                <a:moveTo>
                  <a:pt x="11816080" y="1110326"/>
                </a:moveTo>
                <a:cubicBezTo>
                  <a:pt x="11858625" y="1109691"/>
                  <a:pt x="11847830" y="1041746"/>
                  <a:pt x="11807190" y="1055081"/>
                </a:cubicBezTo>
                <a:cubicBezTo>
                  <a:pt x="11776710" y="1064606"/>
                  <a:pt x="11784965" y="1110961"/>
                  <a:pt x="11816080" y="1110326"/>
                </a:cubicBezTo>
                <a:close/>
                <a:moveTo>
                  <a:pt x="11728450" y="1145886"/>
                </a:moveTo>
                <a:cubicBezTo>
                  <a:pt x="11762105" y="1131916"/>
                  <a:pt x="11739245" y="1079211"/>
                  <a:pt x="11706225" y="1093816"/>
                </a:cubicBezTo>
                <a:cubicBezTo>
                  <a:pt x="11671935" y="1108421"/>
                  <a:pt x="11695430" y="1161126"/>
                  <a:pt x="11728450" y="1145886"/>
                </a:cubicBezTo>
                <a:close/>
                <a:moveTo>
                  <a:pt x="11770995" y="894426"/>
                </a:moveTo>
                <a:cubicBezTo>
                  <a:pt x="11807825" y="879186"/>
                  <a:pt x="11783060" y="822036"/>
                  <a:pt x="11746230" y="837911"/>
                </a:cubicBezTo>
                <a:cubicBezTo>
                  <a:pt x="11709400" y="853151"/>
                  <a:pt x="11734800" y="910936"/>
                  <a:pt x="11770995" y="894426"/>
                </a:cubicBezTo>
                <a:close/>
                <a:moveTo>
                  <a:pt x="11640185" y="1412586"/>
                </a:moveTo>
                <a:cubicBezTo>
                  <a:pt x="11680825" y="1411951"/>
                  <a:pt x="11667490" y="1347181"/>
                  <a:pt x="11629390" y="1363056"/>
                </a:cubicBezTo>
                <a:cubicBezTo>
                  <a:pt x="11604625" y="1373851"/>
                  <a:pt x="11613515" y="1413856"/>
                  <a:pt x="11640185" y="1412586"/>
                </a:cubicBezTo>
                <a:close/>
                <a:moveTo>
                  <a:pt x="11015980" y="1110326"/>
                </a:moveTo>
                <a:cubicBezTo>
                  <a:pt x="10978515" y="1083656"/>
                  <a:pt x="10937240" y="1143346"/>
                  <a:pt x="10975340" y="1168746"/>
                </a:cubicBezTo>
                <a:cubicBezTo>
                  <a:pt x="11012805" y="1196051"/>
                  <a:pt x="11054080" y="1136361"/>
                  <a:pt x="11015980" y="1110326"/>
                </a:cubicBezTo>
                <a:close/>
                <a:moveTo>
                  <a:pt x="10950575" y="1321146"/>
                </a:moveTo>
                <a:cubicBezTo>
                  <a:pt x="10924540" y="1355436"/>
                  <a:pt x="10978515" y="1395441"/>
                  <a:pt x="11003915" y="1360516"/>
                </a:cubicBezTo>
                <a:cubicBezTo>
                  <a:pt x="11029950" y="1326226"/>
                  <a:pt x="10975340" y="1286221"/>
                  <a:pt x="10950575" y="1321146"/>
                </a:cubicBezTo>
                <a:close/>
                <a:moveTo>
                  <a:pt x="10994390" y="1493866"/>
                </a:moveTo>
                <a:cubicBezTo>
                  <a:pt x="10963910" y="1468466"/>
                  <a:pt x="10924540" y="1516726"/>
                  <a:pt x="10955655" y="1541491"/>
                </a:cubicBezTo>
                <a:cubicBezTo>
                  <a:pt x="10986135" y="1567526"/>
                  <a:pt x="11026140" y="1518631"/>
                  <a:pt x="10994390" y="1493866"/>
                </a:cubicBezTo>
                <a:close/>
                <a:moveTo>
                  <a:pt x="11021060" y="1601181"/>
                </a:moveTo>
                <a:cubicBezTo>
                  <a:pt x="10995660" y="1627216"/>
                  <a:pt x="11037570" y="1667221"/>
                  <a:pt x="11062335" y="1639916"/>
                </a:cubicBezTo>
                <a:cubicBezTo>
                  <a:pt x="11087735" y="1613881"/>
                  <a:pt x="11045825" y="1574511"/>
                  <a:pt x="11021060" y="1601181"/>
                </a:cubicBezTo>
                <a:close/>
                <a:moveTo>
                  <a:pt x="11068685" y="1406871"/>
                </a:moveTo>
                <a:cubicBezTo>
                  <a:pt x="11038840" y="1380201"/>
                  <a:pt x="10998200" y="1427826"/>
                  <a:pt x="11028680" y="1453226"/>
                </a:cubicBezTo>
                <a:cubicBezTo>
                  <a:pt x="11057890" y="1479896"/>
                  <a:pt x="11099165" y="1432271"/>
                  <a:pt x="11068685" y="1406871"/>
                </a:cubicBezTo>
                <a:close/>
                <a:moveTo>
                  <a:pt x="10949305" y="1679921"/>
                </a:moveTo>
                <a:cubicBezTo>
                  <a:pt x="10924540" y="1707226"/>
                  <a:pt x="10967720" y="1745326"/>
                  <a:pt x="10991850" y="1717386"/>
                </a:cubicBezTo>
                <a:cubicBezTo>
                  <a:pt x="11015980" y="1690716"/>
                  <a:pt x="10972800" y="1652616"/>
                  <a:pt x="10949305" y="1679921"/>
                </a:cubicBezTo>
                <a:close/>
                <a:moveTo>
                  <a:pt x="11095990" y="1524981"/>
                </a:moveTo>
                <a:cubicBezTo>
                  <a:pt x="11069320" y="1550381"/>
                  <a:pt x="11109960" y="1591021"/>
                  <a:pt x="11135360" y="1564986"/>
                </a:cubicBezTo>
                <a:cubicBezTo>
                  <a:pt x="11162030" y="1539586"/>
                  <a:pt x="11121390" y="1498946"/>
                  <a:pt x="11095990" y="1524981"/>
                </a:cubicBezTo>
                <a:close/>
                <a:moveTo>
                  <a:pt x="11025505" y="1222721"/>
                </a:moveTo>
                <a:cubicBezTo>
                  <a:pt x="10998200" y="1256376"/>
                  <a:pt x="11050905" y="1298286"/>
                  <a:pt x="11077575" y="1263996"/>
                </a:cubicBezTo>
                <a:cubicBezTo>
                  <a:pt x="11104880" y="1230341"/>
                  <a:pt x="11052175" y="1188431"/>
                  <a:pt x="11025505" y="1222721"/>
                </a:cubicBezTo>
                <a:close/>
                <a:moveTo>
                  <a:pt x="11093450" y="1004281"/>
                </a:moveTo>
                <a:cubicBezTo>
                  <a:pt x="11056620" y="976341"/>
                  <a:pt x="11013440" y="1034761"/>
                  <a:pt x="11050905" y="1061431"/>
                </a:cubicBezTo>
                <a:cubicBezTo>
                  <a:pt x="11087735" y="1089371"/>
                  <a:pt x="11130915" y="1030951"/>
                  <a:pt x="11093450" y="1004281"/>
                </a:cubicBezTo>
                <a:close/>
                <a:moveTo>
                  <a:pt x="10854055" y="1674841"/>
                </a:moveTo>
                <a:cubicBezTo>
                  <a:pt x="10822305" y="1651346"/>
                  <a:pt x="10785475" y="1701511"/>
                  <a:pt x="10817860" y="1724371"/>
                </a:cubicBezTo>
                <a:cubicBezTo>
                  <a:pt x="10850245" y="1748501"/>
                  <a:pt x="10887075" y="1697701"/>
                  <a:pt x="10854055" y="1674841"/>
                </a:cubicBezTo>
                <a:close/>
                <a:moveTo>
                  <a:pt x="10821670" y="1341466"/>
                </a:moveTo>
                <a:cubicBezTo>
                  <a:pt x="10796905" y="1380201"/>
                  <a:pt x="10858500" y="1418301"/>
                  <a:pt x="10882630" y="1378931"/>
                </a:cubicBezTo>
                <a:cubicBezTo>
                  <a:pt x="10907395" y="1339561"/>
                  <a:pt x="10845800" y="1301461"/>
                  <a:pt x="10821670" y="1341466"/>
                </a:cubicBezTo>
                <a:close/>
                <a:moveTo>
                  <a:pt x="8022590" y="4981921"/>
                </a:moveTo>
                <a:cubicBezTo>
                  <a:pt x="8023225" y="5009226"/>
                  <a:pt x="8065770" y="5006686"/>
                  <a:pt x="8063865" y="4980016"/>
                </a:cubicBezTo>
                <a:cubicBezTo>
                  <a:pt x="8063231" y="4952711"/>
                  <a:pt x="8020685" y="4954616"/>
                  <a:pt x="8022590" y="4981921"/>
                </a:cubicBezTo>
                <a:close/>
                <a:moveTo>
                  <a:pt x="10941685" y="1218911"/>
                </a:moveTo>
                <a:cubicBezTo>
                  <a:pt x="10902950" y="1192876"/>
                  <a:pt x="10863580" y="1253836"/>
                  <a:pt x="10902950" y="1278601"/>
                </a:cubicBezTo>
                <a:cubicBezTo>
                  <a:pt x="10941050" y="1304636"/>
                  <a:pt x="10981055" y="1243676"/>
                  <a:pt x="10941685" y="1218911"/>
                </a:cubicBezTo>
                <a:close/>
                <a:moveTo>
                  <a:pt x="10923270" y="1583401"/>
                </a:moveTo>
                <a:cubicBezTo>
                  <a:pt x="10892155" y="1558636"/>
                  <a:pt x="10854055" y="1608801"/>
                  <a:pt x="10885805" y="1632296"/>
                </a:cubicBezTo>
                <a:cubicBezTo>
                  <a:pt x="10916920" y="1657061"/>
                  <a:pt x="10955020" y="1607531"/>
                  <a:pt x="10923270" y="1583401"/>
                </a:cubicBezTo>
                <a:close/>
                <a:moveTo>
                  <a:pt x="10924540" y="1413221"/>
                </a:moveTo>
                <a:cubicBezTo>
                  <a:pt x="10889615" y="1387821"/>
                  <a:pt x="10850880" y="1443701"/>
                  <a:pt x="10886440" y="1467831"/>
                </a:cubicBezTo>
                <a:cubicBezTo>
                  <a:pt x="10921365" y="1493231"/>
                  <a:pt x="10960100" y="1437351"/>
                  <a:pt x="10924540" y="1413221"/>
                </a:cubicBezTo>
                <a:close/>
                <a:moveTo>
                  <a:pt x="10918825" y="1757391"/>
                </a:moveTo>
                <a:cubicBezTo>
                  <a:pt x="10878185" y="1726276"/>
                  <a:pt x="10850245" y="1805016"/>
                  <a:pt x="10900410" y="1807556"/>
                </a:cubicBezTo>
                <a:cubicBezTo>
                  <a:pt x="10926445" y="1808191"/>
                  <a:pt x="10939780" y="1773266"/>
                  <a:pt x="10918825" y="1757391"/>
                </a:cubicBezTo>
                <a:close/>
                <a:moveTo>
                  <a:pt x="11349355" y="1128106"/>
                </a:moveTo>
                <a:cubicBezTo>
                  <a:pt x="11374120" y="1159221"/>
                  <a:pt x="11422380" y="1119216"/>
                  <a:pt x="11396980" y="1088736"/>
                </a:cubicBezTo>
                <a:cubicBezTo>
                  <a:pt x="11371580" y="1058256"/>
                  <a:pt x="11323320" y="1097626"/>
                  <a:pt x="11349355" y="1128106"/>
                </a:cubicBezTo>
                <a:close/>
                <a:moveTo>
                  <a:pt x="11332210" y="1352896"/>
                </a:moveTo>
                <a:cubicBezTo>
                  <a:pt x="11354435" y="1382106"/>
                  <a:pt x="11399520" y="1347181"/>
                  <a:pt x="11377295" y="1318606"/>
                </a:cubicBezTo>
                <a:cubicBezTo>
                  <a:pt x="11355070" y="1289396"/>
                  <a:pt x="11309350" y="1324321"/>
                  <a:pt x="11332210" y="1352896"/>
                </a:cubicBezTo>
                <a:close/>
                <a:moveTo>
                  <a:pt x="11273155" y="943956"/>
                </a:moveTo>
                <a:cubicBezTo>
                  <a:pt x="11242040" y="973801"/>
                  <a:pt x="11289665" y="1022061"/>
                  <a:pt x="11319510" y="990946"/>
                </a:cubicBezTo>
                <a:cubicBezTo>
                  <a:pt x="11350625" y="961736"/>
                  <a:pt x="11303000" y="913476"/>
                  <a:pt x="11273155" y="943956"/>
                </a:cubicBezTo>
                <a:close/>
                <a:moveTo>
                  <a:pt x="11363960" y="858866"/>
                </a:moveTo>
                <a:cubicBezTo>
                  <a:pt x="11341100" y="877916"/>
                  <a:pt x="11356975" y="917921"/>
                  <a:pt x="11386185" y="916651"/>
                </a:cubicBezTo>
                <a:cubicBezTo>
                  <a:pt x="11446510" y="912841"/>
                  <a:pt x="11412220" y="821401"/>
                  <a:pt x="11363960" y="858866"/>
                </a:cubicBezTo>
                <a:close/>
                <a:moveTo>
                  <a:pt x="10626725" y="1885026"/>
                </a:moveTo>
                <a:cubicBezTo>
                  <a:pt x="10687050" y="1912966"/>
                  <a:pt x="10694035" y="1805651"/>
                  <a:pt x="10630535" y="1825971"/>
                </a:cubicBezTo>
                <a:cubicBezTo>
                  <a:pt x="10640695" y="1786601"/>
                  <a:pt x="10581640" y="1765011"/>
                  <a:pt x="10563860" y="1801841"/>
                </a:cubicBezTo>
                <a:cubicBezTo>
                  <a:pt x="10547985" y="1830416"/>
                  <a:pt x="10581005" y="1865341"/>
                  <a:pt x="10610215" y="1850736"/>
                </a:cubicBezTo>
                <a:cubicBezTo>
                  <a:pt x="10608310" y="1864071"/>
                  <a:pt x="10614025" y="1878041"/>
                  <a:pt x="10626725" y="1885026"/>
                </a:cubicBezTo>
                <a:close/>
                <a:moveTo>
                  <a:pt x="11551285" y="750916"/>
                </a:moveTo>
                <a:cubicBezTo>
                  <a:pt x="11574780" y="787111"/>
                  <a:pt x="11630660" y="749011"/>
                  <a:pt x="11606530" y="714086"/>
                </a:cubicBezTo>
                <a:cubicBezTo>
                  <a:pt x="11583035" y="677891"/>
                  <a:pt x="11527155" y="715991"/>
                  <a:pt x="11551285" y="750916"/>
                </a:cubicBezTo>
                <a:close/>
                <a:moveTo>
                  <a:pt x="11309350" y="1163031"/>
                </a:moveTo>
                <a:cubicBezTo>
                  <a:pt x="11283315" y="1133186"/>
                  <a:pt x="11236960" y="1175096"/>
                  <a:pt x="11264265" y="1204306"/>
                </a:cubicBezTo>
                <a:cubicBezTo>
                  <a:pt x="11290300" y="1234151"/>
                  <a:pt x="11336655" y="1192241"/>
                  <a:pt x="11309350" y="1163031"/>
                </a:cubicBezTo>
                <a:close/>
                <a:moveTo>
                  <a:pt x="11145520" y="1322416"/>
                </a:moveTo>
                <a:cubicBezTo>
                  <a:pt x="11116945" y="1295111"/>
                  <a:pt x="11074400" y="1340831"/>
                  <a:pt x="11103610" y="1367501"/>
                </a:cubicBezTo>
                <a:cubicBezTo>
                  <a:pt x="11132820" y="1394806"/>
                  <a:pt x="11175365" y="1349086"/>
                  <a:pt x="11145520" y="1322416"/>
                </a:cubicBezTo>
                <a:close/>
                <a:moveTo>
                  <a:pt x="11599545" y="298796"/>
                </a:moveTo>
                <a:cubicBezTo>
                  <a:pt x="11666855" y="294986"/>
                  <a:pt x="11632565" y="192751"/>
                  <a:pt x="11576050" y="230216"/>
                </a:cubicBezTo>
                <a:cubicBezTo>
                  <a:pt x="11547475" y="251171"/>
                  <a:pt x="11564620" y="300066"/>
                  <a:pt x="11599545" y="298796"/>
                </a:cubicBezTo>
                <a:close/>
                <a:moveTo>
                  <a:pt x="11173460" y="1451321"/>
                </a:moveTo>
                <a:cubicBezTo>
                  <a:pt x="11146155" y="1475451"/>
                  <a:pt x="11184890" y="1517996"/>
                  <a:pt x="11211560" y="1492596"/>
                </a:cubicBezTo>
                <a:cubicBezTo>
                  <a:pt x="11238865" y="1468466"/>
                  <a:pt x="11200130" y="1425921"/>
                  <a:pt x="11173460" y="1451321"/>
                </a:cubicBezTo>
                <a:close/>
                <a:moveTo>
                  <a:pt x="11174095" y="900776"/>
                </a:moveTo>
                <a:cubicBezTo>
                  <a:pt x="11138535" y="871566"/>
                  <a:pt x="11092815" y="928081"/>
                  <a:pt x="11129645" y="956656"/>
                </a:cubicBezTo>
                <a:cubicBezTo>
                  <a:pt x="11165205" y="985866"/>
                  <a:pt x="11210925" y="928716"/>
                  <a:pt x="11174095" y="900776"/>
                </a:cubicBezTo>
                <a:close/>
                <a:moveTo>
                  <a:pt x="11108055" y="1173191"/>
                </a:moveTo>
                <a:cubicBezTo>
                  <a:pt x="11140440" y="1201766"/>
                  <a:pt x="11184255" y="1150331"/>
                  <a:pt x="11151235" y="1122391"/>
                </a:cubicBezTo>
                <a:cubicBezTo>
                  <a:pt x="11118850" y="1094451"/>
                  <a:pt x="11075035" y="1145886"/>
                  <a:pt x="11108055" y="1173191"/>
                </a:cubicBezTo>
                <a:close/>
                <a:moveTo>
                  <a:pt x="11186795" y="1033491"/>
                </a:moveTo>
                <a:cubicBezTo>
                  <a:pt x="11156950" y="1064606"/>
                  <a:pt x="11207115" y="1110326"/>
                  <a:pt x="11235690" y="1078576"/>
                </a:cubicBezTo>
                <a:cubicBezTo>
                  <a:pt x="11264900" y="1047461"/>
                  <a:pt x="11215370" y="1001741"/>
                  <a:pt x="11186795" y="1033491"/>
                </a:cubicBezTo>
                <a:close/>
                <a:moveTo>
                  <a:pt x="11209020" y="804256"/>
                </a:moveTo>
                <a:cubicBezTo>
                  <a:pt x="11177905" y="838546"/>
                  <a:pt x="11233150" y="886171"/>
                  <a:pt x="11262995" y="851246"/>
                </a:cubicBezTo>
                <a:cubicBezTo>
                  <a:pt x="11293475" y="816321"/>
                  <a:pt x="11238865" y="768696"/>
                  <a:pt x="11209020" y="804256"/>
                </a:cubicBezTo>
                <a:close/>
                <a:moveTo>
                  <a:pt x="11250295" y="1420206"/>
                </a:moveTo>
                <a:cubicBezTo>
                  <a:pt x="11273790" y="1448781"/>
                  <a:pt x="11317605" y="1411316"/>
                  <a:pt x="11293475" y="1384011"/>
                </a:cubicBezTo>
                <a:cubicBezTo>
                  <a:pt x="11270615" y="1356071"/>
                  <a:pt x="11226165" y="1392901"/>
                  <a:pt x="11250295" y="1420206"/>
                </a:cubicBezTo>
                <a:close/>
                <a:moveTo>
                  <a:pt x="11225530" y="1241136"/>
                </a:moveTo>
                <a:cubicBezTo>
                  <a:pt x="11197590" y="1212561"/>
                  <a:pt x="11153775" y="1257011"/>
                  <a:pt x="11182350" y="1284316"/>
                </a:cubicBezTo>
                <a:cubicBezTo>
                  <a:pt x="11210290" y="1312891"/>
                  <a:pt x="11254105" y="1268441"/>
                  <a:pt x="11225530" y="1241136"/>
                </a:cubicBezTo>
                <a:close/>
                <a:moveTo>
                  <a:pt x="10812145" y="1843751"/>
                </a:moveTo>
                <a:cubicBezTo>
                  <a:pt x="10789285" y="1872326"/>
                  <a:pt x="10833735" y="1907886"/>
                  <a:pt x="10856595" y="1878676"/>
                </a:cubicBezTo>
                <a:cubicBezTo>
                  <a:pt x="10879455" y="1850101"/>
                  <a:pt x="10834370" y="1814541"/>
                  <a:pt x="10812145" y="1843751"/>
                </a:cubicBezTo>
                <a:close/>
                <a:moveTo>
                  <a:pt x="8510270" y="4990176"/>
                </a:moveTo>
                <a:cubicBezTo>
                  <a:pt x="8482330" y="5001606"/>
                  <a:pt x="8502015" y="5045421"/>
                  <a:pt x="8529320" y="5032721"/>
                </a:cubicBezTo>
                <a:cubicBezTo>
                  <a:pt x="8557260" y="5021291"/>
                  <a:pt x="8537575" y="4978111"/>
                  <a:pt x="8510270" y="4990176"/>
                </a:cubicBezTo>
                <a:close/>
                <a:moveTo>
                  <a:pt x="8525510" y="5228936"/>
                </a:moveTo>
                <a:cubicBezTo>
                  <a:pt x="8494395" y="5248621"/>
                  <a:pt x="8525510" y="5296881"/>
                  <a:pt x="8555990" y="5276561"/>
                </a:cubicBezTo>
                <a:cubicBezTo>
                  <a:pt x="8587105" y="5256876"/>
                  <a:pt x="8555990" y="5208616"/>
                  <a:pt x="8525510" y="5228936"/>
                </a:cubicBezTo>
                <a:close/>
                <a:moveTo>
                  <a:pt x="8515350" y="4775546"/>
                </a:moveTo>
                <a:cubicBezTo>
                  <a:pt x="8543290" y="4775546"/>
                  <a:pt x="8536305" y="4731096"/>
                  <a:pt x="8509635" y="4739986"/>
                </a:cubicBezTo>
                <a:cubicBezTo>
                  <a:pt x="8489950" y="4745701"/>
                  <a:pt x="8495665" y="4776181"/>
                  <a:pt x="8515350" y="4775546"/>
                </a:cubicBezTo>
                <a:close/>
                <a:moveTo>
                  <a:pt x="8517890" y="4652991"/>
                </a:moveTo>
                <a:cubicBezTo>
                  <a:pt x="8541385" y="4652991"/>
                  <a:pt x="8536305" y="4614891"/>
                  <a:pt x="8513445" y="4621876"/>
                </a:cubicBezTo>
                <a:cubicBezTo>
                  <a:pt x="8495665" y="4626956"/>
                  <a:pt x="8500110" y="4653626"/>
                  <a:pt x="8517890" y="4652991"/>
                </a:cubicBezTo>
                <a:close/>
                <a:moveTo>
                  <a:pt x="8578215" y="4633941"/>
                </a:moveTo>
                <a:cubicBezTo>
                  <a:pt x="8602345" y="4633941"/>
                  <a:pt x="8595995" y="4595206"/>
                  <a:pt x="8573135" y="4602826"/>
                </a:cubicBezTo>
                <a:cubicBezTo>
                  <a:pt x="8555990" y="4607906"/>
                  <a:pt x="8561070" y="4634576"/>
                  <a:pt x="8578215" y="4633941"/>
                </a:cubicBezTo>
                <a:close/>
                <a:moveTo>
                  <a:pt x="8576945" y="4716491"/>
                </a:moveTo>
                <a:cubicBezTo>
                  <a:pt x="8554085" y="4724111"/>
                  <a:pt x="8567420" y="4759671"/>
                  <a:pt x="8589645" y="4750781"/>
                </a:cubicBezTo>
                <a:cubicBezTo>
                  <a:pt x="8612505" y="4743161"/>
                  <a:pt x="8599170" y="4707601"/>
                  <a:pt x="8576945" y="4716491"/>
                </a:cubicBezTo>
                <a:close/>
                <a:moveTo>
                  <a:pt x="8589645" y="4953346"/>
                </a:moveTo>
                <a:cubicBezTo>
                  <a:pt x="8562340" y="4966681"/>
                  <a:pt x="8583930" y="5008591"/>
                  <a:pt x="8610600" y="4994621"/>
                </a:cubicBezTo>
                <a:cubicBezTo>
                  <a:pt x="8637905" y="4981286"/>
                  <a:pt x="8616315" y="4938741"/>
                  <a:pt x="8589645" y="4953346"/>
                </a:cubicBezTo>
                <a:close/>
                <a:moveTo>
                  <a:pt x="8580755" y="4835871"/>
                </a:moveTo>
                <a:cubicBezTo>
                  <a:pt x="8555355" y="4846031"/>
                  <a:pt x="8572500" y="4885401"/>
                  <a:pt x="8597265" y="4873971"/>
                </a:cubicBezTo>
                <a:cubicBezTo>
                  <a:pt x="8622030" y="4863811"/>
                  <a:pt x="8605520" y="4825076"/>
                  <a:pt x="8580755" y="4835871"/>
                </a:cubicBezTo>
                <a:close/>
                <a:moveTo>
                  <a:pt x="8514080" y="4905086"/>
                </a:moveTo>
                <a:cubicBezTo>
                  <a:pt x="8545830" y="4904451"/>
                  <a:pt x="8536940" y="4854286"/>
                  <a:pt x="8507095" y="4864446"/>
                </a:cubicBezTo>
                <a:cubicBezTo>
                  <a:pt x="8485505" y="4872066"/>
                  <a:pt x="8491855" y="4906356"/>
                  <a:pt x="8514080" y="4905086"/>
                </a:cubicBezTo>
                <a:close/>
                <a:moveTo>
                  <a:pt x="8456930" y="4670771"/>
                </a:moveTo>
                <a:cubicBezTo>
                  <a:pt x="8480425" y="4670771"/>
                  <a:pt x="8475345" y="4633306"/>
                  <a:pt x="8452485" y="4639656"/>
                </a:cubicBezTo>
                <a:cubicBezTo>
                  <a:pt x="8434705" y="4644101"/>
                  <a:pt x="8438515" y="4671406"/>
                  <a:pt x="8456930" y="4670771"/>
                </a:cubicBezTo>
                <a:close/>
                <a:moveTo>
                  <a:pt x="8414385" y="5162261"/>
                </a:moveTo>
                <a:cubicBezTo>
                  <a:pt x="8383270" y="5174961"/>
                  <a:pt x="8404860" y="5223221"/>
                  <a:pt x="8434705" y="5209251"/>
                </a:cubicBezTo>
                <a:cubicBezTo>
                  <a:pt x="8465820" y="5196551"/>
                  <a:pt x="8444865" y="5148291"/>
                  <a:pt x="8414385" y="5162261"/>
                </a:cubicBezTo>
                <a:close/>
                <a:moveTo>
                  <a:pt x="8437880" y="4931121"/>
                </a:moveTo>
                <a:cubicBezTo>
                  <a:pt x="8468995" y="4931121"/>
                  <a:pt x="8461375" y="4880956"/>
                  <a:pt x="8431530" y="4890481"/>
                </a:cubicBezTo>
                <a:cubicBezTo>
                  <a:pt x="8409940" y="4896831"/>
                  <a:pt x="8415020" y="4931756"/>
                  <a:pt x="8437880" y="4931121"/>
                </a:cubicBezTo>
                <a:close/>
                <a:moveTo>
                  <a:pt x="8637905" y="4612351"/>
                </a:moveTo>
                <a:cubicBezTo>
                  <a:pt x="8662035" y="4612351"/>
                  <a:pt x="8655050" y="4573616"/>
                  <a:pt x="8632190" y="4581871"/>
                </a:cubicBezTo>
                <a:cubicBezTo>
                  <a:pt x="8616315" y="4587586"/>
                  <a:pt x="8620760" y="4612986"/>
                  <a:pt x="8637905" y="4612351"/>
                </a:cubicBezTo>
                <a:close/>
                <a:moveTo>
                  <a:pt x="8512810" y="5169881"/>
                </a:moveTo>
                <a:cubicBezTo>
                  <a:pt x="8554720" y="5169246"/>
                  <a:pt x="8538845" y="5102571"/>
                  <a:pt x="8500745" y="5120986"/>
                </a:cubicBezTo>
                <a:cubicBezTo>
                  <a:pt x="8477250" y="5132416"/>
                  <a:pt x="8486775" y="5170516"/>
                  <a:pt x="8512810" y="5169881"/>
                </a:cubicBezTo>
                <a:close/>
                <a:moveTo>
                  <a:pt x="8435975" y="5281641"/>
                </a:moveTo>
                <a:cubicBezTo>
                  <a:pt x="8403590" y="5298786"/>
                  <a:pt x="8431530" y="5348951"/>
                  <a:pt x="8463280" y="5331171"/>
                </a:cubicBezTo>
                <a:lnTo>
                  <a:pt x="8463280" y="5331171"/>
                </a:lnTo>
                <a:cubicBezTo>
                  <a:pt x="8495665" y="5314026"/>
                  <a:pt x="8468360" y="5263861"/>
                  <a:pt x="8435975" y="5281641"/>
                </a:cubicBezTo>
                <a:close/>
                <a:moveTo>
                  <a:pt x="8444230" y="5402926"/>
                </a:moveTo>
                <a:cubicBezTo>
                  <a:pt x="8410575" y="5424516"/>
                  <a:pt x="8445500" y="5476586"/>
                  <a:pt x="8477885" y="5454361"/>
                </a:cubicBezTo>
                <a:cubicBezTo>
                  <a:pt x="8511540" y="5432771"/>
                  <a:pt x="8477250" y="5380701"/>
                  <a:pt x="8444230" y="5402926"/>
                </a:cubicBezTo>
                <a:close/>
                <a:moveTo>
                  <a:pt x="8446770" y="4796501"/>
                </a:moveTo>
                <a:cubicBezTo>
                  <a:pt x="8474075" y="4796501"/>
                  <a:pt x="8467725" y="4753321"/>
                  <a:pt x="8441690" y="4760306"/>
                </a:cubicBezTo>
                <a:cubicBezTo>
                  <a:pt x="8421370" y="4766021"/>
                  <a:pt x="8425815" y="4797136"/>
                  <a:pt x="8446770" y="4796501"/>
                </a:cubicBezTo>
                <a:close/>
                <a:moveTo>
                  <a:pt x="8870950" y="4511386"/>
                </a:moveTo>
                <a:cubicBezTo>
                  <a:pt x="8896350" y="4510751"/>
                  <a:pt x="8886825" y="4470111"/>
                  <a:pt x="8863965" y="4481541"/>
                </a:cubicBezTo>
                <a:cubicBezTo>
                  <a:pt x="8848725" y="4487891"/>
                  <a:pt x="8854440" y="4512021"/>
                  <a:pt x="8870950" y="4511386"/>
                </a:cubicBezTo>
                <a:close/>
                <a:moveTo>
                  <a:pt x="8968740" y="4559646"/>
                </a:moveTo>
                <a:cubicBezTo>
                  <a:pt x="8999855" y="4559011"/>
                  <a:pt x="8985885" y="4510116"/>
                  <a:pt x="8958580" y="4525991"/>
                </a:cubicBezTo>
                <a:cubicBezTo>
                  <a:pt x="8943340" y="4535516"/>
                  <a:pt x="8951595" y="4560916"/>
                  <a:pt x="8968740" y="4559646"/>
                </a:cubicBezTo>
                <a:close/>
                <a:moveTo>
                  <a:pt x="8907780" y="4597111"/>
                </a:moveTo>
                <a:cubicBezTo>
                  <a:pt x="8938260" y="4596476"/>
                  <a:pt x="8925560" y="4548216"/>
                  <a:pt x="8898255" y="4562821"/>
                </a:cubicBezTo>
                <a:cubicBezTo>
                  <a:pt x="8882380" y="4571711"/>
                  <a:pt x="8890000" y="4598381"/>
                  <a:pt x="8907780" y="4597111"/>
                </a:cubicBezTo>
                <a:close/>
                <a:moveTo>
                  <a:pt x="8643620" y="4690456"/>
                </a:moveTo>
                <a:cubicBezTo>
                  <a:pt x="8621395" y="4699346"/>
                  <a:pt x="8636000" y="4733636"/>
                  <a:pt x="8657590" y="4724111"/>
                </a:cubicBezTo>
                <a:cubicBezTo>
                  <a:pt x="8679815" y="4715856"/>
                  <a:pt x="8665210" y="4680931"/>
                  <a:pt x="8643620" y="4690456"/>
                </a:cubicBezTo>
                <a:close/>
                <a:moveTo>
                  <a:pt x="8926830" y="4482176"/>
                </a:moveTo>
                <a:cubicBezTo>
                  <a:pt x="8952865" y="4481541"/>
                  <a:pt x="8942705" y="4440266"/>
                  <a:pt x="8919210" y="4452331"/>
                </a:cubicBezTo>
                <a:cubicBezTo>
                  <a:pt x="8905240" y="4459316"/>
                  <a:pt x="8910955" y="4482811"/>
                  <a:pt x="8926830" y="4482176"/>
                </a:cubicBezTo>
                <a:close/>
                <a:moveTo>
                  <a:pt x="8950325" y="4675216"/>
                </a:moveTo>
                <a:cubicBezTo>
                  <a:pt x="8972550" y="4659976"/>
                  <a:pt x="8948420" y="4625051"/>
                  <a:pt x="8926195" y="4640926"/>
                </a:cubicBezTo>
                <a:cubicBezTo>
                  <a:pt x="8903970" y="4656801"/>
                  <a:pt x="8928735" y="4691091"/>
                  <a:pt x="8950325" y="4675216"/>
                </a:cubicBezTo>
                <a:close/>
                <a:moveTo>
                  <a:pt x="8967470" y="4749511"/>
                </a:moveTo>
                <a:cubicBezTo>
                  <a:pt x="9009380" y="4747606"/>
                  <a:pt x="8985885" y="4682836"/>
                  <a:pt x="8952230" y="4708236"/>
                </a:cubicBezTo>
                <a:cubicBezTo>
                  <a:pt x="8935720" y="4721571"/>
                  <a:pt x="8946515" y="4750146"/>
                  <a:pt x="8967470" y="4749511"/>
                </a:cubicBezTo>
                <a:close/>
                <a:moveTo>
                  <a:pt x="8982710" y="4451061"/>
                </a:moveTo>
                <a:cubicBezTo>
                  <a:pt x="9008745" y="4450426"/>
                  <a:pt x="8997950" y="4409151"/>
                  <a:pt x="8975090" y="4421216"/>
                </a:cubicBezTo>
                <a:cubicBezTo>
                  <a:pt x="8960485" y="4428836"/>
                  <a:pt x="8966835" y="4451696"/>
                  <a:pt x="8982710" y="4451061"/>
                </a:cubicBezTo>
                <a:close/>
                <a:moveTo>
                  <a:pt x="8860790" y="4686011"/>
                </a:moveTo>
                <a:cubicBezTo>
                  <a:pt x="8837930" y="4700616"/>
                  <a:pt x="8861425" y="4736176"/>
                  <a:pt x="8883650" y="4720936"/>
                </a:cubicBezTo>
                <a:cubicBezTo>
                  <a:pt x="8905875" y="4706331"/>
                  <a:pt x="8883015" y="4670771"/>
                  <a:pt x="8860790" y="4686011"/>
                </a:cubicBezTo>
                <a:close/>
                <a:moveTo>
                  <a:pt x="8700135" y="4686646"/>
                </a:moveTo>
                <a:cubicBezTo>
                  <a:pt x="8709660" y="4708236"/>
                  <a:pt x="8743950" y="4692996"/>
                  <a:pt x="8733790" y="4671406"/>
                </a:cubicBezTo>
                <a:cubicBezTo>
                  <a:pt x="8723630" y="4649181"/>
                  <a:pt x="8689975" y="4665056"/>
                  <a:pt x="8700135" y="4686646"/>
                </a:cubicBezTo>
                <a:close/>
                <a:moveTo>
                  <a:pt x="8696960" y="4589491"/>
                </a:moveTo>
                <a:cubicBezTo>
                  <a:pt x="8721725" y="4589491"/>
                  <a:pt x="8714105" y="4550121"/>
                  <a:pt x="8691245" y="4559011"/>
                </a:cubicBezTo>
                <a:cubicBezTo>
                  <a:pt x="8675370" y="4564726"/>
                  <a:pt x="8680450" y="4590126"/>
                  <a:pt x="8696960" y="4589491"/>
                </a:cubicBezTo>
                <a:close/>
                <a:moveTo>
                  <a:pt x="8829040" y="4623146"/>
                </a:moveTo>
                <a:cubicBezTo>
                  <a:pt x="8840470" y="4644101"/>
                  <a:pt x="8872855" y="4626321"/>
                  <a:pt x="8861425" y="4605366"/>
                </a:cubicBezTo>
                <a:cubicBezTo>
                  <a:pt x="8849995" y="4584411"/>
                  <a:pt x="8817610" y="4602826"/>
                  <a:pt x="8829040" y="4623146"/>
                </a:cubicBezTo>
                <a:close/>
                <a:moveTo>
                  <a:pt x="8653145" y="4802851"/>
                </a:moveTo>
                <a:cubicBezTo>
                  <a:pt x="8628380" y="4814281"/>
                  <a:pt x="8647430" y="4852381"/>
                  <a:pt x="8670925" y="4840316"/>
                </a:cubicBezTo>
                <a:cubicBezTo>
                  <a:pt x="8695690" y="4829521"/>
                  <a:pt x="8677275" y="4790786"/>
                  <a:pt x="8653145" y="4802851"/>
                </a:cubicBezTo>
                <a:close/>
                <a:moveTo>
                  <a:pt x="8756015" y="4565361"/>
                </a:moveTo>
                <a:cubicBezTo>
                  <a:pt x="8780780" y="4564726"/>
                  <a:pt x="8772525" y="4525356"/>
                  <a:pt x="8749665" y="4534881"/>
                </a:cubicBezTo>
                <a:cubicBezTo>
                  <a:pt x="8733790" y="4541231"/>
                  <a:pt x="8738870" y="4565996"/>
                  <a:pt x="8756015" y="4565361"/>
                </a:cubicBezTo>
                <a:close/>
                <a:moveTo>
                  <a:pt x="8813800" y="4538691"/>
                </a:moveTo>
                <a:cubicBezTo>
                  <a:pt x="8839200" y="4538056"/>
                  <a:pt x="8830310" y="4498051"/>
                  <a:pt x="8806815" y="4508211"/>
                </a:cubicBezTo>
                <a:cubicBezTo>
                  <a:pt x="8791575" y="4515196"/>
                  <a:pt x="8797290" y="4539326"/>
                  <a:pt x="8813800" y="4538691"/>
                </a:cubicBezTo>
                <a:close/>
                <a:moveTo>
                  <a:pt x="8764905" y="4656166"/>
                </a:moveTo>
                <a:cubicBezTo>
                  <a:pt x="8775065" y="4677756"/>
                  <a:pt x="8808720" y="4660611"/>
                  <a:pt x="8797925" y="4639656"/>
                </a:cubicBezTo>
                <a:cubicBezTo>
                  <a:pt x="8787765" y="4618066"/>
                  <a:pt x="8754110" y="4634576"/>
                  <a:pt x="8764905" y="4656166"/>
                </a:cubicBezTo>
                <a:close/>
                <a:moveTo>
                  <a:pt x="8270875" y="4713316"/>
                </a:moveTo>
                <a:cubicBezTo>
                  <a:pt x="8293100" y="4713316"/>
                  <a:pt x="8289925" y="4677756"/>
                  <a:pt x="8268335" y="4681566"/>
                </a:cubicBezTo>
                <a:cubicBezTo>
                  <a:pt x="8249285" y="4684741"/>
                  <a:pt x="8252460" y="4713316"/>
                  <a:pt x="8270875" y="4713316"/>
                </a:cubicBezTo>
                <a:close/>
                <a:moveTo>
                  <a:pt x="8149590" y="5397846"/>
                </a:moveTo>
                <a:cubicBezTo>
                  <a:pt x="8114031" y="5406736"/>
                  <a:pt x="8128635" y="5462616"/>
                  <a:pt x="8163560" y="5452456"/>
                </a:cubicBezTo>
                <a:cubicBezTo>
                  <a:pt x="8199120" y="5443566"/>
                  <a:pt x="8185150" y="5388321"/>
                  <a:pt x="8149590" y="5397846"/>
                </a:cubicBezTo>
                <a:close/>
                <a:moveTo>
                  <a:pt x="8437245" y="5068281"/>
                </a:moveTo>
                <a:cubicBezTo>
                  <a:pt x="8472805" y="5067646"/>
                  <a:pt x="8462645" y="5011131"/>
                  <a:pt x="8428990" y="5023196"/>
                </a:cubicBezTo>
                <a:cubicBezTo>
                  <a:pt x="8405495" y="5031451"/>
                  <a:pt x="8412480" y="5068916"/>
                  <a:pt x="8437245" y="5068281"/>
                </a:cubicBezTo>
                <a:close/>
                <a:moveTo>
                  <a:pt x="8145781" y="4731731"/>
                </a:moveTo>
                <a:cubicBezTo>
                  <a:pt x="8167370" y="4731731"/>
                  <a:pt x="8165465" y="4697441"/>
                  <a:pt x="8143875" y="4699981"/>
                </a:cubicBezTo>
                <a:cubicBezTo>
                  <a:pt x="8124190" y="4701886"/>
                  <a:pt x="8126095" y="4732366"/>
                  <a:pt x="8145781" y="4731731"/>
                </a:cubicBezTo>
                <a:close/>
                <a:moveTo>
                  <a:pt x="8146415" y="4837141"/>
                </a:moveTo>
                <a:cubicBezTo>
                  <a:pt x="8148956" y="4860636"/>
                  <a:pt x="8185785" y="4856191"/>
                  <a:pt x="8182610" y="4832696"/>
                </a:cubicBezTo>
                <a:cubicBezTo>
                  <a:pt x="8180706" y="4809201"/>
                  <a:pt x="8143240" y="4813646"/>
                  <a:pt x="8146415" y="4837141"/>
                </a:cubicBezTo>
                <a:close/>
                <a:moveTo>
                  <a:pt x="8155306" y="5611841"/>
                </a:moveTo>
                <a:cubicBezTo>
                  <a:pt x="8201660" y="5611841"/>
                  <a:pt x="8189595" y="5537546"/>
                  <a:pt x="8145145" y="5552151"/>
                </a:cubicBezTo>
                <a:cubicBezTo>
                  <a:pt x="8112760" y="5561676"/>
                  <a:pt x="8121650" y="5612476"/>
                  <a:pt x="8155306" y="5611841"/>
                </a:cubicBezTo>
                <a:close/>
                <a:moveTo>
                  <a:pt x="8141970" y="5246081"/>
                </a:moveTo>
                <a:cubicBezTo>
                  <a:pt x="8108950" y="5251796"/>
                  <a:pt x="8119110" y="5303231"/>
                  <a:pt x="8151495" y="5296881"/>
                </a:cubicBezTo>
                <a:cubicBezTo>
                  <a:pt x="8184515" y="5291166"/>
                  <a:pt x="8174990" y="5239731"/>
                  <a:pt x="8141970" y="5246081"/>
                </a:cubicBezTo>
                <a:close/>
                <a:moveTo>
                  <a:pt x="8208645" y="4723476"/>
                </a:moveTo>
                <a:cubicBezTo>
                  <a:pt x="8230870" y="4723476"/>
                  <a:pt x="8228331" y="4688551"/>
                  <a:pt x="8206106" y="4691726"/>
                </a:cubicBezTo>
                <a:cubicBezTo>
                  <a:pt x="8187056" y="4694266"/>
                  <a:pt x="8189595" y="4723476"/>
                  <a:pt x="8208645" y="4723476"/>
                </a:cubicBezTo>
                <a:close/>
                <a:moveTo>
                  <a:pt x="8182610" y="4967951"/>
                </a:moveTo>
                <a:cubicBezTo>
                  <a:pt x="8186420" y="4994621"/>
                  <a:pt x="8228331" y="4988271"/>
                  <a:pt x="8223885" y="4961601"/>
                </a:cubicBezTo>
                <a:cubicBezTo>
                  <a:pt x="8220075" y="4934931"/>
                  <a:pt x="8178165" y="4941281"/>
                  <a:pt x="8182610" y="4967951"/>
                </a:cubicBezTo>
                <a:close/>
                <a:moveTo>
                  <a:pt x="8081010" y="5442296"/>
                </a:moveTo>
                <a:cubicBezTo>
                  <a:pt x="8075931" y="5406101"/>
                  <a:pt x="8018781" y="5414991"/>
                  <a:pt x="8025131" y="5451186"/>
                </a:cubicBezTo>
                <a:cubicBezTo>
                  <a:pt x="8030845" y="5487381"/>
                  <a:pt x="8087360" y="5478491"/>
                  <a:pt x="8081010" y="5442296"/>
                </a:cubicBezTo>
                <a:close/>
                <a:moveTo>
                  <a:pt x="8074660" y="4843491"/>
                </a:moveTo>
                <a:cubicBezTo>
                  <a:pt x="8076565" y="4867621"/>
                  <a:pt x="8113395" y="4864446"/>
                  <a:pt x="8111490" y="4840316"/>
                </a:cubicBezTo>
                <a:cubicBezTo>
                  <a:pt x="8109585" y="4816821"/>
                  <a:pt x="8072756" y="4819996"/>
                  <a:pt x="8074660" y="4843491"/>
                </a:cubicBezTo>
                <a:close/>
                <a:moveTo>
                  <a:pt x="8082281" y="4738081"/>
                </a:moveTo>
                <a:cubicBezTo>
                  <a:pt x="8103870" y="4738081"/>
                  <a:pt x="8102600" y="4704426"/>
                  <a:pt x="8081010" y="4706331"/>
                </a:cubicBezTo>
                <a:cubicBezTo>
                  <a:pt x="8061325" y="4707601"/>
                  <a:pt x="8062595" y="4738716"/>
                  <a:pt x="8082281" y="4738081"/>
                </a:cubicBezTo>
                <a:close/>
                <a:moveTo>
                  <a:pt x="8094981" y="5148291"/>
                </a:moveTo>
                <a:cubicBezTo>
                  <a:pt x="8124825" y="5145751"/>
                  <a:pt x="8120381" y="5098761"/>
                  <a:pt x="8090535" y="5101936"/>
                </a:cubicBezTo>
                <a:cubicBezTo>
                  <a:pt x="8060056" y="5104476"/>
                  <a:pt x="8064500" y="5151466"/>
                  <a:pt x="8094981" y="5148291"/>
                </a:cubicBezTo>
                <a:close/>
                <a:moveTo>
                  <a:pt x="10809605" y="1277331"/>
                </a:moveTo>
                <a:cubicBezTo>
                  <a:pt x="10852150" y="1302096"/>
                  <a:pt x="10890250" y="1234151"/>
                  <a:pt x="10846435" y="1210656"/>
                </a:cubicBezTo>
                <a:cubicBezTo>
                  <a:pt x="10804525" y="1186526"/>
                  <a:pt x="10766425" y="1254471"/>
                  <a:pt x="10809605" y="1277331"/>
                </a:cubicBezTo>
                <a:close/>
                <a:moveTo>
                  <a:pt x="8217535" y="4827616"/>
                </a:moveTo>
                <a:cubicBezTo>
                  <a:pt x="8221345" y="4851111"/>
                  <a:pt x="8258175" y="4845396"/>
                  <a:pt x="8253731" y="4821901"/>
                </a:cubicBezTo>
                <a:cubicBezTo>
                  <a:pt x="8250556" y="4798406"/>
                  <a:pt x="8213725" y="4804121"/>
                  <a:pt x="8217535" y="4827616"/>
                </a:cubicBezTo>
                <a:close/>
                <a:moveTo>
                  <a:pt x="8102600" y="4976841"/>
                </a:moveTo>
                <a:cubicBezTo>
                  <a:pt x="8105140" y="5004146"/>
                  <a:pt x="8147050" y="4999701"/>
                  <a:pt x="8143875" y="4972396"/>
                </a:cubicBezTo>
                <a:cubicBezTo>
                  <a:pt x="8141970" y="4945726"/>
                  <a:pt x="8100060" y="4950171"/>
                  <a:pt x="8102600" y="4976841"/>
                </a:cubicBezTo>
                <a:close/>
                <a:moveTo>
                  <a:pt x="8047990" y="5260051"/>
                </a:moveTo>
                <a:cubicBezTo>
                  <a:pt x="8016240" y="5262591"/>
                  <a:pt x="8018781" y="5312121"/>
                  <a:pt x="8050531" y="5311486"/>
                </a:cubicBezTo>
                <a:cubicBezTo>
                  <a:pt x="8085456" y="5311486"/>
                  <a:pt x="8082915" y="5255606"/>
                  <a:pt x="8047990" y="5260051"/>
                </a:cubicBezTo>
                <a:close/>
                <a:moveTo>
                  <a:pt x="8203565" y="5109556"/>
                </a:moveTo>
                <a:cubicBezTo>
                  <a:pt x="8199120" y="5079711"/>
                  <a:pt x="8152131" y="5087331"/>
                  <a:pt x="8157845" y="5117176"/>
                </a:cubicBezTo>
                <a:cubicBezTo>
                  <a:pt x="8162290" y="5147021"/>
                  <a:pt x="8208645" y="5139401"/>
                  <a:pt x="8203565" y="5109556"/>
                </a:cubicBezTo>
                <a:close/>
                <a:moveTo>
                  <a:pt x="8363585" y="5518496"/>
                </a:moveTo>
                <a:cubicBezTo>
                  <a:pt x="8414385" y="5517226"/>
                  <a:pt x="8393430" y="5437216"/>
                  <a:pt x="8348345" y="5460711"/>
                </a:cubicBezTo>
                <a:cubicBezTo>
                  <a:pt x="8321040" y="5475316"/>
                  <a:pt x="8333106" y="5519766"/>
                  <a:pt x="8363585" y="5518496"/>
                </a:cubicBezTo>
                <a:close/>
                <a:moveTo>
                  <a:pt x="8355331" y="5382606"/>
                </a:moveTo>
                <a:cubicBezTo>
                  <a:pt x="8400415" y="5381971"/>
                  <a:pt x="8384540" y="5310851"/>
                  <a:pt x="8343265" y="5328631"/>
                </a:cubicBezTo>
                <a:cubicBezTo>
                  <a:pt x="8316595" y="5340061"/>
                  <a:pt x="8326120" y="5383241"/>
                  <a:pt x="8355331" y="5382606"/>
                </a:cubicBezTo>
                <a:close/>
                <a:moveTo>
                  <a:pt x="8925560" y="4882226"/>
                </a:moveTo>
                <a:cubicBezTo>
                  <a:pt x="8950960" y="4860001"/>
                  <a:pt x="8915400" y="4821266"/>
                  <a:pt x="8891270" y="4844126"/>
                </a:cubicBezTo>
                <a:cubicBezTo>
                  <a:pt x="8865870" y="4866351"/>
                  <a:pt x="8901430" y="4905086"/>
                  <a:pt x="8925560" y="4882226"/>
                </a:cubicBezTo>
                <a:close/>
                <a:moveTo>
                  <a:pt x="8310245" y="5229571"/>
                </a:moveTo>
                <a:cubicBezTo>
                  <a:pt x="8321040" y="5261321"/>
                  <a:pt x="8370570" y="5243541"/>
                  <a:pt x="8358506" y="5212426"/>
                </a:cubicBezTo>
                <a:cubicBezTo>
                  <a:pt x="8348345" y="5181311"/>
                  <a:pt x="8298815" y="5198456"/>
                  <a:pt x="8310245" y="5229571"/>
                </a:cubicBezTo>
                <a:close/>
                <a:moveTo>
                  <a:pt x="8395335" y="4686646"/>
                </a:moveTo>
                <a:cubicBezTo>
                  <a:pt x="8418195" y="4686646"/>
                  <a:pt x="8413750" y="4649816"/>
                  <a:pt x="8391525" y="4655531"/>
                </a:cubicBezTo>
                <a:cubicBezTo>
                  <a:pt x="8373745" y="4659341"/>
                  <a:pt x="8376920" y="4687281"/>
                  <a:pt x="8395335" y="4686646"/>
                </a:cubicBezTo>
                <a:close/>
                <a:moveTo>
                  <a:pt x="8376920" y="4814916"/>
                </a:moveTo>
                <a:cubicBezTo>
                  <a:pt x="8403590" y="4814916"/>
                  <a:pt x="8398510" y="4772371"/>
                  <a:pt x="8372475" y="4778721"/>
                </a:cubicBezTo>
                <a:cubicBezTo>
                  <a:pt x="8352156" y="4783166"/>
                  <a:pt x="8355965" y="4815551"/>
                  <a:pt x="8376920" y="4814916"/>
                </a:cubicBezTo>
                <a:close/>
                <a:moveTo>
                  <a:pt x="8353425" y="5096221"/>
                </a:moveTo>
                <a:cubicBezTo>
                  <a:pt x="8388350" y="5096221"/>
                  <a:pt x="8380095" y="5040976"/>
                  <a:pt x="8346440" y="5050501"/>
                </a:cubicBezTo>
                <a:cubicBezTo>
                  <a:pt x="8321040" y="5058121"/>
                  <a:pt x="8327390" y="5097491"/>
                  <a:pt x="8353425" y="5096221"/>
                </a:cubicBezTo>
                <a:close/>
                <a:moveTo>
                  <a:pt x="8381365" y="4927311"/>
                </a:moveTo>
                <a:cubicBezTo>
                  <a:pt x="8375015" y="4901276"/>
                  <a:pt x="8333740" y="4911436"/>
                  <a:pt x="8341360" y="4937471"/>
                </a:cubicBezTo>
                <a:cubicBezTo>
                  <a:pt x="8347075" y="4964141"/>
                  <a:pt x="8388350" y="4953346"/>
                  <a:pt x="8381365" y="4927311"/>
                </a:cubicBezTo>
                <a:close/>
                <a:moveTo>
                  <a:pt x="8257540" y="5421976"/>
                </a:moveTo>
                <a:cubicBezTo>
                  <a:pt x="8300720" y="5421341"/>
                  <a:pt x="8288656" y="5352761"/>
                  <a:pt x="8248015" y="5367366"/>
                </a:cubicBezTo>
                <a:cubicBezTo>
                  <a:pt x="8218806" y="5376891"/>
                  <a:pt x="8227060" y="5423246"/>
                  <a:pt x="8257540" y="5421976"/>
                </a:cubicBezTo>
                <a:close/>
                <a:moveTo>
                  <a:pt x="8261350" y="5569931"/>
                </a:moveTo>
                <a:cubicBezTo>
                  <a:pt x="8310245" y="5569296"/>
                  <a:pt x="8293735" y="5491826"/>
                  <a:pt x="8248650" y="5511511"/>
                </a:cubicBezTo>
                <a:cubicBezTo>
                  <a:pt x="8218806" y="5523576"/>
                  <a:pt x="8229600" y="5571201"/>
                  <a:pt x="8261350" y="5569931"/>
                </a:cubicBezTo>
                <a:close/>
                <a:moveTo>
                  <a:pt x="8303260" y="4946361"/>
                </a:moveTo>
                <a:cubicBezTo>
                  <a:pt x="8298181" y="4919691"/>
                  <a:pt x="8256906" y="4928581"/>
                  <a:pt x="8262620" y="4954616"/>
                </a:cubicBezTo>
                <a:cubicBezTo>
                  <a:pt x="8267700" y="4981286"/>
                  <a:pt x="8308975" y="4972396"/>
                  <a:pt x="8303260" y="4946361"/>
                </a:cubicBezTo>
                <a:close/>
                <a:moveTo>
                  <a:pt x="8261985" y="5073361"/>
                </a:moveTo>
                <a:cubicBezTo>
                  <a:pt x="8235315" y="5078441"/>
                  <a:pt x="8240395" y="5120351"/>
                  <a:pt x="8267065" y="5119081"/>
                </a:cubicBezTo>
                <a:cubicBezTo>
                  <a:pt x="8301356" y="5119081"/>
                  <a:pt x="8295006" y="5065741"/>
                  <a:pt x="8261985" y="5073361"/>
                </a:cubicBezTo>
                <a:close/>
                <a:moveTo>
                  <a:pt x="8306435" y="4830156"/>
                </a:moveTo>
                <a:cubicBezTo>
                  <a:pt x="8332470" y="4830156"/>
                  <a:pt x="8328660" y="4788881"/>
                  <a:pt x="8302625" y="4793961"/>
                </a:cubicBezTo>
                <a:cubicBezTo>
                  <a:pt x="8281670" y="4797771"/>
                  <a:pt x="8285481" y="4830791"/>
                  <a:pt x="8306435" y="4830156"/>
                </a:cubicBezTo>
                <a:close/>
                <a:moveTo>
                  <a:pt x="8234681" y="5225126"/>
                </a:moveTo>
                <a:cubicBezTo>
                  <a:pt x="8202295" y="5233381"/>
                  <a:pt x="8216265" y="5284181"/>
                  <a:pt x="8248015" y="5274656"/>
                </a:cubicBezTo>
                <a:lnTo>
                  <a:pt x="8248015" y="5274656"/>
                </a:lnTo>
                <a:cubicBezTo>
                  <a:pt x="8280400" y="5266401"/>
                  <a:pt x="8267065" y="5216236"/>
                  <a:pt x="8234681" y="5225126"/>
                </a:cubicBezTo>
                <a:close/>
                <a:moveTo>
                  <a:pt x="8333106" y="4700616"/>
                </a:moveTo>
                <a:cubicBezTo>
                  <a:pt x="8355965" y="4700616"/>
                  <a:pt x="8352156" y="4664421"/>
                  <a:pt x="8329931" y="4668866"/>
                </a:cubicBezTo>
                <a:cubicBezTo>
                  <a:pt x="8311515" y="4672676"/>
                  <a:pt x="8314690" y="4701251"/>
                  <a:pt x="8333106" y="4700616"/>
                </a:cubicBezTo>
                <a:close/>
                <a:moveTo>
                  <a:pt x="8038465" y="5581996"/>
                </a:moveTo>
                <a:cubicBezTo>
                  <a:pt x="7999095" y="5590251"/>
                  <a:pt x="8013700" y="5651211"/>
                  <a:pt x="8051800" y="5641686"/>
                </a:cubicBezTo>
                <a:cubicBezTo>
                  <a:pt x="8091170" y="5633431"/>
                  <a:pt x="8077200" y="5572471"/>
                  <a:pt x="8038465" y="5581996"/>
                </a:cubicBezTo>
                <a:close/>
                <a:moveTo>
                  <a:pt x="10363200" y="2656551"/>
                </a:moveTo>
                <a:cubicBezTo>
                  <a:pt x="10355580" y="2651471"/>
                  <a:pt x="10346055" y="2651471"/>
                  <a:pt x="10338435" y="2655281"/>
                </a:cubicBezTo>
                <a:cubicBezTo>
                  <a:pt x="10337800" y="2627976"/>
                  <a:pt x="10298430" y="2618451"/>
                  <a:pt x="10285730" y="2643216"/>
                </a:cubicBezTo>
                <a:cubicBezTo>
                  <a:pt x="10271125" y="2666711"/>
                  <a:pt x="10300335" y="2695921"/>
                  <a:pt x="10323830" y="2681951"/>
                </a:cubicBezTo>
                <a:cubicBezTo>
                  <a:pt x="10333990" y="2730846"/>
                  <a:pt x="10403840" y="2687031"/>
                  <a:pt x="10363200" y="2656551"/>
                </a:cubicBezTo>
                <a:close/>
                <a:moveTo>
                  <a:pt x="10384790" y="2721321"/>
                </a:moveTo>
                <a:cubicBezTo>
                  <a:pt x="10408920" y="2739101"/>
                  <a:pt x="10436860" y="2701001"/>
                  <a:pt x="10412095" y="2683221"/>
                </a:cubicBezTo>
                <a:cubicBezTo>
                  <a:pt x="10387965" y="2665441"/>
                  <a:pt x="10360025" y="2704176"/>
                  <a:pt x="10384790" y="2721321"/>
                </a:cubicBezTo>
                <a:close/>
                <a:moveTo>
                  <a:pt x="10180320" y="2680681"/>
                </a:moveTo>
                <a:cubicBezTo>
                  <a:pt x="10184130" y="2681951"/>
                  <a:pt x="10187940" y="2682586"/>
                  <a:pt x="10191115" y="2683221"/>
                </a:cubicBezTo>
                <a:cubicBezTo>
                  <a:pt x="10200640" y="2690206"/>
                  <a:pt x="10213975" y="2691476"/>
                  <a:pt x="10224770" y="2687031"/>
                </a:cubicBezTo>
                <a:cubicBezTo>
                  <a:pt x="10241280" y="2756881"/>
                  <a:pt x="10328910" y="2680046"/>
                  <a:pt x="10261600" y="2654646"/>
                </a:cubicBezTo>
                <a:cubicBezTo>
                  <a:pt x="10327640" y="2625436"/>
                  <a:pt x="10240645" y="2547966"/>
                  <a:pt x="10219690" y="2617181"/>
                </a:cubicBezTo>
                <a:cubicBezTo>
                  <a:pt x="10175240" y="2577811"/>
                  <a:pt x="10125075" y="2659091"/>
                  <a:pt x="10180320" y="2680681"/>
                </a:cubicBezTo>
                <a:close/>
                <a:moveTo>
                  <a:pt x="9899015" y="3457286"/>
                </a:moveTo>
                <a:cubicBezTo>
                  <a:pt x="9900920" y="3460461"/>
                  <a:pt x="9904095" y="3463636"/>
                  <a:pt x="9907905" y="3465541"/>
                </a:cubicBezTo>
                <a:cubicBezTo>
                  <a:pt x="9916160" y="3494116"/>
                  <a:pt x="9961245" y="3480146"/>
                  <a:pt x="9952355" y="3451571"/>
                </a:cubicBezTo>
                <a:cubicBezTo>
                  <a:pt x="9958070" y="3456651"/>
                  <a:pt x="9965690" y="3457286"/>
                  <a:pt x="9972675" y="3454746"/>
                </a:cubicBezTo>
                <a:cubicBezTo>
                  <a:pt x="9978390" y="3466811"/>
                  <a:pt x="9996805" y="3467446"/>
                  <a:pt x="10003790" y="3456016"/>
                </a:cubicBezTo>
                <a:cubicBezTo>
                  <a:pt x="10013315" y="3442681"/>
                  <a:pt x="9999980" y="3423631"/>
                  <a:pt x="9984740" y="3428076"/>
                </a:cubicBezTo>
                <a:cubicBezTo>
                  <a:pt x="9977755" y="3407756"/>
                  <a:pt x="9946005" y="3412201"/>
                  <a:pt x="9944735" y="3433791"/>
                </a:cubicBezTo>
                <a:cubicBezTo>
                  <a:pt x="9944100" y="3432521"/>
                  <a:pt x="9943465" y="3431251"/>
                  <a:pt x="9942830" y="3429981"/>
                </a:cubicBezTo>
                <a:cubicBezTo>
                  <a:pt x="9954895" y="3418551"/>
                  <a:pt x="9952990" y="3397596"/>
                  <a:pt x="9940290" y="3388071"/>
                </a:cubicBezTo>
                <a:cubicBezTo>
                  <a:pt x="9951720" y="3332826"/>
                  <a:pt x="9860280" y="3331556"/>
                  <a:pt x="9870440" y="3387436"/>
                </a:cubicBezTo>
                <a:cubicBezTo>
                  <a:pt x="9817735" y="3402041"/>
                  <a:pt x="9850755" y="3483956"/>
                  <a:pt x="9899015" y="3457286"/>
                </a:cubicBezTo>
                <a:close/>
                <a:moveTo>
                  <a:pt x="10309860" y="2829271"/>
                </a:moveTo>
                <a:cubicBezTo>
                  <a:pt x="10285095" y="2812126"/>
                  <a:pt x="10258425" y="2851496"/>
                  <a:pt x="10283825" y="2868006"/>
                </a:cubicBezTo>
                <a:cubicBezTo>
                  <a:pt x="10308590" y="2885151"/>
                  <a:pt x="10335260" y="2845781"/>
                  <a:pt x="10309860" y="2829271"/>
                </a:cubicBezTo>
                <a:close/>
                <a:moveTo>
                  <a:pt x="9401175" y="4193886"/>
                </a:moveTo>
                <a:cubicBezTo>
                  <a:pt x="9417685" y="4211031"/>
                  <a:pt x="9444355" y="4184361"/>
                  <a:pt x="9427210" y="4167851"/>
                </a:cubicBezTo>
                <a:cubicBezTo>
                  <a:pt x="9410700" y="4150706"/>
                  <a:pt x="9384665" y="4177376"/>
                  <a:pt x="9401175" y="4193886"/>
                </a:cubicBezTo>
                <a:close/>
                <a:moveTo>
                  <a:pt x="10341610" y="2914361"/>
                </a:moveTo>
                <a:cubicBezTo>
                  <a:pt x="10358120" y="2892771"/>
                  <a:pt x="10324465" y="2867371"/>
                  <a:pt x="10308590" y="2888961"/>
                </a:cubicBezTo>
                <a:cubicBezTo>
                  <a:pt x="10292080" y="2910551"/>
                  <a:pt x="10325735" y="2936586"/>
                  <a:pt x="10341610" y="2914361"/>
                </a:cubicBezTo>
                <a:close/>
                <a:moveTo>
                  <a:pt x="10328275" y="2761961"/>
                </a:moveTo>
                <a:cubicBezTo>
                  <a:pt x="10328275" y="2761961"/>
                  <a:pt x="10328275" y="2761961"/>
                  <a:pt x="10328275" y="2761961"/>
                </a:cubicBezTo>
                <a:cubicBezTo>
                  <a:pt x="10320655" y="2772756"/>
                  <a:pt x="10323195" y="2786726"/>
                  <a:pt x="10333990" y="2794346"/>
                </a:cubicBezTo>
                <a:cubicBezTo>
                  <a:pt x="10390505" y="2818476"/>
                  <a:pt x="10372725" y="2719416"/>
                  <a:pt x="10328275" y="2761961"/>
                </a:cubicBezTo>
                <a:close/>
                <a:moveTo>
                  <a:pt x="9244965" y="4313266"/>
                </a:moveTo>
                <a:cubicBezTo>
                  <a:pt x="9226550" y="4328506"/>
                  <a:pt x="9251315" y="4357081"/>
                  <a:pt x="9269095" y="4341206"/>
                </a:cubicBezTo>
                <a:cubicBezTo>
                  <a:pt x="9286875" y="4325966"/>
                  <a:pt x="9262745" y="4297391"/>
                  <a:pt x="9244965" y="4313266"/>
                </a:cubicBezTo>
                <a:close/>
                <a:moveTo>
                  <a:pt x="10293350" y="2978496"/>
                </a:moveTo>
                <a:cubicBezTo>
                  <a:pt x="10309860" y="2956906"/>
                  <a:pt x="10275570" y="2931506"/>
                  <a:pt x="10259695" y="2953731"/>
                </a:cubicBezTo>
                <a:cubicBezTo>
                  <a:pt x="10243820" y="2975321"/>
                  <a:pt x="10278110" y="3000721"/>
                  <a:pt x="10293350" y="2978496"/>
                </a:cubicBezTo>
                <a:close/>
                <a:moveTo>
                  <a:pt x="9248775" y="4277706"/>
                </a:moveTo>
                <a:cubicBezTo>
                  <a:pt x="9276715" y="4276436"/>
                  <a:pt x="9262110" y="4233256"/>
                  <a:pt x="9239250" y="4249131"/>
                </a:cubicBezTo>
                <a:cubicBezTo>
                  <a:pt x="9226550" y="4258021"/>
                  <a:pt x="9233535" y="4278341"/>
                  <a:pt x="9248775" y="4277706"/>
                </a:cubicBezTo>
                <a:close/>
                <a:moveTo>
                  <a:pt x="9298940" y="4239606"/>
                </a:moveTo>
                <a:cubicBezTo>
                  <a:pt x="9326880" y="4238336"/>
                  <a:pt x="9312275" y="4195156"/>
                  <a:pt x="9289415" y="4211031"/>
                </a:cubicBezTo>
                <a:cubicBezTo>
                  <a:pt x="9277350" y="4219921"/>
                  <a:pt x="9284970" y="4240241"/>
                  <a:pt x="9298940" y="4239606"/>
                </a:cubicBezTo>
                <a:close/>
                <a:moveTo>
                  <a:pt x="9349105" y="4200236"/>
                </a:moveTo>
                <a:cubicBezTo>
                  <a:pt x="9377680" y="4198966"/>
                  <a:pt x="9361805" y="4155151"/>
                  <a:pt x="9338945" y="4172296"/>
                </a:cubicBezTo>
                <a:cubicBezTo>
                  <a:pt x="9327515" y="4180551"/>
                  <a:pt x="9334500" y="4200871"/>
                  <a:pt x="9349105" y="4200236"/>
                </a:cubicBezTo>
                <a:close/>
                <a:moveTo>
                  <a:pt x="9298305" y="4266276"/>
                </a:moveTo>
                <a:cubicBezTo>
                  <a:pt x="9280525" y="4282151"/>
                  <a:pt x="9305290" y="4309456"/>
                  <a:pt x="9323070" y="4293581"/>
                </a:cubicBezTo>
                <a:cubicBezTo>
                  <a:pt x="9340850" y="4277706"/>
                  <a:pt x="9315450" y="4249766"/>
                  <a:pt x="9298305" y="4266276"/>
                </a:cubicBezTo>
                <a:close/>
                <a:moveTo>
                  <a:pt x="9350375" y="4217381"/>
                </a:moveTo>
                <a:cubicBezTo>
                  <a:pt x="9332595" y="4233256"/>
                  <a:pt x="9358630" y="4260561"/>
                  <a:pt x="9375775" y="4244051"/>
                </a:cubicBezTo>
                <a:cubicBezTo>
                  <a:pt x="9392920" y="4228176"/>
                  <a:pt x="9367520" y="4200871"/>
                  <a:pt x="9350375" y="4217381"/>
                </a:cubicBezTo>
                <a:close/>
                <a:moveTo>
                  <a:pt x="9398000" y="4159596"/>
                </a:moveTo>
                <a:cubicBezTo>
                  <a:pt x="9426575" y="4158326"/>
                  <a:pt x="9410700" y="4113876"/>
                  <a:pt x="9387840" y="4131656"/>
                </a:cubicBezTo>
                <a:cubicBezTo>
                  <a:pt x="9376410" y="4140546"/>
                  <a:pt x="9384030" y="4160231"/>
                  <a:pt x="9398000" y="4159596"/>
                </a:cubicBezTo>
                <a:close/>
                <a:moveTo>
                  <a:pt x="10219055" y="3010246"/>
                </a:moveTo>
                <a:lnTo>
                  <a:pt x="10219055" y="3010246"/>
                </a:lnTo>
                <a:cubicBezTo>
                  <a:pt x="10235565" y="2984846"/>
                  <a:pt x="10195560" y="2959446"/>
                  <a:pt x="10179685" y="2985481"/>
                </a:cubicBezTo>
                <a:cubicBezTo>
                  <a:pt x="10163810" y="3010246"/>
                  <a:pt x="10203180" y="3036281"/>
                  <a:pt x="10219055" y="3010246"/>
                </a:cubicBezTo>
                <a:close/>
                <a:moveTo>
                  <a:pt x="10500360" y="1904711"/>
                </a:moveTo>
                <a:cubicBezTo>
                  <a:pt x="10504805" y="1906616"/>
                  <a:pt x="10509250" y="1907886"/>
                  <a:pt x="10513695" y="1907886"/>
                </a:cubicBezTo>
                <a:cubicBezTo>
                  <a:pt x="10481945" y="1932016"/>
                  <a:pt x="10513060" y="1984721"/>
                  <a:pt x="10549890" y="1968211"/>
                </a:cubicBezTo>
                <a:cubicBezTo>
                  <a:pt x="10553065" y="1998691"/>
                  <a:pt x="10597515" y="2006946"/>
                  <a:pt x="10611485" y="1979641"/>
                </a:cubicBezTo>
                <a:cubicBezTo>
                  <a:pt x="10626725" y="1954241"/>
                  <a:pt x="10598785" y="1921856"/>
                  <a:pt x="10572115" y="1932016"/>
                </a:cubicBezTo>
                <a:cubicBezTo>
                  <a:pt x="10570845" y="1915506"/>
                  <a:pt x="10556240" y="1900901"/>
                  <a:pt x="10539730" y="1899631"/>
                </a:cubicBezTo>
                <a:cubicBezTo>
                  <a:pt x="10561955" y="1883121"/>
                  <a:pt x="10558145" y="1845656"/>
                  <a:pt x="10532110" y="1834861"/>
                </a:cubicBezTo>
                <a:cubicBezTo>
                  <a:pt x="10487025" y="1813906"/>
                  <a:pt x="10455275" y="1885026"/>
                  <a:pt x="10500360" y="1904711"/>
                </a:cubicBezTo>
                <a:close/>
                <a:moveTo>
                  <a:pt x="10332720" y="2289521"/>
                </a:moveTo>
                <a:cubicBezTo>
                  <a:pt x="10328910" y="2320636"/>
                  <a:pt x="10370820" y="2340956"/>
                  <a:pt x="10393045" y="2317461"/>
                </a:cubicBezTo>
                <a:cubicBezTo>
                  <a:pt x="10411460" y="2330796"/>
                  <a:pt x="10440035" y="2318731"/>
                  <a:pt x="10443210" y="2296506"/>
                </a:cubicBezTo>
                <a:cubicBezTo>
                  <a:pt x="10454640" y="2315556"/>
                  <a:pt x="10485120" y="2314921"/>
                  <a:pt x="10495280" y="2294601"/>
                </a:cubicBezTo>
                <a:cubicBezTo>
                  <a:pt x="10517505" y="2254596"/>
                  <a:pt x="10448925" y="2227926"/>
                  <a:pt x="10438765" y="2272376"/>
                </a:cubicBezTo>
                <a:cubicBezTo>
                  <a:pt x="10429240" y="2255231"/>
                  <a:pt x="10403840" y="2251421"/>
                  <a:pt x="10389870" y="2264121"/>
                </a:cubicBezTo>
                <a:cubicBezTo>
                  <a:pt x="10388600" y="2263486"/>
                  <a:pt x="10387965" y="2262851"/>
                  <a:pt x="10386695" y="2261581"/>
                </a:cubicBezTo>
                <a:cubicBezTo>
                  <a:pt x="10388600" y="2172681"/>
                  <a:pt x="10260330" y="2237451"/>
                  <a:pt x="10332720" y="2289521"/>
                </a:cubicBezTo>
                <a:close/>
                <a:moveTo>
                  <a:pt x="10389235" y="2161251"/>
                </a:moveTo>
                <a:cubicBezTo>
                  <a:pt x="10389235" y="2161251"/>
                  <a:pt x="10389235" y="2161251"/>
                  <a:pt x="10389235" y="2161251"/>
                </a:cubicBezTo>
                <a:cubicBezTo>
                  <a:pt x="10377805" y="2191731"/>
                  <a:pt x="10415905" y="2220941"/>
                  <a:pt x="10442575" y="2202526"/>
                </a:cubicBezTo>
                <a:cubicBezTo>
                  <a:pt x="10457815" y="2220941"/>
                  <a:pt x="10490200" y="2215226"/>
                  <a:pt x="10497820" y="2191731"/>
                </a:cubicBezTo>
                <a:cubicBezTo>
                  <a:pt x="10506075" y="2214591"/>
                  <a:pt x="10541000" y="2217766"/>
                  <a:pt x="10552430" y="2195541"/>
                </a:cubicBezTo>
                <a:cubicBezTo>
                  <a:pt x="10574020" y="2158711"/>
                  <a:pt x="10513060" y="2128866"/>
                  <a:pt x="10497820" y="2168236"/>
                </a:cubicBezTo>
                <a:cubicBezTo>
                  <a:pt x="10492105" y="2149821"/>
                  <a:pt x="10467975" y="2140931"/>
                  <a:pt x="10451465" y="2150456"/>
                </a:cubicBezTo>
                <a:cubicBezTo>
                  <a:pt x="10448290" y="2146011"/>
                  <a:pt x="10443845" y="2142836"/>
                  <a:pt x="10438765" y="2140296"/>
                </a:cubicBezTo>
                <a:cubicBezTo>
                  <a:pt x="10458450" y="2095211"/>
                  <a:pt x="10387330" y="2065366"/>
                  <a:pt x="10368280" y="2111086"/>
                </a:cubicBezTo>
                <a:cubicBezTo>
                  <a:pt x="10360660" y="2130771"/>
                  <a:pt x="10369550" y="2152996"/>
                  <a:pt x="10389235" y="2161251"/>
                </a:cubicBezTo>
                <a:close/>
                <a:moveTo>
                  <a:pt x="10558780" y="1777076"/>
                </a:moveTo>
                <a:cubicBezTo>
                  <a:pt x="10577195" y="1785966"/>
                  <a:pt x="10600690" y="1777711"/>
                  <a:pt x="10609580" y="1758661"/>
                </a:cubicBezTo>
                <a:lnTo>
                  <a:pt x="10609580" y="1758661"/>
                </a:lnTo>
                <a:cubicBezTo>
                  <a:pt x="10631170" y="1714211"/>
                  <a:pt x="10560685" y="1681191"/>
                  <a:pt x="10540365" y="1726276"/>
                </a:cubicBezTo>
                <a:cubicBezTo>
                  <a:pt x="10530840" y="1745961"/>
                  <a:pt x="10539095" y="1768186"/>
                  <a:pt x="10558780" y="1777076"/>
                </a:cubicBezTo>
                <a:close/>
                <a:moveTo>
                  <a:pt x="10443845" y="2032346"/>
                </a:moveTo>
                <a:cubicBezTo>
                  <a:pt x="10445750" y="2032981"/>
                  <a:pt x="10447020" y="2033616"/>
                  <a:pt x="10448925" y="2034251"/>
                </a:cubicBezTo>
                <a:cubicBezTo>
                  <a:pt x="10429240" y="2062826"/>
                  <a:pt x="10463530" y="2101561"/>
                  <a:pt x="10494010" y="2085686"/>
                </a:cubicBezTo>
                <a:cubicBezTo>
                  <a:pt x="10504805" y="2110451"/>
                  <a:pt x="10543540" y="2110451"/>
                  <a:pt x="10553700" y="2085051"/>
                </a:cubicBezTo>
                <a:cubicBezTo>
                  <a:pt x="10555605" y="2112991"/>
                  <a:pt x="10596245" y="2123151"/>
                  <a:pt x="10610215" y="2097751"/>
                </a:cubicBezTo>
                <a:cubicBezTo>
                  <a:pt x="10632440" y="2062191"/>
                  <a:pt x="10573385" y="2030441"/>
                  <a:pt x="10556240" y="2068541"/>
                </a:cubicBezTo>
                <a:cubicBezTo>
                  <a:pt x="10555605" y="2047586"/>
                  <a:pt x="10530840" y="2031711"/>
                  <a:pt x="10511155" y="2040601"/>
                </a:cubicBezTo>
                <a:cubicBezTo>
                  <a:pt x="10507345" y="2031076"/>
                  <a:pt x="10499090" y="2022821"/>
                  <a:pt x="10488930" y="2019646"/>
                </a:cubicBezTo>
                <a:cubicBezTo>
                  <a:pt x="10502900" y="2000596"/>
                  <a:pt x="10495280" y="1972021"/>
                  <a:pt x="10473055" y="1962496"/>
                </a:cubicBezTo>
                <a:cubicBezTo>
                  <a:pt x="10429240" y="1942176"/>
                  <a:pt x="10398125" y="2013296"/>
                  <a:pt x="10443845" y="2032346"/>
                </a:cubicBezTo>
                <a:close/>
                <a:moveTo>
                  <a:pt x="10743565" y="1401156"/>
                </a:moveTo>
                <a:cubicBezTo>
                  <a:pt x="10786745" y="1425286"/>
                  <a:pt x="10823575" y="1356706"/>
                  <a:pt x="10779125" y="1333846"/>
                </a:cubicBezTo>
                <a:cubicBezTo>
                  <a:pt x="10735945" y="1309716"/>
                  <a:pt x="10699750" y="1378296"/>
                  <a:pt x="10743565" y="1401156"/>
                </a:cubicBezTo>
                <a:close/>
                <a:moveTo>
                  <a:pt x="10680065" y="1525616"/>
                </a:moveTo>
                <a:cubicBezTo>
                  <a:pt x="10723245" y="1548476"/>
                  <a:pt x="10759440" y="1479261"/>
                  <a:pt x="10714355" y="1457671"/>
                </a:cubicBezTo>
                <a:cubicBezTo>
                  <a:pt x="10670540" y="1434811"/>
                  <a:pt x="10635615" y="1504026"/>
                  <a:pt x="10680065" y="1525616"/>
                </a:cubicBezTo>
                <a:close/>
                <a:moveTo>
                  <a:pt x="10618470" y="1650711"/>
                </a:moveTo>
                <a:cubicBezTo>
                  <a:pt x="10662285" y="1672936"/>
                  <a:pt x="10696575" y="1603086"/>
                  <a:pt x="10651490" y="1582131"/>
                </a:cubicBezTo>
                <a:cubicBezTo>
                  <a:pt x="10607675" y="1559906"/>
                  <a:pt x="10573385" y="1629756"/>
                  <a:pt x="10618470" y="1650711"/>
                </a:cubicBezTo>
                <a:close/>
                <a:moveTo>
                  <a:pt x="10280015" y="2419061"/>
                </a:moveTo>
                <a:cubicBezTo>
                  <a:pt x="10284460" y="2449541"/>
                  <a:pt x="10329545" y="2458431"/>
                  <a:pt x="10344785" y="2431126"/>
                </a:cubicBezTo>
                <a:cubicBezTo>
                  <a:pt x="10365740" y="2440016"/>
                  <a:pt x="10391140" y="2422236"/>
                  <a:pt x="10389870" y="2399376"/>
                </a:cubicBezTo>
                <a:cubicBezTo>
                  <a:pt x="10402570" y="2415886"/>
                  <a:pt x="10430510" y="2413981"/>
                  <a:pt x="10440670" y="2394931"/>
                </a:cubicBezTo>
                <a:lnTo>
                  <a:pt x="10440670" y="2394931"/>
                </a:lnTo>
                <a:cubicBezTo>
                  <a:pt x="10441940" y="2392391"/>
                  <a:pt x="10443210" y="2389851"/>
                  <a:pt x="10443845" y="2386676"/>
                </a:cubicBezTo>
                <a:cubicBezTo>
                  <a:pt x="10446385" y="2412076"/>
                  <a:pt x="10482580" y="2420331"/>
                  <a:pt x="10495915" y="2397471"/>
                </a:cubicBezTo>
                <a:cubicBezTo>
                  <a:pt x="10518140" y="2361276"/>
                  <a:pt x="10454640" y="2334606"/>
                  <a:pt x="10444480" y="2375881"/>
                </a:cubicBezTo>
                <a:cubicBezTo>
                  <a:pt x="10441940" y="2347306"/>
                  <a:pt x="10400030" y="2339051"/>
                  <a:pt x="10387330" y="2365086"/>
                </a:cubicBezTo>
                <a:cubicBezTo>
                  <a:pt x="10387330" y="2365086"/>
                  <a:pt x="10387330" y="2365086"/>
                  <a:pt x="10387330" y="2365086"/>
                </a:cubicBezTo>
                <a:cubicBezTo>
                  <a:pt x="10384790" y="2370166"/>
                  <a:pt x="10383520" y="2375246"/>
                  <a:pt x="10383520" y="2380326"/>
                </a:cubicBezTo>
                <a:cubicBezTo>
                  <a:pt x="10372725" y="2364451"/>
                  <a:pt x="10347325" y="2363181"/>
                  <a:pt x="10333990" y="2376516"/>
                </a:cubicBezTo>
                <a:cubicBezTo>
                  <a:pt x="10311130" y="2304761"/>
                  <a:pt x="10215880" y="2380326"/>
                  <a:pt x="10280015" y="2419061"/>
                </a:cubicBezTo>
                <a:close/>
                <a:moveTo>
                  <a:pt x="8916670" y="4767926"/>
                </a:moveTo>
                <a:cubicBezTo>
                  <a:pt x="8909050" y="4757766"/>
                  <a:pt x="8893810" y="4755861"/>
                  <a:pt x="8884285" y="4764116"/>
                </a:cubicBezTo>
                <a:cubicBezTo>
                  <a:pt x="8884285" y="4764116"/>
                  <a:pt x="8884285" y="4764116"/>
                  <a:pt x="8884285" y="4764116"/>
                </a:cubicBezTo>
                <a:cubicBezTo>
                  <a:pt x="8860155" y="4782531"/>
                  <a:pt x="8889365" y="4819996"/>
                  <a:pt x="8912860" y="4800946"/>
                </a:cubicBezTo>
                <a:lnTo>
                  <a:pt x="8912860" y="4800946"/>
                </a:lnTo>
                <a:cubicBezTo>
                  <a:pt x="8923020" y="4792691"/>
                  <a:pt x="8924925" y="4777451"/>
                  <a:pt x="8916670" y="4767926"/>
                </a:cubicBezTo>
                <a:close/>
                <a:moveTo>
                  <a:pt x="10217150" y="3048346"/>
                </a:moveTo>
                <a:cubicBezTo>
                  <a:pt x="10238740" y="3064221"/>
                  <a:pt x="10263505" y="3029931"/>
                  <a:pt x="10241280" y="3014691"/>
                </a:cubicBezTo>
                <a:cubicBezTo>
                  <a:pt x="10219690" y="2998816"/>
                  <a:pt x="10194925" y="3033106"/>
                  <a:pt x="10217150" y="3048346"/>
                </a:cubicBezTo>
                <a:close/>
                <a:moveTo>
                  <a:pt x="10267315" y="2935316"/>
                </a:moveTo>
                <a:cubicBezTo>
                  <a:pt x="10284460" y="2910551"/>
                  <a:pt x="10244455" y="2884516"/>
                  <a:pt x="10228580" y="2909916"/>
                </a:cubicBezTo>
                <a:cubicBezTo>
                  <a:pt x="10211435" y="2935316"/>
                  <a:pt x="10250805" y="2961351"/>
                  <a:pt x="10267315" y="2935316"/>
                </a:cubicBezTo>
                <a:close/>
                <a:moveTo>
                  <a:pt x="10171430" y="3114386"/>
                </a:moveTo>
                <a:cubicBezTo>
                  <a:pt x="10208895" y="3135341"/>
                  <a:pt x="10216515" y="3065491"/>
                  <a:pt x="10175240" y="3078191"/>
                </a:cubicBezTo>
                <a:cubicBezTo>
                  <a:pt x="10181590" y="3054061"/>
                  <a:pt x="10145395" y="3038821"/>
                  <a:pt x="10132695" y="3061046"/>
                </a:cubicBezTo>
                <a:cubicBezTo>
                  <a:pt x="10119995" y="3080096"/>
                  <a:pt x="10142855" y="3104861"/>
                  <a:pt x="10162540" y="3094066"/>
                </a:cubicBezTo>
                <a:cubicBezTo>
                  <a:pt x="10161270" y="3101686"/>
                  <a:pt x="10164445" y="3109941"/>
                  <a:pt x="10171430" y="3114386"/>
                </a:cubicBezTo>
                <a:close/>
                <a:moveTo>
                  <a:pt x="10470515" y="2493356"/>
                </a:moveTo>
                <a:cubicBezTo>
                  <a:pt x="10443210" y="2474306"/>
                  <a:pt x="10414000" y="2518121"/>
                  <a:pt x="10441940" y="2535901"/>
                </a:cubicBezTo>
                <a:cubicBezTo>
                  <a:pt x="10468610" y="2555586"/>
                  <a:pt x="10498455" y="2511771"/>
                  <a:pt x="10470515" y="2493356"/>
                </a:cubicBezTo>
                <a:close/>
                <a:moveTo>
                  <a:pt x="10465435" y="2612101"/>
                </a:moveTo>
                <a:cubicBezTo>
                  <a:pt x="10441305" y="2593686"/>
                  <a:pt x="10413365" y="2631786"/>
                  <a:pt x="10437495" y="2649566"/>
                </a:cubicBezTo>
                <a:cubicBezTo>
                  <a:pt x="10460990" y="2667981"/>
                  <a:pt x="10489565" y="2629881"/>
                  <a:pt x="10465435" y="2612101"/>
                </a:cubicBezTo>
                <a:close/>
                <a:moveTo>
                  <a:pt x="10231120" y="2550506"/>
                </a:moveTo>
                <a:cubicBezTo>
                  <a:pt x="10231755" y="2550506"/>
                  <a:pt x="10231755" y="2550506"/>
                  <a:pt x="10232390" y="2550506"/>
                </a:cubicBezTo>
                <a:cubicBezTo>
                  <a:pt x="10242550" y="2569556"/>
                  <a:pt x="10270490" y="2574001"/>
                  <a:pt x="10286365" y="2559396"/>
                </a:cubicBezTo>
                <a:cubicBezTo>
                  <a:pt x="10242550" y="2610196"/>
                  <a:pt x="10347960" y="2638771"/>
                  <a:pt x="10336530" y="2572731"/>
                </a:cubicBezTo>
                <a:cubicBezTo>
                  <a:pt x="10341610" y="2589241"/>
                  <a:pt x="10363200" y="2597496"/>
                  <a:pt x="10377805" y="2587971"/>
                </a:cubicBezTo>
                <a:cubicBezTo>
                  <a:pt x="10368280" y="2615276"/>
                  <a:pt x="10408285" y="2634961"/>
                  <a:pt x="10424160" y="2609561"/>
                </a:cubicBezTo>
                <a:cubicBezTo>
                  <a:pt x="10439400" y="2587971"/>
                  <a:pt x="10412095" y="2559396"/>
                  <a:pt x="10389870" y="2573366"/>
                </a:cubicBezTo>
                <a:cubicBezTo>
                  <a:pt x="10404475" y="2527011"/>
                  <a:pt x="10325100" y="2523836"/>
                  <a:pt x="10335895" y="2571461"/>
                </a:cubicBezTo>
                <a:cubicBezTo>
                  <a:pt x="10329545" y="2551776"/>
                  <a:pt x="10302240" y="2544791"/>
                  <a:pt x="10287635" y="2558126"/>
                </a:cubicBezTo>
                <a:cubicBezTo>
                  <a:pt x="10292080" y="2554316"/>
                  <a:pt x="10295255" y="2548601"/>
                  <a:pt x="10297160" y="2542886"/>
                </a:cubicBezTo>
                <a:cubicBezTo>
                  <a:pt x="10323195" y="2549871"/>
                  <a:pt x="10347325" y="2519391"/>
                  <a:pt x="10333990" y="2495896"/>
                </a:cubicBezTo>
                <a:cubicBezTo>
                  <a:pt x="10347960" y="2521296"/>
                  <a:pt x="10389235" y="2511771"/>
                  <a:pt x="10391140" y="2482561"/>
                </a:cubicBezTo>
                <a:cubicBezTo>
                  <a:pt x="10398760" y="2504151"/>
                  <a:pt x="10430510" y="2507326"/>
                  <a:pt x="10441305" y="2487006"/>
                </a:cubicBezTo>
                <a:cubicBezTo>
                  <a:pt x="10464165" y="2447636"/>
                  <a:pt x="10393680" y="2424776"/>
                  <a:pt x="10389235" y="2469861"/>
                </a:cubicBezTo>
                <a:cubicBezTo>
                  <a:pt x="10375900" y="2430491"/>
                  <a:pt x="10314305" y="2455891"/>
                  <a:pt x="10332720" y="2493356"/>
                </a:cubicBezTo>
                <a:cubicBezTo>
                  <a:pt x="10321290" y="2473036"/>
                  <a:pt x="10288905" y="2473036"/>
                  <a:pt x="10276840" y="2492721"/>
                </a:cubicBezTo>
                <a:cubicBezTo>
                  <a:pt x="10236200" y="2441286"/>
                  <a:pt x="10171430" y="2523201"/>
                  <a:pt x="10231120" y="2550506"/>
                </a:cubicBezTo>
                <a:close/>
                <a:moveTo>
                  <a:pt x="9190355" y="4358986"/>
                </a:moveTo>
                <a:cubicBezTo>
                  <a:pt x="9171305" y="4373591"/>
                  <a:pt x="9195435" y="4402801"/>
                  <a:pt x="9213215" y="4387561"/>
                </a:cubicBezTo>
                <a:lnTo>
                  <a:pt x="9213215" y="4387561"/>
                </a:lnTo>
                <a:cubicBezTo>
                  <a:pt x="9231630" y="4372956"/>
                  <a:pt x="9208135" y="4343746"/>
                  <a:pt x="9190355" y="4358986"/>
                </a:cubicBezTo>
                <a:close/>
                <a:moveTo>
                  <a:pt x="8728075" y="5245446"/>
                </a:moveTo>
                <a:cubicBezTo>
                  <a:pt x="8784590" y="5242906"/>
                  <a:pt x="8750300" y="5155276"/>
                  <a:pt x="8707120" y="5192741"/>
                </a:cubicBezTo>
                <a:cubicBezTo>
                  <a:pt x="8686800" y="5210521"/>
                  <a:pt x="8701405" y="5246716"/>
                  <a:pt x="8728075" y="5245446"/>
                </a:cubicBezTo>
                <a:close/>
                <a:moveTo>
                  <a:pt x="8642985" y="5321646"/>
                </a:moveTo>
                <a:cubicBezTo>
                  <a:pt x="8698230" y="5319106"/>
                  <a:pt x="8667115" y="5233381"/>
                  <a:pt x="8623300" y="5267671"/>
                </a:cubicBezTo>
                <a:cubicBezTo>
                  <a:pt x="8601075" y="5285451"/>
                  <a:pt x="8615680" y="5322916"/>
                  <a:pt x="8642985" y="5321646"/>
                </a:cubicBezTo>
                <a:close/>
                <a:moveTo>
                  <a:pt x="8668385" y="5407371"/>
                </a:moveTo>
                <a:cubicBezTo>
                  <a:pt x="8730615" y="5402926"/>
                  <a:pt x="8692515" y="5310216"/>
                  <a:pt x="8644890" y="5350221"/>
                </a:cubicBezTo>
                <a:cubicBezTo>
                  <a:pt x="8623935" y="5369906"/>
                  <a:pt x="8639810" y="5408641"/>
                  <a:pt x="8668385" y="5407371"/>
                </a:cubicBezTo>
                <a:close/>
                <a:moveTo>
                  <a:pt x="9196705" y="4315171"/>
                </a:moveTo>
                <a:cubicBezTo>
                  <a:pt x="9224010" y="4314536"/>
                  <a:pt x="9210675" y="4271356"/>
                  <a:pt x="9187815" y="4286596"/>
                </a:cubicBezTo>
                <a:cubicBezTo>
                  <a:pt x="9175115" y="4294216"/>
                  <a:pt x="9182100" y="4315806"/>
                  <a:pt x="9196705" y="4315171"/>
                </a:cubicBezTo>
                <a:close/>
                <a:moveTo>
                  <a:pt x="8693785" y="5106381"/>
                </a:moveTo>
                <a:cubicBezTo>
                  <a:pt x="8665210" y="5129241"/>
                  <a:pt x="8701405" y="5173691"/>
                  <a:pt x="8729345" y="5150196"/>
                </a:cubicBezTo>
                <a:cubicBezTo>
                  <a:pt x="8757920" y="5127336"/>
                  <a:pt x="8721725" y="5082886"/>
                  <a:pt x="8693785" y="5106381"/>
                </a:cubicBezTo>
                <a:close/>
                <a:moveTo>
                  <a:pt x="8723630" y="4767291"/>
                </a:moveTo>
                <a:cubicBezTo>
                  <a:pt x="8699500" y="4779991"/>
                  <a:pt x="8719820" y="4817456"/>
                  <a:pt x="8743315" y="4804121"/>
                </a:cubicBezTo>
                <a:cubicBezTo>
                  <a:pt x="8767445" y="4791421"/>
                  <a:pt x="8747125" y="4753956"/>
                  <a:pt x="8723630" y="4767291"/>
                </a:cubicBezTo>
                <a:close/>
                <a:moveTo>
                  <a:pt x="8658225" y="5058756"/>
                </a:moveTo>
                <a:cubicBezTo>
                  <a:pt x="8676640" y="5086696"/>
                  <a:pt x="8719820" y="5056851"/>
                  <a:pt x="8700770" y="5029546"/>
                </a:cubicBezTo>
                <a:cubicBezTo>
                  <a:pt x="8682355" y="5001606"/>
                  <a:pt x="8639175" y="5031451"/>
                  <a:pt x="8658225" y="5058756"/>
                </a:cubicBezTo>
                <a:close/>
                <a:moveTo>
                  <a:pt x="8666480" y="4911436"/>
                </a:moveTo>
                <a:cubicBezTo>
                  <a:pt x="8646160" y="4922231"/>
                  <a:pt x="8655050" y="4955886"/>
                  <a:pt x="8677910" y="4954616"/>
                </a:cubicBezTo>
                <a:cubicBezTo>
                  <a:pt x="8716645" y="4953346"/>
                  <a:pt x="8700770" y="4893021"/>
                  <a:pt x="8666480" y="4911436"/>
                </a:cubicBezTo>
                <a:close/>
                <a:moveTo>
                  <a:pt x="8734425" y="4897466"/>
                </a:moveTo>
                <a:cubicBezTo>
                  <a:pt x="8750300" y="4922866"/>
                  <a:pt x="8790305" y="4897466"/>
                  <a:pt x="8773795" y="4872066"/>
                </a:cubicBezTo>
                <a:cubicBezTo>
                  <a:pt x="8757285" y="4846666"/>
                  <a:pt x="8717280" y="4872701"/>
                  <a:pt x="8734425" y="4897466"/>
                </a:cubicBezTo>
                <a:close/>
                <a:moveTo>
                  <a:pt x="8854440" y="4910166"/>
                </a:moveTo>
                <a:cubicBezTo>
                  <a:pt x="8833485" y="4884131"/>
                  <a:pt x="8792845" y="4917786"/>
                  <a:pt x="8815070" y="4943186"/>
                </a:cubicBezTo>
                <a:cubicBezTo>
                  <a:pt x="8836025" y="4969221"/>
                  <a:pt x="8876665" y="4935566"/>
                  <a:pt x="8854440" y="4910166"/>
                </a:cubicBezTo>
                <a:close/>
                <a:moveTo>
                  <a:pt x="8869045" y="5014941"/>
                </a:moveTo>
                <a:cubicBezTo>
                  <a:pt x="8921750" y="5012401"/>
                  <a:pt x="8888730" y="4931756"/>
                  <a:pt x="8849360" y="4966681"/>
                </a:cubicBezTo>
                <a:cubicBezTo>
                  <a:pt x="8830945" y="4983191"/>
                  <a:pt x="8844280" y="5016211"/>
                  <a:pt x="8869045" y="5014941"/>
                </a:cubicBezTo>
                <a:close/>
                <a:moveTo>
                  <a:pt x="8809355" y="5165436"/>
                </a:moveTo>
                <a:cubicBezTo>
                  <a:pt x="8836025" y="5166071"/>
                  <a:pt x="8850630" y="5131146"/>
                  <a:pt x="8830945" y="5112731"/>
                </a:cubicBezTo>
                <a:cubicBezTo>
                  <a:pt x="8786495" y="5075901"/>
                  <a:pt x="8752205" y="5161626"/>
                  <a:pt x="8809355" y="5165436"/>
                </a:cubicBezTo>
                <a:close/>
                <a:moveTo>
                  <a:pt x="8779510" y="4971761"/>
                </a:moveTo>
                <a:cubicBezTo>
                  <a:pt x="8759825" y="4945091"/>
                  <a:pt x="8717915" y="4976206"/>
                  <a:pt x="8738235" y="5002876"/>
                </a:cubicBezTo>
                <a:cubicBezTo>
                  <a:pt x="8757920" y="5030181"/>
                  <a:pt x="8799830" y="4998431"/>
                  <a:pt x="8779510" y="4971761"/>
                </a:cubicBezTo>
                <a:close/>
                <a:moveTo>
                  <a:pt x="8792845" y="4727921"/>
                </a:moveTo>
                <a:cubicBezTo>
                  <a:pt x="8769350" y="4741256"/>
                  <a:pt x="8790940" y="4778086"/>
                  <a:pt x="8813800" y="4763481"/>
                </a:cubicBezTo>
                <a:cubicBezTo>
                  <a:pt x="8837930" y="4750146"/>
                  <a:pt x="8816340" y="4713951"/>
                  <a:pt x="8792845" y="4727921"/>
                </a:cubicBezTo>
                <a:close/>
                <a:moveTo>
                  <a:pt x="8791575" y="5087331"/>
                </a:moveTo>
                <a:cubicBezTo>
                  <a:pt x="8843010" y="5084791"/>
                  <a:pt x="8813165" y="5005416"/>
                  <a:pt x="8772525" y="5038436"/>
                </a:cubicBezTo>
                <a:cubicBezTo>
                  <a:pt x="8753475" y="5054311"/>
                  <a:pt x="8766810" y="5088601"/>
                  <a:pt x="8791575" y="5087331"/>
                </a:cubicBezTo>
                <a:close/>
                <a:moveTo>
                  <a:pt x="8808085" y="4848571"/>
                </a:moveTo>
                <a:cubicBezTo>
                  <a:pt x="8825230" y="4873336"/>
                  <a:pt x="8863965" y="4846031"/>
                  <a:pt x="8846185" y="4821266"/>
                </a:cubicBezTo>
                <a:cubicBezTo>
                  <a:pt x="8829040" y="4796501"/>
                  <a:pt x="8790305" y="4824441"/>
                  <a:pt x="8808085" y="4848571"/>
                </a:cubicBezTo>
                <a:close/>
                <a:moveTo>
                  <a:pt x="8611235" y="5169881"/>
                </a:moveTo>
                <a:cubicBezTo>
                  <a:pt x="8589010" y="5185121"/>
                  <a:pt x="8601710" y="5221951"/>
                  <a:pt x="8627745" y="5220681"/>
                </a:cubicBezTo>
                <a:cubicBezTo>
                  <a:pt x="8677275" y="5219411"/>
                  <a:pt x="8651875" y="5142576"/>
                  <a:pt x="8611235" y="5169881"/>
                </a:cubicBezTo>
                <a:close/>
                <a:moveTo>
                  <a:pt x="9083040" y="4589491"/>
                </a:moveTo>
                <a:cubicBezTo>
                  <a:pt x="9060815" y="4610446"/>
                  <a:pt x="9093835" y="4644101"/>
                  <a:pt x="9115425" y="4623146"/>
                </a:cubicBezTo>
                <a:cubicBezTo>
                  <a:pt x="9137015" y="4602191"/>
                  <a:pt x="9103995" y="4568536"/>
                  <a:pt x="9083040" y="4589491"/>
                </a:cubicBezTo>
                <a:close/>
                <a:moveTo>
                  <a:pt x="9088120" y="4479001"/>
                </a:moveTo>
                <a:cubicBezTo>
                  <a:pt x="9119870" y="4477731"/>
                  <a:pt x="9103995" y="4428201"/>
                  <a:pt x="9077325" y="4445981"/>
                </a:cubicBezTo>
                <a:cubicBezTo>
                  <a:pt x="9062720" y="4455506"/>
                  <a:pt x="9070975" y="4479636"/>
                  <a:pt x="9088120" y="4479001"/>
                </a:cubicBezTo>
                <a:close/>
                <a:moveTo>
                  <a:pt x="9091295" y="4385656"/>
                </a:moveTo>
                <a:cubicBezTo>
                  <a:pt x="9117965" y="4385021"/>
                  <a:pt x="9105900" y="4342476"/>
                  <a:pt x="9082405" y="4356446"/>
                </a:cubicBezTo>
                <a:cubicBezTo>
                  <a:pt x="9069705" y="4364701"/>
                  <a:pt x="9076055" y="4386291"/>
                  <a:pt x="9091295" y="4385656"/>
                </a:cubicBezTo>
                <a:close/>
                <a:moveTo>
                  <a:pt x="9143365" y="4495511"/>
                </a:moveTo>
                <a:cubicBezTo>
                  <a:pt x="9126220" y="4475191"/>
                  <a:pt x="9093835" y="4502496"/>
                  <a:pt x="9112250" y="4522816"/>
                </a:cubicBezTo>
                <a:cubicBezTo>
                  <a:pt x="9129395" y="4543136"/>
                  <a:pt x="9161780" y="4515196"/>
                  <a:pt x="9143365" y="4495511"/>
                </a:cubicBezTo>
                <a:close/>
                <a:moveTo>
                  <a:pt x="9144635" y="4350731"/>
                </a:moveTo>
                <a:cubicBezTo>
                  <a:pt x="9171940" y="4350096"/>
                  <a:pt x="9158605" y="4306916"/>
                  <a:pt x="9135745" y="4321521"/>
                </a:cubicBezTo>
                <a:cubicBezTo>
                  <a:pt x="9122410" y="4329776"/>
                  <a:pt x="9129395" y="4351366"/>
                  <a:pt x="9144635" y="4350731"/>
                </a:cubicBezTo>
                <a:close/>
                <a:moveTo>
                  <a:pt x="9145270" y="4436456"/>
                </a:moveTo>
                <a:cubicBezTo>
                  <a:pt x="9177655" y="4435186"/>
                  <a:pt x="9160510" y="4385021"/>
                  <a:pt x="9133840" y="4403436"/>
                </a:cubicBezTo>
                <a:cubicBezTo>
                  <a:pt x="9120505" y="4413596"/>
                  <a:pt x="9128760" y="4437091"/>
                  <a:pt x="9145270" y="4436456"/>
                </a:cubicBezTo>
                <a:close/>
                <a:moveTo>
                  <a:pt x="9177655" y="4526626"/>
                </a:moveTo>
                <a:cubicBezTo>
                  <a:pt x="9147175" y="4499321"/>
                  <a:pt x="9117965" y="4559011"/>
                  <a:pt x="9157970" y="4565996"/>
                </a:cubicBezTo>
                <a:cubicBezTo>
                  <a:pt x="9138920" y="4587586"/>
                  <a:pt x="9168765" y="4620606"/>
                  <a:pt x="9192260" y="4603461"/>
                </a:cubicBezTo>
                <a:cubicBezTo>
                  <a:pt x="9196705" y="4609811"/>
                  <a:pt x="9203690" y="4613621"/>
                  <a:pt x="9211310" y="4614891"/>
                </a:cubicBezTo>
                <a:cubicBezTo>
                  <a:pt x="9218295" y="4629496"/>
                  <a:pt x="9237980" y="4635846"/>
                  <a:pt x="9251950" y="4628226"/>
                </a:cubicBezTo>
                <a:cubicBezTo>
                  <a:pt x="9318625" y="4656166"/>
                  <a:pt x="9313545" y="4538056"/>
                  <a:pt x="9249410" y="4572346"/>
                </a:cubicBezTo>
                <a:cubicBezTo>
                  <a:pt x="9245600" y="4571076"/>
                  <a:pt x="9241155" y="4570441"/>
                  <a:pt x="9237345" y="4570441"/>
                </a:cubicBezTo>
                <a:cubicBezTo>
                  <a:pt x="9228455" y="4557741"/>
                  <a:pt x="9208770" y="4555836"/>
                  <a:pt x="9197340" y="4565361"/>
                </a:cubicBezTo>
                <a:cubicBezTo>
                  <a:pt x="9192895" y="4560281"/>
                  <a:pt x="9186545" y="4557741"/>
                  <a:pt x="9180830" y="4557106"/>
                </a:cubicBezTo>
                <a:cubicBezTo>
                  <a:pt x="9187180" y="4548216"/>
                  <a:pt x="9186545" y="4534881"/>
                  <a:pt x="9177655" y="4526626"/>
                </a:cubicBezTo>
                <a:close/>
                <a:moveTo>
                  <a:pt x="8603615" y="5435946"/>
                </a:moveTo>
                <a:cubicBezTo>
                  <a:pt x="8575675" y="5403561"/>
                  <a:pt x="8524875" y="5448011"/>
                  <a:pt x="8554085" y="5479761"/>
                </a:cubicBezTo>
                <a:cubicBezTo>
                  <a:pt x="8582025" y="5512146"/>
                  <a:pt x="8632190" y="5467696"/>
                  <a:pt x="8603615" y="5435946"/>
                </a:cubicBezTo>
                <a:close/>
                <a:moveTo>
                  <a:pt x="8986520" y="4623146"/>
                </a:moveTo>
                <a:cubicBezTo>
                  <a:pt x="9002395" y="4644736"/>
                  <a:pt x="9036050" y="4619336"/>
                  <a:pt x="9019540" y="4597746"/>
                </a:cubicBezTo>
                <a:cubicBezTo>
                  <a:pt x="9003665" y="4576156"/>
                  <a:pt x="8970010" y="4602191"/>
                  <a:pt x="8986520" y="4623146"/>
                </a:cubicBezTo>
                <a:close/>
                <a:moveTo>
                  <a:pt x="8535670" y="5338156"/>
                </a:moveTo>
                <a:cubicBezTo>
                  <a:pt x="8503920" y="5361651"/>
                  <a:pt x="8541385" y="5411816"/>
                  <a:pt x="8572500" y="5387051"/>
                </a:cubicBezTo>
                <a:cubicBezTo>
                  <a:pt x="8604885" y="5363556"/>
                  <a:pt x="8566785" y="5314026"/>
                  <a:pt x="8535670" y="5338156"/>
                </a:cubicBezTo>
                <a:close/>
                <a:moveTo>
                  <a:pt x="8610600" y="5118446"/>
                </a:moveTo>
                <a:cubicBezTo>
                  <a:pt x="8639810" y="5101936"/>
                  <a:pt x="8612505" y="5056851"/>
                  <a:pt x="8583930" y="5073996"/>
                </a:cubicBezTo>
                <a:cubicBezTo>
                  <a:pt x="8555355" y="5091141"/>
                  <a:pt x="8582660" y="5136226"/>
                  <a:pt x="8610600" y="5118446"/>
                </a:cubicBezTo>
                <a:close/>
                <a:moveTo>
                  <a:pt x="9037320" y="4419311"/>
                </a:moveTo>
                <a:cubicBezTo>
                  <a:pt x="9063990" y="4418676"/>
                  <a:pt x="9052560" y="4376766"/>
                  <a:pt x="9029065" y="4390101"/>
                </a:cubicBezTo>
                <a:cubicBezTo>
                  <a:pt x="9015730" y="4397086"/>
                  <a:pt x="9022080" y="4419946"/>
                  <a:pt x="9037320" y="4419311"/>
                </a:cubicBezTo>
                <a:close/>
                <a:moveTo>
                  <a:pt x="9018270" y="4649816"/>
                </a:moveTo>
                <a:cubicBezTo>
                  <a:pt x="8995410" y="4669501"/>
                  <a:pt x="9027795" y="4705061"/>
                  <a:pt x="9049385" y="4684106"/>
                </a:cubicBezTo>
                <a:cubicBezTo>
                  <a:pt x="9072245" y="4664421"/>
                  <a:pt x="9040495" y="4629496"/>
                  <a:pt x="9018270" y="4649816"/>
                </a:cubicBezTo>
                <a:close/>
                <a:moveTo>
                  <a:pt x="9029065" y="4520276"/>
                </a:moveTo>
                <a:cubicBezTo>
                  <a:pt x="9060815" y="4519006"/>
                  <a:pt x="9045575" y="4469476"/>
                  <a:pt x="9018905" y="4486621"/>
                </a:cubicBezTo>
                <a:cubicBezTo>
                  <a:pt x="9003665" y="4496146"/>
                  <a:pt x="9011920" y="4520911"/>
                  <a:pt x="9029065" y="4520276"/>
                </a:cubicBezTo>
                <a:close/>
                <a:moveTo>
                  <a:pt x="9050020" y="4574251"/>
                </a:moveTo>
                <a:cubicBezTo>
                  <a:pt x="9066530" y="4595206"/>
                  <a:pt x="9099550" y="4568536"/>
                  <a:pt x="9082405" y="4547581"/>
                </a:cubicBezTo>
                <a:cubicBezTo>
                  <a:pt x="9065895" y="4526626"/>
                  <a:pt x="9032875" y="4553296"/>
                  <a:pt x="9050020" y="4574251"/>
                </a:cubicBezTo>
                <a:close/>
                <a:moveTo>
                  <a:pt x="4440555" y="4125941"/>
                </a:moveTo>
                <a:cubicBezTo>
                  <a:pt x="4431030" y="4100541"/>
                  <a:pt x="4391660" y="4116416"/>
                  <a:pt x="4401820" y="4141816"/>
                </a:cubicBezTo>
                <a:cubicBezTo>
                  <a:pt x="4411980" y="4166581"/>
                  <a:pt x="4451350" y="4150706"/>
                  <a:pt x="4440555" y="4125941"/>
                </a:cubicBezTo>
                <a:close/>
                <a:moveTo>
                  <a:pt x="6560185" y="5543896"/>
                </a:moveTo>
                <a:cubicBezTo>
                  <a:pt x="6526531" y="5507701"/>
                  <a:pt x="6470650" y="5561041"/>
                  <a:pt x="6504940" y="5596601"/>
                </a:cubicBezTo>
                <a:cubicBezTo>
                  <a:pt x="6538595" y="5632796"/>
                  <a:pt x="6595110" y="5579456"/>
                  <a:pt x="6560185" y="5543896"/>
                </a:cubicBezTo>
                <a:cubicBezTo>
                  <a:pt x="6560185" y="5543896"/>
                  <a:pt x="6560185" y="5543896"/>
                  <a:pt x="6560185" y="5543896"/>
                </a:cubicBezTo>
                <a:close/>
                <a:moveTo>
                  <a:pt x="6629400" y="5446741"/>
                </a:moveTo>
                <a:cubicBezTo>
                  <a:pt x="6662420" y="5414356"/>
                  <a:pt x="6610350" y="5363556"/>
                  <a:pt x="6578600" y="5397211"/>
                </a:cubicBezTo>
                <a:cubicBezTo>
                  <a:pt x="6545581" y="5429596"/>
                  <a:pt x="6597015" y="5480396"/>
                  <a:pt x="6629400" y="5446741"/>
                </a:cubicBezTo>
                <a:close/>
                <a:moveTo>
                  <a:pt x="6603365" y="5643591"/>
                </a:moveTo>
                <a:cubicBezTo>
                  <a:pt x="6567806" y="5678516"/>
                  <a:pt x="6623685" y="5732491"/>
                  <a:pt x="6657975" y="5696931"/>
                </a:cubicBezTo>
                <a:cubicBezTo>
                  <a:pt x="6692900" y="5662006"/>
                  <a:pt x="6637656" y="5607396"/>
                  <a:pt x="6603365" y="5643591"/>
                </a:cubicBezTo>
                <a:close/>
                <a:moveTo>
                  <a:pt x="6725285" y="5536276"/>
                </a:moveTo>
                <a:cubicBezTo>
                  <a:pt x="6757035" y="5502621"/>
                  <a:pt x="6703695" y="5453726"/>
                  <a:pt x="6672581" y="5488016"/>
                </a:cubicBezTo>
                <a:cubicBezTo>
                  <a:pt x="6640831" y="5522306"/>
                  <a:pt x="6694170" y="5571201"/>
                  <a:pt x="6725285" y="5536276"/>
                </a:cubicBezTo>
                <a:close/>
                <a:moveTo>
                  <a:pt x="6412230" y="5439121"/>
                </a:moveTo>
                <a:cubicBezTo>
                  <a:pt x="6374765" y="5471506"/>
                  <a:pt x="6426835" y="5529291"/>
                  <a:pt x="6463030" y="5495636"/>
                </a:cubicBezTo>
                <a:cubicBezTo>
                  <a:pt x="6500495" y="5463886"/>
                  <a:pt x="6448425" y="5405466"/>
                  <a:pt x="6412230" y="5439121"/>
                </a:cubicBezTo>
                <a:close/>
                <a:moveTo>
                  <a:pt x="6420485" y="5269576"/>
                </a:moveTo>
                <a:cubicBezTo>
                  <a:pt x="6450330" y="5270846"/>
                  <a:pt x="6468110" y="5230841"/>
                  <a:pt x="6446520" y="5209886"/>
                </a:cubicBezTo>
                <a:cubicBezTo>
                  <a:pt x="6415405" y="5175596"/>
                  <a:pt x="6362065" y="5225126"/>
                  <a:pt x="6394450" y="5258781"/>
                </a:cubicBezTo>
                <a:lnTo>
                  <a:pt x="6394450" y="5258781"/>
                </a:lnTo>
                <a:cubicBezTo>
                  <a:pt x="6401435" y="5265766"/>
                  <a:pt x="6410960" y="5269576"/>
                  <a:pt x="6420485" y="5269576"/>
                </a:cubicBezTo>
                <a:close/>
                <a:moveTo>
                  <a:pt x="6757670" y="5737571"/>
                </a:moveTo>
                <a:cubicBezTo>
                  <a:pt x="6757670" y="5737571"/>
                  <a:pt x="6757670" y="5737571"/>
                  <a:pt x="6757670" y="5737571"/>
                </a:cubicBezTo>
                <a:cubicBezTo>
                  <a:pt x="6721475" y="5703916"/>
                  <a:pt x="6669406" y="5761701"/>
                  <a:pt x="6706235" y="5794086"/>
                </a:cubicBezTo>
                <a:cubicBezTo>
                  <a:pt x="6742431" y="5828376"/>
                  <a:pt x="6795135" y="5770591"/>
                  <a:pt x="6757670" y="5737571"/>
                </a:cubicBezTo>
                <a:close/>
                <a:moveTo>
                  <a:pt x="6374130" y="5338156"/>
                </a:moveTo>
                <a:cubicBezTo>
                  <a:pt x="6342380" y="5300056"/>
                  <a:pt x="6283325" y="5350856"/>
                  <a:pt x="6316345" y="5387686"/>
                </a:cubicBezTo>
                <a:cubicBezTo>
                  <a:pt x="6348730" y="5425786"/>
                  <a:pt x="6407150" y="5374986"/>
                  <a:pt x="6374130" y="5338156"/>
                </a:cubicBezTo>
                <a:cubicBezTo>
                  <a:pt x="6374130" y="5338156"/>
                  <a:pt x="6374130" y="5338156"/>
                  <a:pt x="6374130" y="5338156"/>
                </a:cubicBezTo>
                <a:close/>
                <a:moveTo>
                  <a:pt x="6536056" y="5354666"/>
                </a:moveTo>
                <a:cubicBezTo>
                  <a:pt x="6569710" y="5322916"/>
                  <a:pt x="6518910" y="5270846"/>
                  <a:pt x="6486525" y="5303866"/>
                </a:cubicBezTo>
                <a:cubicBezTo>
                  <a:pt x="6452235" y="5335616"/>
                  <a:pt x="6503035" y="5387686"/>
                  <a:pt x="6536056" y="5354666"/>
                </a:cubicBezTo>
                <a:close/>
                <a:moveTo>
                  <a:pt x="7204710" y="6051896"/>
                </a:moveTo>
                <a:cubicBezTo>
                  <a:pt x="7160260" y="6029671"/>
                  <a:pt x="7126606" y="6099521"/>
                  <a:pt x="7171690" y="6120476"/>
                </a:cubicBezTo>
                <a:cubicBezTo>
                  <a:pt x="7215506" y="6142701"/>
                  <a:pt x="7249160" y="6072216"/>
                  <a:pt x="7204710" y="6051896"/>
                </a:cubicBezTo>
                <a:close/>
                <a:moveTo>
                  <a:pt x="7034531" y="5779481"/>
                </a:moveTo>
                <a:cubicBezTo>
                  <a:pt x="7061200" y="5742016"/>
                  <a:pt x="7001510" y="5700741"/>
                  <a:pt x="6975475" y="5739476"/>
                </a:cubicBezTo>
                <a:cubicBezTo>
                  <a:pt x="6949440" y="5776941"/>
                  <a:pt x="7009131" y="5818216"/>
                  <a:pt x="7034531" y="5779481"/>
                </a:cubicBezTo>
                <a:close/>
                <a:moveTo>
                  <a:pt x="7134225" y="5798531"/>
                </a:moveTo>
                <a:cubicBezTo>
                  <a:pt x="7094856" y="5774401"/>
                  <a:pt x="7058025" y="5837266"/>
                  <a:pt x="7098031" y="5860126"/>
                </a:cubicBezTo>
                <a:cubicBezTo>
                  <a:pt x="7137400" y="5884256"/>
                  <a:pt x="7174231" y="5821391"/>
                  <a:pt x="7134225" y="5798531"/>
                </a:cubicBezTo>
                <a:close/>
                <a:moveTo>
                  <a:pt x="6861810" y="5827741"/>
                </a:moveTo>
                <a:cubicBezTo>
                  <a:pt x="6823710" y="5795991"/>
                  <a:pt x="6774815" y="5856316"/>
                  <a:pt x="6813550" y="5886796"/>
                </a:cubicBezTo>
                <a:cubicBezTo>
                  <a:pt x="6851650" y="5918546"/>
                  <a:pt x="6901181" y="5858221"/>
                  <a:pt x="6861810" y="5827741"/>
                </a:cubicBezTo>
                <a:close/>
                <a:moveTo>
                  <a:pt x="6824345" y="5622636"/>
                </a:moveTo>
                <a:cubicBezTo>
                  <a:pt x="6854825" y="5587711"/>
                  <a:pt x="6799581" y="5540721"/>
                  <a:pt x="6769735" y="5576281"/>
                </a:cubicBezTo>
                <a:cubicBezTo>
                  <a:pt x="6739890" y="5611206"/>
                  <a:pt x="6795135" y="5658196"/>
                  <a:pt x="6824345" y="5622636"/>
                </a:cubicBezTo>
                <a:close/>
                <a:moveTo>
                  <a:pt x="6927215" y="5703916"/>
                </a:moveTo>
                <a:cubicBezTo>
                  <a:pt x="6955790" y="5667721"/>
                  <a:pt x="6898640" y="5623271"/>
                  <a:pt x="6870700" y="5660736"/>
                </a:cubicBezTo>
                <a:cubicBezTo>
                  <a:pt x="6842125" y="5696296"/>
                  <a:pt x="6899910" y="5740746"/>
                  <a:pt x="6927215" y="5703916"/>
                </a:cubicBezTo>
                <a:close/>
                <a:moveTo>
                  <a:pt x="6971031" y="5910926"/>
                </a:moveTo>
                <a:cubicBezTo>
                  <a:pt x="6931025" y="5881716"/>
                  <a:pt x="6885940" y="5944581"/>
                  <a:pt x="6926581" y="5973156"/>
                </a:cubicBezTo>
                <a:cubicBezTo>
                  <a:pt x="6965950" y="6002366"/>
                  <a:pt x="7011670" y="5939501"/>
                  <a:pt x="6971031" y="5910926"/>
                </a:cubicBezTo>
                <a:close/>
                <a:moveTo>
                  <a:pt x="7085331" y="5986491"/>
                </a:moveTo>
                <a:cubicBezTo>
                  <a:pt x="7043420" y="5960456"/>
                  <a:pt x="7003415" y="6026496"/>
                  <a:pt x="7045960" y="6051896"/>
                </a:cubicBezTo>
                <a:cubicBezTo>
                  <a:pt x="7087235" y="6077931"/>
                  <a:pt x="7127875" y="6011891"/>
                  <a:pt x="7085331" y="5986491"/>
                </a:cubicBezTo>
                <a:close/>
                <a:moveTo>
                  <a:pt x="5883910" y="4788246"/>
                </a:moveTo>
                <a:cubicBezTo>
                  <a:pt x="5844540" y="4818091"/>
                  <a:pt x="5892165" y="4879051"/>
                  <a:pt x="5930900" y="4848571"/>
                </a:cubicBezTo>
                <a:cubicBezTo>
                  <a:pt x="5970270" y="4818726"/>
                  <a:pt x="5922645" y="4757131"/>
                  <a:pt x="5883910" y="4788246"/>
                </a:cubicBezTo>
                <a:close/>
                <a:moveTo>
                  <a:pt x="5973445" y="4519006"/>
                </a:moveTo>
                <a:cubicBezTo>
                  <a:pt x="5944870" y="4486621"/>
                  <a:pt x="5894705" y="4532341"/>
                  <a:pt x="5924550" y="4564091"/>
                </a:cubicBezTo>
                <a:cubicBezTo>
                  <a:pt x="5953125" y="4595841"/>
                  <a:pt x="6002655" y="4550121"/>
                  <a:pt x="5973445" y="4519006"/>
                </a:cubicBezTo>
                <a:close/>
                <a:moveTo>
                  <a:pt x="5987415" y="4776181"/>
                </a:moveTo>
                <a:cubicBezTo>
                  <a:pt x="6052185" y="4771736"/>
                  <a:pt x="6016625" y="4674581"/>
                  <a:pt x="5964555" y="4713316"/>
                </a:cubicBezTo>
                <a:cubicBezTo>
                  <a:pt x="5939155" y="4733636"/>
                  <a:pt x="5955665" y="4777451"/>
                  <a:pt x="5987415" y="4776181"/>
                </a:cubicBezTo>
                <a:close/>
                <a:moveTo>
                  <a:pt x="5902960" y="4675851"/>
                </a:moveTo>
                <a:cubicBezTo>
                  <a:pt x="5967095" y="4671406"/>
                  <a:pt x="5932170" y="4574886"/>
                  <a:pt x="5880100" y="4612986"/>
                </a:cubicBezTo>
                <a:cubicBezTo>
                  <a:pt x="5854700" y="4632671"/>
                  <a:pt x="5871210" y="4677121"/>
                  <a:pt x="5902960" y="4675851"/>
                </a:cubicBezTo>
                <a:close/>
                <a:moveTo>
                  <a:pt x="6331585" y="5173056"/>
                </a:moveTo>
                <a:cubicBezTo>
                  <a:pt x="6396990" y="5168611"/>
                  <a:pt x="6359525" y="5070186"/>
                  <a:pt x="6307455" y="5110826"/>
                </a:cubicBezTo>
                <a:cubicBezTo>
                  <a:pt x="6283325" y="5131781"/>
                  <a:pt x="6300470" y="5174326"/>
                  <a:pt x="6331585" y="5173056"/>
                </a:cubicBezTo>
                <a:close/>
                <a:moveTo>
                  <a:pt x="5889625" y="4428836"/>
                </a:moveTo>
                <a:cubicBezTo>
                  <a:pt x="5860415" y="4397086"/>
                  <a:pt x="5811520" y="4443441"/>
                  <a:pt x="5841365" y="4474556"/>
                </a:cubicBezTo>
                <a:cubicBezTo>
                  <a:pt x="5870575" y="4505671"/>
                  <a:pt x="5919470" y="4459316"/>
                  <a:pt x="5889625" y="4428836"/>
                </a:cubicBezTo>
                <a:close/>
                <a:moveTo>
                  <a:pt x="5818505" y="4575521"/>
                </a:moveTo>
                <a:cubicBezTo>
                  <a:pt x="5883275" y="4571076"/>
                  <a:pt x="5847715" y="4473921"/>
                  <a:pt x="5795645" y="4512656"/>
                </a:cubicBezTo>
                <a:cubicBezTo>
                  <a:pt x="5769610" y="4532341"/>
                  <a:pt x="5786755" y="4576791"/>
                  <a:pt x="5818505" y="4575521"/>
                </a:cubicBezTo>
                <a:close/>
                <a:moveTo>
                  <a:pt x="5798185" y="4677756"/>
                </a:moveTo>
                <a:cubicBezTo>
                  <a:pt x="5758815" y="4707601"/>
                  <a:pt x="5806440" y="4769196"/>
                  <a:pt x="5845175" y="4738081"/>
                </a:cubicBezTo>
                <a:cubicBezTo>
                  <a:pt x="5884545" y="4708236"/>
                  <a:pt x="5836920" y="4646641"/>
                  <a:pt x="5798185" y="4677756"/>
                </a:cubicBezTo>
                <a:close/>
                <a:moveTo>
                  <a:pt x="5969635" y="4898736"/>
                </a:moveTo>
                <a:cubicBezTo>
                  <a:pt x="5930265" y="4928581"/>
                  <a:pt x="5978525" y="4989541"/>
                  <a:pt x="6016625" y="4958426"/>
                </a:cubicBezTo>
                <a:cubicBezTo>
                  <a:pt x="6055995" y="4928581"/>
                  <a:pt x="6008370" y="4867621"/>
                  <a:pt x="5969635" y="4898736"/>
                </a:cubicBezTo>
                <a:close/>
                <a:moveTo>
                  <a:pt x="6142990" y="5118446"/>
                </a:moveTo>
                <a:cubicBezTo>
                  <a:pt x="6104255" y="5148926"/>
                  <a:pt x="6153150" y="5209251"/>
                  <a:pt x="6191250" y="5177501"/>
                </a:cubicBezTo>
                <a:cubicBezTo>
                  <a:pt x="6229350" y="5147021"/>
                  <a:pt x="6181090" y="5086696"/>
                  <a:pt x="6142990" y="5118446"/>
                </a:cubicBezTo>
                <a:close/>
                <a:moveTo>
                  <a:pt x="6244590" y="5075266"/>
                </a:moveTo>
                <a:cubicBezTo>
                  <a:pt x="6309360" y="5070821"/>
                  <a:pt x="6273165" y="4973031"/>
                  <a:pt x="6221095" y="5013036"/>
                </a:cubicBezTo>
                <a:cubicBezTo>
                  <a:pt x="6195695" y="5033356"/>
                  <a:pt x="6212840" y="5075901"/>
                  <a:pt x="6244590" y="5075266"/>
                </a:cubicBezTo>
                <a:close/>
                <a:moveTo>
                  <a:pt x="3805555" y="4103081"/>
                </a:moveTo>
                <a:cubicBezTo>
                  <a:pt x="3784600" y="4073236"/>
                  <a:pt x="3737610" y="4106891"/>
                  <a:pt x="3759835" y="4136101"/>
                </a:cubicBezTo>
                <a:cubicBezTo>
                  <a:pt x="3780790" y="4165946"/>
                  <a:pt x="3827145" y="4132291"/>
                  <a:pt x="3805555" y="4103081"/>
                </a:cubicBezTo>
                <a:close/>
                <a:moveTo>
                  <a:pt x="6072505" y="4876511"/>
                </a:moveTo>
                <a:cubicBezTo>
                  <a:pt x="6137275" y="4872701"/>
                  <a:pt x="6101715" y="4774911"/>
                  <a:pt x="6049645" y="4813646"/>
                </a:cubicBezTo>
                <a:cubicBezTo>
                  <a:pt x="6024245" y="4833966"/>
                  <a:pt x="6040755" y="4877781"/>
                  <a:pt x="6072505" y="4876511"/>
                </a:cubicBezTo>
                <a:close/>
                <a:moveTo>
                  <a:pt x="6056630" y="4609811"/>
                </a:moveTo>
                <a:cubicBezTo>
                  <a:pt x="6028055" y="4578061"/>
                  <a:pt x="5978525" y="4623781"/>
                  <a:pt x="6007735" y="4654896"/>
                </a:cubicBezTo>
                <a:cubicBezTo>
                  <a:pt x="6036310" y="4686646"/>
                  <a:pt x="6085840" y="4640926"/>
                  <a:pt x="6056630" y="4609811"/>
                </a:cubicBezTo>
                <a:close/>
                <a:moveTo>
                  <a:pt x="6109335" y="5014941"/>
                </a:moveTo>
                <a:cubicBezTo>
                  <a:pt x="6079490" y="4975571"/>
                  <a:pt x="6018530" y="5023831"/>
                  <a:pt x="6049645" y="5062566"/>
                </a:cubicBezTo>
                <a:cubicBezTo>
                  <a:pt x="6080125" y="5101301"/>
                  <a:pt x="6140450" y="5053676"/>
                  <a:pt x="6109335" y="5014941"/>
                </a:cubicBezTo>
                <a:cubicBezTo>
                  <a:pt x="6109335" y="5014941"/>
                  <a:pt x="6109335" y="5014941"/>
                  <a:pt x="6109335" y="5014941"/>
                </a:cubicBezTo>
                <a:close/>
                <a:moveTo>
                  <a:pt x="6158230" y="4976206"/>
                </a:moveTo>
                <a:cubicBezTo>
                  <a:pt x="6223000" y="4971761"/>
                  <a:pt x="6186805" y="4874606"/>
                  <a:pt x="6134735" y="4913341"/>
                </a:cubicBezTo>
                <a:cubicBezTo>
                  <a:pt x="6109335" y="4933661"/>
                  <a:pt x="6126480" y="4977476"/>
                  <a:pt x="6158230" y="4976206"/>
                </a:cubicBezTo>
                <a:close/>
                <a:moveTo>
                  <a:pt x="8088631" y="5761066"/>
                </a:moveTo>
                <a:cubicBezTo>
                  <a:pt x="8075931" y="5719791"/>
                  <a:pt x="8011795" y="5740111"/>
                  <a:pt x="8025765" y="5781386"/>
                </a:cubicBezTo>
                <a:cubicBezTo>
                  <a:pt x="8037831" y="5822661"/>
                  <a:pt x="8101965" y="5801706"/>
                  <a:pt x="8088631" y="5761066"/>
                </a:cubicBezTo>
                <a:close/>
                <a:moveTo>
                  <a:pt x="8028940" y="5943311"/>
                </a:moveTo>
                <a:cubicBezTo>
                  <a:pt x="8014970" y="5898861"/>
                  <a:pt x="7945756" y="5922356"/>
                  <a:pt x="7961631" y="5965536"/>
                </a:cubicBezTo>
                <a:cubicBezTo>
                  <a:pt x="7975600" y="6009986"/>
                  <a:pt x="8044181" y="5986491"/>
                  <a:pt x="8028940" y="5943311"/>
                </a:cubicBezTo>
                <a:close/>
                <a:moveTo>
                  <a:pt x="7982585" y="6082376"/>
                </a:moveTo>
                <a:cubicBezTo>
                  <a:pt x="7936231" y="6100791"/>
                  <a:pt x="7967345" y="6172546"/>
                  <a:pt x="8011795" y="6152861"/>
                </a:cubicBezTo>
                <a:lnTo>
                  <a:pt x="8011795" y="6152861"/>
                </a:lnTo>
                <a:cubicBezTo>
                  <a:pt x="8058150" y="6134446"/>
                  <a:pt x="8028306" y="6062691"/>
                  <a:pt x="7982585" y="6082376"/>
                </a:cubicBezTo>
                <a:close/>
                <a:moveTo>
                  <a:pt x="5803900" y="4339936"/>
                </a:moveTo>
                <a:cubicBezTo>
                  <a:pt x="5774055" y="4308821"/>
                  <a:pt x="5725795" y="4356446"/>
                  <a:pt x="5756910" y="4386291"/>
                </a:cubicBezTo>
                <a:cubicBezTo>
                  <a:pt x="5786120" y="4417406"/>
                  <a:pt x="5834380" y="4369781"/>
                  <a:pt x="5803900" y="4339936"/>
                </a:cubicBezTo>
                <a:close/>
                <a:moveTo>
                  <a:pt x="7762240" y="5256241"/>
                </a:moveTo>
                <a:cubicBezTo>
                  <a:pt x="7729220" y="5251796"/>
                  <a:pt x="7722870" y="5303866"/>
                  <a:pt x="7755890" y="5307041"/>
                </a:cubicBezTo>
                <a:cubicBezTo>
                  <a:pt x="7788910" y="5311486"/>
                  <a:pt x="7795895" y="5259416"/>
                  <a:pt x="7762240" y="5256241"/>
                </a:cubicBezTo>
                <a:close/>
                <a:moveTo>
                  <a:pt x="7855585" y="6126191"/>
                </a:moveTo>
                <a:cubicBezTo>
                  <a:pt x="7807325" y="6138256"/>
                  <a:pt x="7828281" y="6213186"/>
                  <a:pt x="7875270" y="6199851"/>
                </a:cubicBezTo>
                <a:cubicBezTo>
                  <a:pt x="7923531" y="6187786"/>
                  <a:pt x="7903210" y="6112221"/>
                  <a:pt x="7855585" y="6126191"/>
                </a:cubicBezTo>
                <a:close/>
                <a:moveTo>
                  <a:pt x="7849870" y="5814406"/>
                </a:moveTo>
                <a:cubicBezTo>
                  <a:pt x="7847965" y="5771226"/>
                  <a:pt x="7780656" y="5775671"/>
                  <a:pt x="7783831" y="5818216"/>
                </a:cubicBezTo>
                <a:cubicBezTo>
                  <a:pt x="7785735" y="5861396"/>
                  <a:pt x="7853045" y="5857586"/>
                  <a:pt x="7849870" y="5814406"/>
                </a:cubicBezTo>
                <a:close/>
                <a:moveTo>
                  <a:pt x="8116570" y="5941406"/>
                </a:moveTo>
                <a:cubicBezTo>
                  <a:pt x="8173720" y="5940136"/>
                  <a:pt x="8153400" y="5849966"/>
                  <a:pt x="8101331" y="5873461"/>
                </a:cubicBezTo>
                <a:cubicBezTo>
                  <a:pt x="8067040" y="5888066"/>
                  <a:pt x="8080375" y="5942676"/>
                  <a:pt x="8116570" y="5941406"/>
                </a:cubicBezTo>
                <a:close/>
                <a:moveTo>
                  <a:pt x="7861935" y="5952836"/>
                </a:moveTo>
                <a:cubicBezTo>
                  <a:pt x="7816215" y="5961091"/>
                  <a:pt x="7830185" y="6032211"/>
                  <a:pt x="7875270" y="6022686"/>
                </a:cubicBezTo>
                <a:cubicBezTo>
                  <a:pt x="7920990" y="6014431"/>
                  <a:pt x="7907020" y="5943311"/>
                  <a:pt x="7861935" y="5952836"/>
                </a:cubicBezTo>
                <a:close/>
                <a:moveTo>
                  <a:pt x="7971156" y="5795356"/>
                </a:moveTo>
                <a:cubicBezTo>
                  <a:pt x="7963535" y="5752811"/>
                  <a:pt x="7897495" y="5765511"/>
                  <a:pt x="7905750" y="5808056"/>
                </a:cubicBezTo>
                <a:cubicBezTo>
                  <a:pt x="7913370" y="5849966"/>
                  <a:pt x="7979410" y="5837266"/>
                  <a:pt x="7971156" y="5795356"/>
                </a:cubicBezTo>
                <a:close/>
                <a:moveTo>
                  <a:pt x="8103870" y="6023321"/>
                </a:moveTo>
                <a:cubicBezTo>
                  <a:pt x="8060056" y="6046816"/>
                  <a:pt x="8098790" y="6114761"/>
                  <a:pt x="8141335" y="6089996"/>
                </a:cubicBezTo>
                <a:cubicBezTo>
                  <a:pt x="8184515" y="6066501"/>
                  <a:pt x="8147050" y="5998556"/>
                  <a:pt x="8103870" y="6023321"/>
                </a:cubicBezTo>
                <a:close/>
                <a:moveTo>
                  <a:pt x="8310245" y="5656291"/>
                </a:moveTo>
                <a:cubicBezTo>
                  <a:pt x="8289925" y="5618191"/>
                  <a:pt x="8230870" y="5651211"/>
                  <a:pt x="8252460" y="5688676"/>
                </a:cubicBezTo>
                <a:cubicBezTo>
                  <a:pt x="8272781" y="5726776"/>
                  <a:pt x="8331835" y="5693756"/>
                  <a:pt x="8310245" y="5656291"/>
                </a:cubicBezTo>
                <a:close/>
                <a:moveTo>
                  <a:pt x="8328025" y="5868381"/>
                </a:moveTo>
                <a:cubicBezTo>
                  <a:pt x="8289290" y="5898861"/>
                  <a:pt x="8338820" y="5959186"/>
                  <a:pt x="8376285" y="5927436"/>
                </a:cubicBezTo>
                <a:cubicBezTo>
                  <a:pt x="8415020" y="5896956"/>
                  <a:pt x="8365490" y="5836631"/>
                  <a:pt x="8328025" y="5868381"/>
                </a:cubicBezTo>
                <a:close/>
                <a:moveTo>
                  <a:pt x="8341360" y="5808056"/>
                </a:moveTo>
                <a:cubicBezTo>
                  <a:pt x="8403590" y="5804246"/>
                  <a:pt x="8373110" y="5710266"/>
                  <a:pt x="8320406" y="5743286"/>
                </a:cubicBezTo>
                <a:cubicBezTo>
                  <a:pt x="8320406" y="5743286"/>
                  <a:pt x="8320406" y="5743286"/>
                  <a:pt x="8320406" y="5743286"/>
                </a:cubicBezTo>
                <a:cubicBezTo>
                  <a:pt x="8292465" y="5762336"/>
                  <a:pt x="8308340" y="5809326"/>
                  <a:pt x="8341360" y="5808056"/>
                </a:cubicBezTo>
                <a:close/>
                <a:moveTo>
                  <a:pt x="8201660" y="5714076"/>
                </a:moveTo>
                <a:cubicBezTo>
                  <a:pt x="8185150" y="5674706"/>
                  <a:pt x="8122920" y="5702011"/>
                  <a:pt x="8141335" y="5740746"/>
                </a:cubicBezTo>
                <a:cubicBezTo>
                  <a:pt x="8158481" y="5780751"/>
                  <a:pt x="8220075" y="5753446"/>
                  <a:pt x="8201660" y="5714076"/>
                </a:cubicBezTo>
                <a:close/>
                <a:moveTo>
                  <a:pt x="8218806" y="5950931"/>
                </a:moveTo>
                <a:cubicBezTo>
                  <a:pt x="8177531" y="5978871"/>
                  <a:pt x="8222615" y="6042371"/>
                  <a:pt x="8262620" y="6013796"/>
                </a:cubicBezTo>
                <a:cubicBezTo>
                  <a:pt x="8303260" y="5985856"/>
                  <a:pt x="8259445" y="5922356"/>
                  <a:pt x="8218806" y="5950931"/>
                </a:cubicBezTo>
                <a:close/>
                <a:moveTo>
                  <a:pt x="8232140" y="5879811"/>
                </a:moveTo>
                <a:cubicBezTo>
                  <a:pt x="8291831" y="5877906"/>
                  <a:pt x="8265795" y="5784561"/>
                  <a:pt x="8213725" y="5813771"/>
                </a:cubicBezTo>
                <a:cubicBezTo>
                  <a:pt x="8182610" y="5830916"/>
                  <a:pt x="8197850" y="5881081"/>
                  <a:pt x="8232140" y="5879811"/>
                </a:cubicBezTo>
                <a:close/>
                <a:moveTo>
                  <a:pt x="7611110" y="5964901"/>
                </a:moveTo>
                <a:cubicBezTo>
                  <a:pt x="7565390" y="5959821"/>
                  <a:pt x="7558406" y="6032211"/>
                  <a:pt x="7604760" y="6036021"/>
                </a:cubicBezTo>
                <a:cubicBezTo>
                  <a:pt x="7649845" y="6040466"/>
                  <a:pt x="7656831" y="5968711"/>
                  <a:pt x="7611110" y="5964901"/>
                </a:cubicBezTo>
                <a:close/>
                <a:moveTo>
                  <a:pt x="7439025" y="5350856"/>
                </a:moveTo>
                <a:cubicBezTo>
                  <a:pt x="7398385" y="5336886"/>
                  <a:pt x="7386320" y="5404831"/>
                  <a:pt x="7429500" y="5405466"/>
                </a:cubicBezTo>
                <a:cubicBezTo>
                  <a:pt x="7459981" y="5406736"/>
                  <a:pt x="7468870" y="5360381"/>
                  <a:pt x="7439025" y="5350856"/>
                </a:cubicBezTo>
                <a:close/>
                <a:moveTo>
                  <a:pt x="7385685" y="5516591"/>
                </a:moveTo>
                <a:cubicBezTo>
                  <a:pt x="7348856" y="5501351"/>
                  <a:pt x="7325995" y="5559136"/>
                  <a:pt x="7362825" y="5573741"/>
                </a:cubicBezTo>
                <a:cubicBezTo>
                  <a:pt x="7399656" y="5588981"/>
                  <a:pt x="7423150" y="5531196"/>
                  <a:pt x="7385685" y="5516591"/>
                </a:cubicBezTo>
                <a:close/>
                <a:moveTo>
                  <a:pt x="7458710" y="6138891"/>
                </a:moveTo>
                <a:cubicBezTo>
                  <a:pt x="7410450" y="6128096"/>
                  <a:pt x="7395210" y="6204931"/>
                  <a:pt x="7443470" y="6213821"/>
                </a:cubicBezTo>
                <a:cubicBezTo>
                  <a:pt x="7491731" y="6223981"/>
                  <a:pt x="7507606" y="6147781"/>
                  <a:pt x="7458710" y="6138891"/>
                </a:cubicBezTo>
                <a:close/>
                <a:moveTo>
                  <a:pt x="7329170" y="6103331"/>
                </a:moveTo>
                <a:cubicBezTo>
                  <a:pt x="7282815" y="6086186"/>
                  <a:pt x="7257415" y="6159846"/>
                  <a:pt x="7304406" y="6175086"/>
                </a:cubicBezTo>
                <a:cubicBezTo>
                  <a:pt x="7350125" y="6192231"/>
                  <a:pt x="7376160" y="6118571"/>
                  <a:pt x="7329170" y="6103331"/>
                </a:cubicBezTo>
                <a:close/>
                <a:moveTo>
                  <a:pt x="7297420" y="5512146"/>
                </a:moveTo>
                <a:cubicBezTo>
                  <a:pt x="7315200" y="5476586"/>
                  <a:pt x="7258685" y="5449281"/>
                  <a:pt x="7242175" y="5485476"/>
                </a:cubicBezTo>
                <a:cubicBezTo>
                  <a:pt x="7224395" y="5521036"/>
                  <a:pt x="7280275" y="5548341"/>
                  <a:pt x="7297420" y="5512146"/>
                </a:cubicBezTo>
                <a:close/>
                <a:moveTo>
                  <a:pt x="7486015" y="5944581"/>
                </a:moveTo>
                <a:cubicBezTo>
                  <a:pt x="7440931" y="5933786"/>
                  <a:pt x="7425056" y="6004271"/>
                  <a:pt x="7470140" y="6013796"/>
                </a:cubicBezTo>
                <a:cubicBezTo>
                  <a:pt x="7514590" y="6025226"/>
                  <a:pt x="7531735" y="5954106"/>
                  <a:pt x="7486015" y="5944581"/>
                </a:cubicBezTo>
                <a:close/>
                <a:moveTo>
                  <a:pt x="7364731" y="5908386"/>
                </a:moveTo>
                <a:cubicBezTo>
                  <a:pt x="7321550" y="5891876"/>
                  <a:pt x="7296785" y="5960456"/>
                  <a:pt x="7340600" y="5975696"/>
                </a:cubicBezTo>
                <a:cubicBezTo>
                  <a:pt x="7383781" y="5991571"/>
                  <a:pt x="7408545" y="5923626"/>
                  <a:pt x="7364731" y="5908386"/>
                </a:cubicBezTo>
                <a:close/>
                <a:moveTo>
                  <a:pt x="8413115" y="5589616"/>
                </a:moveTo>
                <a:cubicBezTo>
                  <a:pt x="8389620" y="5553421"/>
                  <a:pt x="8333740" y="5591521"/>
                  <a:pt x="8357870" y="5626446"/>
                </a:cubicBezTo>
                <a:cubicBezTo>
                  <a:pt x="8381365" y="5663276"/>
                  <a:pt x="8437245" y="5625176"/>
                  <a:pt x="8413115" y="5589616"/>
                </a:cubicBezTo>
                <a:close/>
                <a:moveTo>
                  <a:pt x="7696200" y="5783291"/>
                </a:moveTo>
                <a:cubicBezTo>
                  <a:pt x="7651750" y="5780116"/>
                  <a:pt x="7649845" y="5849966"/>
                  <a:pt x="7694295" y="5849331"/>
                </a:cubicBezTo>
                <a:cubicBezTo>
                  <a:pt x="7735570" y="5849966"/>
                  <a:pt x="7738110" y="5785196"/>
                  <a:pt x="7696200" y="5783291"/>
                </a:cubicBezTo>
                <a:close/>
                <a:moveTo>
                  <a:pt x="7724775" y="6150956"/>
                </a:moveTo>
                <a:cubicBezTo>
                  <a:pt x="7675245" y="6156036"/>
                  <a:pt x="7684135" y="6232871"/>
                  <a:pt x="7733031" y="6226521"/>
                </a:cubicBezTo>
                <a:cubicBezTo>
                  <a:pt x="7781925" y="6222076"/>
                  <a:pt x="7773670" y="6144606"/>
                  <a:pt x="7724775" y="6150956"/>
                </a:cubicBezTo>
                <a:close/>
                <a:moveTo>
                  <a:pt x="7638415" y="5408006"/>
                </a:moveTo>
                <a:cubicBezTo>
                  <a:pt x="7602856" y="5400386"/>
                  <a:pt x="7590790" y="5456266"/>
                  <a:pt x="7626985" y="5463251"/>
                </a:cubicBezTo>
                <a:lnTo>
                  <a:pt x="7626985" y="5463251"/>
                </a:lnTo>
                <a:cubicBezTo>
                  <a:pt x="7662545" y="5470871"/>
                  <a:pt x="7674610" y="5414991"/>
                  <a:pt x="7638415" y="5408006"/>
                </a:cubicBezTo>
                <a:close/>
                <a:moveTo>
                  <a:pt x="7578725" y="5768051"/>
                </a:moveTo>
                <a:cubicBezTo>
                  <a:pt x="7532370" y="5759161"/>
                  <a:pt x="7525385" y="5834091"/>
                  <a:pt x="7572375" y="5834091"/>
                </a:cubicBezTo>
                <a:cubicBezTo>
                  <a:pt x="7611745" y="5834726"/>
                  <a:pt x="7617460" y="5774401"/>
                  <a:pt x="7578725" y="5768051"/>
                </a:cubicBezTo>
                <a:close/>
                <a:moveTo>
                  <a:pt x="7736840" y="5967441"/>
                </a:moveTo>
                <a:cubicBezTo>
                  <a:pt x="7690485" y="5968711"/>
                  <a:pt x="7694295" y="6041736"/>
                  <a:pt x="7740015" y="6038561"/>
                </a:cubicBezTo>
                <a:cubicBezTo>
                  <a:pt x="7786370" y="6037291"/>
                  <a:pt x="7783195" y="5964901"/>
                  <a:pt x="7736840" y="5967441"/>
                </a:cubicBezTo>
                <a:close/>
                <a:moveTo>
                  <a:pt x="7591425" y="6155401"/>
                </a:moveTo>
                <a:cubicBezTo>
                  <a:pt x="7541895" y="6152226"/>
                  <a:pt x="7538720" y="6229696"/>
                  <a:pt x="7587615" y="6231601"/>
                </a:cubicBezTo>
                <a:cubicBezTo>
                  <a:pt x="7637145" y="6234141"/>
                  <a:pt x="7640956" y="6156671"/>
                  <a:pt x="7591425" y="6155401"/>
                </a:cubicBezTo>
                <a:close/>
                <a:moveTo>
                  <a:pt x="7247256" y="5858856"/>
                </a:moveTo>
                <a:cubicBezTo>
                  <a:pt x="7205981" y="5838536"/>
                  <a:pt x="7174231" y="5903941"/>
                  <a:pt x="7216775" y="5922991"/>
                </a:cubicBezTo>
                <a:cubicBezTo>
                  <a:pt x="7257415" y="5943946"/>
                  <a:pt x="7289165" y="5878541"/>
                  <a:pt x="7247256" y="5858856"/>
                </a:cubicBezTo>
                <a:close/>
                <a:moveTo>
                  <a:pt x="7557135" y="5417531"/>
                </a:moveTo>
                <a:cubicBezTo>
                  <a:pt x="7567931" y="5382606"/>
                  <a:pt x="7512685" y="5366731"/>
                  <a:pt x="7503160" y="5402291"/>
                </a:cubicBezTo>
                <a:cubicBezTo>
                  <a:pt x="7492365" y="5437216"/>
                  <a:pt x="7547610" y="5453091"/>
                  <a:pt x="7557135" y="5417531"/>
                </a:cubicBezTo>
                <a:close/>
                <a:moveTo>
                  <a:pt x="4747895" y="3863686"/>
                </a:moveTo>
                <a:cubicBezTo>
                  <a:pt x="4782820" y="3864321"/>
                  <a:pt x="4780280" y="3809076"/>
                  <a:pt x="4745990" y="3812251"/>
                </a:cubicBezTo>
                <a:cubicBezTo>
                  <a:pt x="4713605" y="3814156"/>
                  <a:pt x="4716145" y="3864321"/>
                  <a:pt x="4747895" y="3863686"/>
                </a:cubicBezTo>
                <a:close/>
                <a:moveTo>
                  <a:pt x="4721225" y="4012276"/>
                </a:moveTo>
                <a:cubicBezTo>
                  <a:pt x="4694555" y="4018626"/>
                  <a:pt x="4705350" y="4059901"/>
                  <a:pt x="4731385" y="4052281"/>
                </a:cubicBezTo>
                <a:cubicBezTo>
                  <a:pt x="4758055" y="4046566"/>
                  <a:pt x="4747260" y="4005291"/>
                  <a:pt x="4721225" y="4012276"/>
                </a:cubicBezTo>
                <a:close/>
                <a:moveTo>
                  <a:pt x="4753610" y="3786851"/>
                </a:moveTo>
                <a:cubicBezTo>
                  <a:pt x="4790440" y="3788756"/>
                  <a:pt x="4792345" y="3730971"/>
                  <a:pt x="4755515" y="3730336"/>
                </a:cubicBezTo>
                <a:cubicBezTo>
                  <a:pt x="4719320" y="3728431"/>
                  <a:pt x="4717415" y="3786216"/>
                  <a:pt x="4753610" y="3786851"/>
                </a:cubicBezTo>
                <a:close/>
                <a:moveTo>
                  <a:pt x="4721860" y="4115146"/>
                </a:moveTo>
                <a:cubicBezTo>
                  <a:pt x="4699000" y="4121496"/>
                  <a:pt x="4709160" y="4157056"/>
                  <a:pt x="4732020" y="4150706"/>
                </a:cubicBezTo>
                <a:cubicBezTo>
                  <a:pt x="4754880" y="4144356"/>
                  <a:pt x="4744720" y="4108161"/>
                  <a:pt x="4721860" y="4115146"/>
                </a:cubicBezTo>
                <a:close/>
                <a:moveTo>
                  <a:pt x="4636770" y="4238971"/>
                </a:moveTo>
                <a:cubicBezTo>
                  <a:pt x="4617085" y="4244686"/>
                  <a:pt x="4627245" y="4275801"/>
                  <a:pt x="4646295" y="4269451"/>
                </a:cubicBezTo>
                <a:cubicBezTo>
                  <a:pt x="4665980" y="4263736"/>
                  <a:pt x="4656455" y="4232621"/>
                  <a:pt x="4636770" y="4238971"/>
                </a:cubicBezTo>
                <a:close/>
                <a:moveTo>
                  <a:pt x="4652645" y="4135466"/>
                </a:moveTo>
                <a:cubicBezTo>
                  <a:pt x="4629785" y="4142451"/>
                  <a:pt x="4641215" y="4178011"/>
                  <a:pt x="4663440" y="4170391"/>
                </a:cubicBezTo>
                <a:cubicBezTo>
                  <a:pt x="4686300" y="4164041"/>
                  <a:pt x="4674870" y="4128481"/>
                  <a:pt x="4652645" y="4135466"/>
                </a:cubicBezTo>
                <a:close/>
                <a:moveTo>
                  <a:pt x="4697730" y="4220556"/>
                </a:moveTo>
                <a:cubicBezTo>
                  <a:pt x="4678045" y="4226271"/>
                  <a:pt x="4687570" y="4257386"/>
                  <a:pt x="4706620" y="4251036"/>
                </a:cubicBezTo>
                <a:cubicBezTo>
                  <a:pt x="4726940" y="4245321"/>
                  <a:pt x="4717415" y="4214206"/>
                  <a:pt x="4697730" y="4220556"/>
                </a:cubicBezTo>
                <a:close/>
                <a:moveTo>
                  <a:pt x="4655820" y="3924011"/>
                </a:moveTo>
                <a:cubicBezTo>
                  <a:pt x="4625975" y="3930361"/>
                  <a:pt x="4637405" y="3976716"/>
                  <a:pt x="4666615" y="3969096"/>
                </a:cubicBezTo>
                <a:cubicBezTo>
                  <a:pt x="4695825" y="3963381"/>
                  <a:pt x="4685030" y="3917026"/>
                  <a:pt x="4655820" y="3924011"/>
                </a:cubicBezTo>
                <a:close/>
                <a:moveTo>
                  <a:pt x="4744085" y="3906231"/>
                </a:moveTo>
                <a:cubicBezTo>
                  <a:pt x="4714240" y="3911311"/>
                  <a:pt x="4722495" y="3957666"/>
                  <a:pt x="4752340" y="3951951"/>
                </a:cubicBezTo>
                <a:cubicBezTo>
                  <a:pt x="4782185" y="3947506"/>
                  <a:pt x="4773930" y="3900516"/>
                  <a:pt x="4744085" y="3906231"/>
                </a:cubicBezTo>
                <a:close/>
                <a:moveTo>
                  <a:pt x="4800600" y="3993861"/>
                </a:moveTo>
                <a:cubicBezTo>
                  <a:pt x="4773930" y="3998941"/>
                  <a:pt x="4782820" y="4040851"/>
                  <a:pt x="4808855" y="4034501"/>
                </a:cubicBezTo>
                <a:cubicBezTo>
                  <a:pt x="4835525" y="4029421"/>
                  <a:pt x="4827270" y="3988146"/>
                  <a:pt x="4800600" y="3993861"/>
                </a:cubicBezTo>
                <a:close/>
                <a:moveTo>
                  <a:pt x="4820285" y="4185631"/>
                </a:moveTo>
                <a:cubicBezTo>
                  <a:pt x="4799965" y="4190711"/>
                  <a:pt x="4808855" y="4221826"/>
                  <a:pt x="4828540" y="4216111"/>
                </a:cubicBezTo>
                <a:cubicBezTo>
                  <a:pt x="4848225" y="4211666"/>
                  <a:pt x="4840605" y="4180551"/>
                  <a:pt x="4820285" y="4185631"/>
                </a:cubicBezTo>
                <a:close/>
                <a:moveTo>
                  <a:pt x="4812665" y="3918931"/>
                </a:moveTo>
                <a:cubicBezTo>
                  <a:pt x="4815840" y="3948776"/>
                  <a:pt x="4862830" y="3943696"/>
                  <a:pt x="4859020" y="3913216"/>
                </a:cubicBezTo>
                <a:cubicBezTo>
                  <a:pt x="4855845" y="3883371"/>
                  <a:pt x="4808855" y="3889086"/>
                  <a:pt x="4812665" y="3918931"/>
                </a:cubicBezTo>
                <a:close/>
                <a:moveTo>
                  <a:pt x="4813935" y="4109431"/>
                </a:moveTo>
                <a:cubicBezTo>
                  <a:pt x="4808220" y="4086571"/>
                  <a:pt x="4772025" y="4095461"/>
                  <a:pt x="4778375" y="4118321"/>
                </a:cubicBezTo>
                <a:cubicBezTo>
                  <a:pt x="4784090" y="4141816"/>
                  <a:pt x="4820285" y="4132291"/>
                  <a:pt x="4813935" y="4109431"/>
                </a:cubicBezTo>
                <a:close/>
                <a:moveTo>
                  <a:pt x="4819650" y="3833206"/>
                </a:moveTo>
                <a:cubicBezTo>
                  <a:pt x="4819650" y="3847176"/>
                  <a:pt x="4831715" y="3858606"/>
                  <a:pt x="4845685" y="3858606"/>
                </a:cubicBezTo>
                <a:cubicBezTo>
                  <a:pt x="4879340" y="3858606"/>
                  <a:pt x="4878705" y="3805901"/>
                  <a:pt x="4845050" y="3807171"/>
                </a:cubicBezTo>
                <a:cubicBezTo>
                  <a:pt x="4830445" y="3807806"/>
                  <a:pt x="4819015" y="3819236"/>
                  <a:pt x="4819650" y="3833206"/>
                </a:cubicBezTo>
                <a:close/>
                <a:moveTo>
                  <a:pt x="4758690" y="4202776"/>
                </a:moveTo>
                <a:cubicBezTo>
                  <a:pt x="4739005" y="4207856"/>
                  <a:pt x="4747895" y="4239606"/>
                  <a:pt x="4767580" y="4233256"/>
                </a:cubicBezTo>
                <a:cubicBezTo>
                  <a:pt x="4787265" y="4228176"/>
                  <a:pt x="4779010" y="4196426"/>
                  <a:pt x="4758690" y="4202776"/>
                </a:cubicBezTo>
                <a:close/>
                <a:moveTo>
                  <a:pt x="4860290" y="3794471"/>
                </a:moveTo>
                <a:cubicBezTo>
                  <a:pt x="4894580" y="3795106"/>
                  <a:pt x="4897755" y="3741766"/>
                  <a:pt x="4863465" y="3737956"/>
                </a:cubicBezTo>
                <a:cubicBezTo>
                  <a:pt x="4827270" y="3732876"/>
                  <a:pt x="4820285" y="3790026"/>
                  <a:pt x="4857115" y="3793836"/>
                </a:cubicBezTo>
                <a:lnTo>
                  <a:pt x="4857115" y="3793836"/>
                </a:lnTo>
                <a:cubicBezTo>
                  <a:pt x="4857750" y="3794471"/>
                  <a:pt x="4859020" y="3794471"/>
                  <a:pt x="4860290" y="3794471"/>
                </a:cubicBezTo>
                <a:close/>
                <a:moveTo>
                  <a:pt x="4583430" y="4158326"/>
                </a:moveTo>
                <a:cubicBezTo>
                  <a:pt x="4560570" y="4165946"/>
                  <a:pt x="4573270" y="4200871"/>
                  <a:pt x="4595495" y="4193251"/>
                </a:cubicBezTo>
                <a:cubicBezTo>
                  <a:pt x="4618355" y="4185631"/>
                  <a:pt x="4606290" y="4150071"/>
                  <a:pt x="4583430" y="4158326"/>
                </a:cubicBezTo>
                <a:close/>
                <a:moveTo>
                  <a:pt x="4396105" y="4322791"/>
                </a:moveTo>
                <a:cubicBezTo>
                  <a:pt x="4377055" y="4329776"/>
                  <a:pt x="4388485" y="4360256"/>
                  <a:pt x="4407535" y="4352636"/>
                </a:cubicBezTo>
                <a:cubicBezTo>
                  <a:pt x="4426585" y="4345651"/>
                  <a:pt x="4415790" y="4315806"/>
                  <a:pt x="4396105" y="4322791"/>
                </a:cubicBezTo>
                <a:close/>
                <a:moveTo>
                  <a:pt x="4460875" y="4242146"/>
                </a:moveTo>
                <a:cubicBezTo>
                  <a:pt x="4483100" y="4233891"/>
                  <a:pt x="4469765" y="4198966"/>
                  <a:pt x="4447540" y="4207856"/>
                </a:cubicBezTo>
                <a:cubicBezTo>
                  <a:pt x="4425315" y="4216111"/>
                  <a:pt x="4439285" y="4251036"/>
                  <a:pt x="4460875" y="4242146"/>
                </a:cubicBezTo>
                <a:close/>
                <a:moveTo>
                  <a:pt x="4455795" y="4301201"/>
                </a:moveTo>
                <a:cubicBezTo>
                  <a:pt x="4436110" y="4308186"/>
                  <a:pt x="4447540" y="4338666"/>
                  <a:pt x="4466590" y="4331046"/>
                </a:cubicBezTo>
                <a:cubicBezTo>
                  <a:pt x="4486275" y="4324061"/>
                  <a:pt x="4475480" y="4293581"/>
                  <a:pt x="4455795" y="4301201"/>
                </a:cubicBezTo>
                <a:close/>
                <a:moveTo>
                  <a:pt x="4337050" y="4345651"/>
                </a:moveTo>
                <a:cubicBezTo>
                  <a:pt x="4317365" y="4352636"/>
                  <a:pt x="4329430" y="4383116"/>
                  <a:pt x="4348480" y="4375496"/>
                </a:cubicBezTo>
                <a:cubicBezTo>
                  <a:pt x="4367530" y="4368511"/>
                  <a:pt x="4356100" y="4338031"/>
                  <a:pt x="4337050" y="4345651"/>
                </a:cubicBezTo>
                <a:close/>
                <a:moveTo>
                  <a:pt x="4516120" y="4097366"/>
                </a:moveTo>
                <a:cubicBezTo>
                  <a:pt x="4507230" y="4071966"/>
                  <a:pt x="4467225" y="4086571"/>
                  <a:pt x="4477385" y="4111971"/>
                </a:cubicBezTo>
                <a:cubicBezTo>
                  <a:pt x="4486275" y="4137371"/>
                  <a:pt x="4525645" y="4122131"/>
                  <a:pt x="4516120" y="4097366"/>
                </a:cubicBezTo>
                <a:close/>
                <a:moveTo>
                  <a:pt x="4394835" y="4268816"/>
                </a:moveTo>
                <a:cubicBezTo>
                  <a:pt x="4417060" y="4259926"/>
                  <a:pt x="4402455" y="4225636"/>
                  <a:pt x="4380865" y="4235161"/>
                </a:cubicBezTo>
                <a:cubicBezTo>
                  <a:pt x="4358640" y="4243416"/>
                  <a:pt x="4372610" y="4277706"/>
                  <a:pt x="4394835" y="4268816"/>
                </a:cubicBezTo>
                <a:close/>
                <a:moveTo>
                  <a:pt x="4338955" y="4145626"/>
                </a:moveTo>
                <a:cubicBezTo>
                  <a:pt x="4314190" y="4155786"/>
                  <a:pt x="4331335" y="4195156"/>
                  <a:pt x="4355465" y="4183726"/>
                </a:cubicBezTo>
                <a:cubicBezTo>
                  <a:pt x="4380865" y="4173566"/>
                  <a:pt x="4363720" y="4134831"/>
                  <a:pt x="4338955" y="4145626"/>
                </a:cubicBezTo>
                <a:close/>
                <a:moveTo>
                  <a:pt x="4648835" y="3788121"/>
                </a:moveTo>
                <a:cubicBezTo>
                  <a:pt x="4686300" y="3788756"/>
                  <a:pt x="4685030" y="3729066"/>
                  <a:pt x="4646930" y="3731606"/>
                </a:cubicBezTo>
                <a:cubicBezTo>
                  <a:pt x="4612005" y="3732876"/>
                  <a:pt x="4613275" y="3788756"/>
                  <a:pt x="4648835" y="3788121"/>
                </a:cubicBezTo>
                <a:close/>
                <a:moveTo>
                  <a:pt x="4516120" y="4279611"/>
                </a:moveTo>
                <a:cubicBezTo>
                  <a:pt x="4496435" y="4285961"/>
                  <a:pt x="4507230" y="4316441"/>
                  <a:pt x="4526915" y="4309456"/>
                </a:cubicBezTo>
                <a:cubicBezTo>
                  <a:pt x="4545965" y="4303106"/>
                  <a:pt x="4535170" y="4272626"/>
                  <a:pt x="4516120" y="4279611"/>
                </a:cubicBezTo>
                <a:close/>
                <a:moveTo>
                  <a:pt x="5712460" y="4567266"/>
                </a:moveTo>
                <a:cubicBezTo>
                  <a:pt x="5695950" y="4579966"/>
                  <a:pt x="5692775" y="4604096"/>
                  <a:pt x="5706110" y="4620606"/>
                </a:cubicBezTo>
                <a:lnTo>
                  <a:pt x="5706110" y="4620606"/>
                </a:lnTo>
                <a:cubicBezTo>
                  <a:pt x="5735955" y="4659976"/>
                  <a:pt x="5796915" y="4612351"/>
                  <a:pt x="5766435" y="4573616"/>
                </a:cubicBezTo>
                <a:cubicBezTo>
                  <a:pt x="5753100" y="4557741"/>
                  <a:pt x="5728970" y="4554566"/>
                  <a:pt x="5712460" y="4567266"/>
                </a:cubicBezTo>
                <a:close/>
                <a:moveTo>
                  <a:pt x="4655820" y="3875116"/>
                </a:moveTo>
                <a:cubicBezTo>
                  <a:pt x="4688840" y="3870036"/>
                  <a:pt x="4680585" y="3818601"/>
                  <a:pt x="4647565" y="3824316"/>
                </a:cubicBezTo>
                <a:cubicBezTo>
                  <a:pt x="4614545" y="3828761"/>
                  <a:pt x="4622800" y="3880831"/>
                  <a:pt x="4655820" y="3875116"/>
                </a:cubicBezTo>
                <a:close/>
                <a:moveTo>
                  <a:pt x="4629150" y="4059266"/>
                </a:moveTo>
                <a:cubicBezTo>
                  <a:pt x="4636770" y="4085301"/>
                  <a:pt x="4676775" y="4073236"/>
                  <a:pt x="4669155" y="4047201"/>
                </a:cubicBezTo>
                <a:cubicBezTo>
                  <a:pt x="4661535" y="4021801"/>
                  <a:pt x="4620895" y="4033866"/>
                  <a:pt x="4629150" y="4059266"/>
                </a:cubicBezTo>
                <a:close/>
                <a:moveTo>
                  <a:pt x="4576445" y="4258656"/>
                </a:moveTo>
                <a:cubicBezTo>
                  <a:pt x="4556760" y="4265006"/>
                  <a:pt x="4566920" y="4295486"/>
                  <a:pt x="4586605" y="4288501"/>
                </a:cubicBezTo>
                <a:cubicBezTo>
                  <a:pt x="4605655" y="4282786"/>
                  <a:pt x="4595495" y="4252306"/>
                  <a:pt x="4576445" y="4258656"/>
                </a:cubicBezTo>
                <a:close/>
                <a:moveTo>
                  <a:pt x="4515485" y="4182456"/>
                </a:moveTo>
                <a:cubicBezTo>
                  <a:pt x="4492625" y="4190076"/>
                  <a:pt x="4505960" y="4225636"/>
                  <a:pt x="4528185" y="4216746"/>
                </a:cubicBezTo>
                <a:cubicBezTo>
                  <a:pt x="4550410" y="4209126"/>
                  <a:pt x="4537710" y="4174201"/>
                  <a:pt x="4515485" y="4182456"/>
                </a:cubicBezTo>
                <a:close/>
                <a:moveTo>
                  <a:pt x="4578985" y="4097366"/>
                </a:moveTo>
                <a:cubicBezTo>
                  <a:pt x="4605020" y="4089111"/>
                  <a:pt x="4591050" y="4049106"/>
                  <a:pt x="4565650" y="4057996"/>
                </a:cubicBezTo>
                <a:cubicBezTo>
                  <a:pt x="4539615" y="4066251"/>
                  <a:pt x="4553585" y="4106256"/>
                  <a:pt x="4578985" y="4097366"/>
                </a:cubicBezTo>
                <a:close/>
                <a:moveTo>
                  <a:pt x="4884420" y="4092921"/>
                </a:moveTo>
                <a:cubicBezTo>
                  <a:pt x="4879340" y="4069426"/>
                  <a:pt x="4843145" y="4077681"/>
                  <a:pt x="4848860" y="4101176"/>
                </a:cubicBezTo>
                <a:cubicBezTo>
                  <a:pt x="4853305" y="4124671"/>
                  <a:pt x="4889500" y="4116416"/>
                  <a:pt x="4884420" y="4092921"/>
                </a:cubicBezTo>
                <a:close/>
                <a:moveTo>
                  <a:pt x="5352415" y="4140546"/>
                </a:moveTo>
                <a:cubicBezTo>
                  <a:pt x="5337175" y="4154516"/>
                  <a:pt x="5335905" y="4178646"/>
                  <a:pt x="5349875" y="4194521"/>
                </a:cubicBezTo>
                <a:lnTo>
                  <a:pt x="5349875" y="4194521"/>
                </a:lnTo>
                <a:cubicBezTo>
                  <a:pt x="5382895" y="4231351"/>
                  <a:pt x="5440045" y="4179281"/>
                  <a:pt x="5406390" y="4143086"/>
                </a:cubicBezTo>
                <a:cubicBezTo>
                  <a:pt x="5392420" y="4127211"/>
                  <a:pt x="5368290" y="4126576"/>
                  <a:pt x="5352415" y="4140546"/>
                </a:cubicBezTo>
                <a:close/>
                <a:moveTo>
                  <a:pt x="5534025" y="4085301"/>
                </a:moveTo>
                <a:cubicBezTo>
                  <a:pt x="5528945" y="4080221"/>
                  <a:pt x="5522595" y="4077681"/>
                  <a:pt x="5516245" y="4077046"/>
                </a:cubicBezTo>
                <a:cubicBezTo>
                  <a:pt x="5527675" y="4077681"/>
                  <a:pt x="5539105" y="4070696"/>
                  <a:pt x="5544820" y="4052916"/>
                </a:cubicBezTo>
                <a:cubicBezTo>
                  <a:pt x="5555615" y="4054186"/>
                  <a:pt x="5566410" y="4049106"/>
                  <a:pt x="5572125" y="4039581"/>
                </a:cubicBezTo>
                <a:cubicBezTo>
                  <a:pt x="5574665" y="4042756"/>
                  <a:pt x="5577205" y="4045296"/>
                  <a:pt x="5581015" y="4046566"/>
                </a:cubicBezTo>
                <a:cubicBezTo>
                  <a:pt x="5558790" y="4045931"/>
                  <a:pt x="5555615" y="4080221"/>
                  <a:pt x="5578475" y="4082761"/>
                </a:cubicBezTo>
                <a:lnTo>
                  <a:pt x="5578475" y="4082761"/>
                </a:lnTo>
                <a:cubicBezTo>
                  <a:pt x="5593080" y="4085301"/>
                  <a:pt x="5605145" y="4067521"/>
                  <a:pt x="5596255" y="4054821"/>
                </a:cubicBezTo>
                <a:cubicBezTo>
                  <a:pt x="5602605" y="4056726"/>
                  <a:pt x="5610225" y="4054821"/>
                  <a:pt x="5614670" y="4050376"/>
                </a:cubicBezTo>
                <a:cubicBezTo>
                  <a:pt x="5653405" y="4057361"/>
                  <a:pt x="5648960" y="3992591"/>
                  <a:pt x="5611495" y="4005926"/>
                </a:cubicBezTo>
                <a:cubicBezTo>
                  <a:pt x="5601335" y="3993861"/>
                  <a:pt x="5580380" y="3995131"/>
                  <a:pt x="5571490" y="4008466"/>
                </a:cubicBezTo>
                <a:cubicBezTo>
                  <a:pt x="5568315" y="4004021"/>
                  <a:pt x="5564505" y="4000211"/>
                  <a:pt x="5559425" y="3998306"/>
                </a:cubicBezTo>
                <a:cubicBezTo>
                  <a:pt x="5560695" y="3983066"/>
                  <a:pt x="5544185" y="3969731"/>
                  <a:pt x="5529580" y="3975446"/>
                </a:cubicBezTo>
                <a:cubicBezTo>
                  <a:pt x="5525770" y="3955126"/>
                  <a:pt x="5496560" y="3949411"/>
                  <a:pt x="5484495" y="3965921"/>
                </a:cubicBezTo>
                <a:cubicBezTo>
                  <a:pt x="5481320" y="3946236"/>
                  <a:pt x="5455285" y="3936076"/>
                  <a:pt x="5440045" y="3948776"/>
                </a:cubicBezTo>
                <a:cubicBezTo>
                  <a:pt x="5444490" y="3896071"/>
                  <a:pt x="5363210" y="3922106"/>
                  <a:pt x="5396865" y="3962746"/>
                </a:cubicBezTo>
                <a:cubicBezTo>
                  <a:pt x="5387340" y="3975446"/>
                  <a:pt x="5389880" y="3993226"/>
                  <a:pt x="5400675" y="4003386"/>
                </a:cubicBezTo>
                <a:cubicBezTo>
                  <a:pt x="5391785" y="4009101"/>
                  <a:pt x="5385435" y="4019896"/>
                  <a:pt x="5385435" y="4030056"/>
                </a:cubicBezTo>
                <a:cubicBezTo>
                  <a:pt x="5350510" y="4010371"/>
                  <a:pt x="5314315" y="4060536"/>
                  <a:pt x="5344795" y="4087841"/>
                </a:cubicBezTo>
                <a:cubicBezTo>
                  <a:pt x="5366385" y="4109431"/>
                  <a:pt x="5406390" y="4091016"/>
                  <a:pt x="5404485" y="4061171"/>
                </a:cubicBezTo>
                <a:cubicBezTo>
                  <a:pt x="5410835" y="4064346"/>
                  <a:pt x="5417820" y="4064981"/>
                  <a:pt x="5424805" y="4063711"/>
                </a:cubicBezTo>
                <a:cubicBezTo>
                  <a:pt x="5427980" y="4066886"/>
                  <a:pt x="5432425" y="4068791"/>
                  <a:pt x="5437505" y="4068791"/>
                </a:cubicBezTo>
                <a:cubicBezTo>
                  <a:pt x="5453380" y="4069426"/>
                  <a:pt x="5461635" y="4048471"/>
                  <a:pt x="5450840" y="4037676"/>
                </a:cubicBezTo>
                <a:cubicBezTo>
                  <a:pt x="5452110" y="4031961"/>
                  <a:pt x="5452110" y="4026881"/>
                  <a:pt x="5450205" y="4021166"/>
                </a:cubicBezTo>
                <a:cubicBezTo>
                  <a:pt x="5459730" y="4018626"/>
                  <a:pt x="5466080" y="4008466"/>
                  <a:pt x="5464175" y="3998306"/>
                </a:cubicBezTo>
                <a:cubicBezTo>
                  <a:pt x="5469890" y="3996401"/>
                  <a:pt x="5475605" y="3993226"/>
                  <a:pt x="5478780" y="3987511"/>
                </a:cubicBezTo>
                <a:cubicBezTo>
                  <a:pt x="5481320" y="3998306"/>
                  <a:pt x="5492115" y="4007196"/>
                  <a:pt x="5503545" y="4007196"/>
                </a:cubicBezTo>
                <a:cubicBezTo>
                  <a:pt x="5501640" y="4010371"/>
                  <a:pt x="5501005" y="4014181"/>
                  <a:pt x="5501640" y="4017356"/>
                </a:cubicBezTo>
                <a:cubicBezTo>
                  <a:pt x="5465445" y="4037676"/>
                  <a:pt x="5488940" y="4072601"/>
                  <a:pt x="5513070" y="4075776"/>
                </a:cubicBezTo>
                <a:cubicBezTo>
                  <a:pt x="5491480" y="4075776"/>
                  <a:pt x="5470525" y="4098001"/>
                  <a:pt x="5480685" y="4120861"/>
                </a:cubicBezTo>
                <a:cubicBezTo>
                  <a:pt x="5476240" y="4118321"/>
                  <a:pt x="5471160" y="4116416"/>
                  <a:pt x="5465445" y="4116416"/>
                </a:cubicBezTo>
                <a:cubicBezTo>
                  <a:pt x="5470525" y="4081491"/>
                  <a:pt x="5415915" y="4098636"/>
                  <a:pt x="5440045" y="4124036"/>
                </a:cubicBezTo>
                <a:cubicBezTo>
                  <a:pt x="5384165" y="4185631"/>
                  <a:pt x="5514975" y="4218651"/>
                  <a:pt x="5495290" y="4138006"/>
                </a:cubicBezTo>
                <a:cubicBezTo>
                  <a:pt x="5530215" y="4158961"/>
                  <a:pt x="5563870" y="4110066"/>
                  <a:pt x="5534025" y="4085301"/>
                </a:cubicBezTo>
                <a:close/>
                <a:moveTo>
                  <a:pt x="5446395" y="4244051"/>
                </a:moveTo>
                <a:cubicBezTo>
                  <a:pt x="5408295" y="4275801"/>
                  <a:pt x="5459730" y="4334856"/>
                  <a:pt x="5496560" y="4301201"/>
                </a:cubicBezTo>
                <a:cubicBezTo>
                  <a:pt x="5534025" y="4270086"/>
                  <a:pt x="5483225" y="4211031"/>
                  <a:pt x="5446395" y="4244051"/>
                </a:cubicBezTo>
                <a:close/>
                <a:moveTo>
                  <a:pt x="5323840" y="4102446"/>
                </a:moveTo>
                <a:cubicBezTo>
                  <a:pt x="5303520" y="4103716"/>
                  <a:pt x="5305425" y="4135466"/>
                  <a:pt x="5325745" y="4134196"/>
                </a:cubicBezTo>
                <a:cubicBezTo>
                  <a:pt x="5346065" y="4132926"/>
                  <a:pt x="5344160" y="4100541"/>
                  <a:pt x="5323840" y="4102446"/>
                </a:cubicBezTo>
                <a:close/>
                <a:moveTo>
                  <a:pt x="5387340" y="4098636"/>
                </a:moveTo>
                <a:cubicBezTo>
                  <a:pt x="5367020" y="4099271"/>
                  <a:pt x="5367655" y="4131656"/>
                  <a:pt x="5388610" y="4130386"/>
                </a:cubicBezTo>
                <a:cubicBezTo>
                  <a:pt x="5409565" y="4130386"/>
                  <a:pt x="5407660" y="4098001"/>
                  <a:pt x="5387340" y="4098636"/>
                </a:cubicBezTo>
                <a:close/>
                <a:moveTo>
                  <a:pt x="5220970" y="4030056"/>
                </a:moveTo>
                <a:cubicBezTo>
                  <a:pt x="5196840" y="4030691"/>
                  <a:pt x="5198745" y="4068156"/>
                  <a:pt x="5222875" y="4066886"/>
                </a:cubicBezTo>
                <a:cubicBezTo>
                  <a:pt x="5247005" y="4066251"/>
                  <a:pt x="5245100" y="4028786"/>
                  <a:pt x="5220970" y="4030056"/>
                </a:cubicBezTo>
                <a:close/>
                <a:moveTo>
                  <a:pt x="5311775" y="4042756"/>
                </a:moveTo>
                <a:cubicBezTo>
                  <a:pt x="5288280" y="4000846"/>
                  <a:pt x="5215890" y="4054821"/>
                  <a:pt x="5255260" y="4093556"/>
                </a:cubicBezTo>
                <a:cubicBezTo>
                  <a:pt x="5288280" y="4128481"/>
                  <a:pt x="5342890" y="4078316"/>
                  <a:pt x="5311775" y="4042756"/>
                </a:cubicBezTo>
                <a:close/>
                <a:moveTo>
                  <a:pt x="5260340" y="4106891"/>
                </a:moveTo>
                <a:cubicBezTo>
                  <a:pt x="5239385" y="4108161"/>
                  <a:pt x="5243195" y="4140546"/>
                  <a:pt x="5263515" y="4138641"/>
                </a:cubicBezTo>
                <a:lnTo>
                  <a:pt x="5263515" y="4138641"/>
                </a:lnTo>
                <a:cubicBezTo>
                  <a:pt x="5283835" y="4137371"/>
                  <a:pt x="5280660" y="4104986"/>
                  <a:pt x="5260340" y="4106891"/>
                </a:cubicBezTo>
                <a:close/>
                <a:moveTo>
                  <a:pt x="5732780" y="4475826"/>
                </a:moveTo>
                <a:cubicBezTo>
                  <a:pt x="5797550" y="4471381"/>
                  <a:pt x="5761355" y="4373591"/>
                  <a:pt x="5709285" y="4413596"/>
                </a:cubicBezTo>
                <a:cubicBezTo>
                  <a:pt x="5684520" y="4433916"/>
                  <a:pt x="5701030" y="4477096"/>
                  <a:pt x="5732780" y="4475826"/>
                </a:cubicBezTo>
                <a:close/>
                <a:moveTo>
                  <a:pt x="5716270" y="4252941"/>
                </a:moveTo>
                <a:cubicBezTo>
                  <a:pt x="5685790" y="4222461"/>
                  <a:pt x="5638800" y="4270721"/>
                  <a:pt x="5669915" y="4300566"/>
                </a:cubicBezTo>
                <a:cubicBezTo>
                  <a:pt x="5700395" y="4331046"/>
                  <a:pt x="5747385" y="4282151"/>
                  <a:pt x="5716270" y="4252941"/>
                </a:cubicBezTo>
                <a:close/>
                <a:moveTo>
                  <a:pt x="5196205" y="4113876"/>
                </a:moveTo>
                <a:cubicBezTo>
                  <a:pt x="5175885" y="4115781"/>
                  <a:pt x="5179695" y="4148166"/>
                  <a:pt x="5200015" y="4145626"/>
                </a:cubicBezTo>
                <a:cubicBezTo>
                  <a:pt x="5220970" y="4143086"/>
                  <a:pt x="5217160" y="4110701"/>
                  <a:pt x="5196205" y="4113876"/>
                </a:cubicBezTo>
                <a:close/>
                <a:moveTo>
                  <a:pt x="5555615" y="4282151"/>
                </a:moveTo>
                <a:cubicBezTo>
                  <a:pt x="5621655" y="4277706"/>
                  <a:pt x="5582285" y="4178011"/>
                  <a:pt x="5530850" y="4220556"/>
                </a:cubicBezTo>
                <a:cubicBezTo>
                  <a:pt x="5507990" y="4241511"/>
                  <a:pt x="5525135" y="4283421"/>
                  <a:pt x="5555615" y="4282151"/>
                </a:cubicBezTo>
                <a:close/>
                <a:moveTo>
                  <a:pt x="5626100" y="4458046"/>
                </a:moveTo>
                <a:cubicBezTo>
                  <a:pt x="5586730" y="4488526"/>
                  <a:pt x="5635625" y="4548851"/>
                  <a:pt x="5673725" y="4517736"/>
                </a:cubicBezTo>
                <a:cubicBezTo>
                  <a:pt x="5712460" y="4487256"/>
                  <a:pt x="5664200" y="4426296"/>
                  <a:pt x="5626100" y="4458046"/>
                </a:cubicBezTo>
                <a:close/>
                <a:moveTo>
                  <a:pt x="5537200" y="4350096"/>
                </a:moveTo>
                <a:cubicBezTo>
                  <a:pt x="5498465" y="4381211"/>
                  <a:pt x="5548630" y="4440901"/>
                  <a:pt x="5586095" y="4408516"/>
                </a:cubicBezTo>
                <a:cubicBezTo>
                  <a:pt x="5624830" y="4378036"/>
                  <a:pt x="5574665" y="4317711"/>
                  <a:pt x="5537200" y="4350096"/>
                </a:cubicBezTo>
                <a:close/>
                <a:moveTo>
                  <a:pt x="5645150" y="4378036"/>
                </a:moveTo>
                <a:cubicBezTo>
                  <a:pt x="5710555" y="4373591"/>
                  <a:pt x="5673090" y="4275166"/>
                  <a:pt x="5621020" y="4315806"/>
                </a:cubicBezTo>
                <a:cubicBezTo>
                  <a:pt x="5596890" y="4336761"/>
                  <a:pt x="5614035" y="4379306"/>
                  <a:pt x="5645150" y="4378036"/>
                </a:cubicBezTo>
                <a:close/>
                <a:moveTo>
                  <a:pt x="5626100" y="4167851"/>
                </a:moveTo>
                <a:cubicBezTo>
                  <a:pt x="5594985" y="4138006"/>
                  <a:pt x="5549265" y="4188171"/>
                  <a:pt x="5581015" y="4216746"/>
                </a:cubicBezTo>
                <a:cubicBezTo>
                  <a:pt x="5612765" y="4245956"/>
                  <a:pt x="5658485" y="4196426"/>
                  <a:pt x="5626100" y="4167851"/>
                </a:cubicBezTo>
                <a:close/>
                <a:moveTo>
                  <a:pt x="5013325" y="3929726"/>
                </a:moveTo>
                <a:cubicBezTo>
                  <a:pt x="5043805" y="3930361"/>
                  <a:pt x="5043805" y="3882736"/>
                  <a:pt x="5013325" y="3883371"/>
                </a:cubicBezTo>
                <a:cubicBezTo>
                  <a:pt x="4982845" y="3882736"/>
                  <a:pt x="4982845" y="3929726"/>
                  <a:pt x="5013325" y="3929726"/>
                </a:cubicBezTo>
                <a:close/>
                <a:moveTo>
                  <a:pt x="4961255" y="3967826"/>
                </a:moveTo>
                <a:cubicBezTo>
                  <a:pt x="4933950" y="3970366"/>
                  <a:pt x="4939030" y="4012911"/>
                  <a:pt x="4966335" y="4009101"/>
                </a:cubicBezTo>
                <a:cubicBezTo>
                  <a:pt x="4993005" y="4006561"/>
                  <a:pt x="4987925" y="3964651"/>
                  <a:pt x="4961255" y="3967826"/>
                </a:cubicBezTo>
                <a:close/>
                <a:moveTo>
                  <a:pt x="5007610" y="4088476"/>
                </a:moveTo>
                <a:cubicBezTo>
                  <a:pt x="5033010" y="4088476"/>
                  <a:pt x="5029835" y="4047836"/>
                  <a:pt x="5005070" y="4052281"/>
                </a:cubicBezTo>
                <a:cubicBezTo>
                  <a:pt x="4982845" y="4055456"/>
                  <a:pt x="4986020" y="4089111"/>
                  <a:pt x="5007610" y="4088476"/>
                </a:cubicBezTo>
                <a:close/>
                <a:moveTo>
                  <a:pt x="4882515" y="4170391"/>
                </a:moveTo>
                <a:cubicBezTo>
                  <a:pt x="4862195" y="4174836"/>
                  <a:pt x="4869815" y="4206586"/>
                  <a:pt x="4890135" y="4201506"/>
                </a:cubicBezTo>
                <a:cubicBezTo>
                  <a:pt x="4909820" y="4197061"/>
                  <a:pt x="4902200" y="4165311"/>
                  <a:pt x="4882515" y="4170391"/>
                </a:cubicBezTo>
                <a:close/>
                <a:moveTo>
                  <a:pt x="4944745" y="4156421"/>
                </a:moveTo>
                <a:cubicBezTo>
                  <a:pt x="4924425" y="4160231"/>
                  <a:pt x="4931410" y="4191981"/>
                  <a:pt x="4951730" y="4187536"/>
                </a:cubicBezTo>
                <a:cubicBezTo>
                  <a:pt x="4971415" y="4183091"/>
                  <a:pt x="4964430" y="4151341"/>
                  <a:pt x="4944745" y="4156421"/>
                </a:cubicBezTo>
                <a:close/>
                <a:moveTo>
                  <a:pt x="4880610" y="3979256"/>
                </a:moveTo>
                <a:cubicBezTo>
                  <a:pt x="4853940" y="3983066"/>
                  <a:pt x="4860925" y="4024976"/>
                  <a:pt x="4887595" y="4020531"/>
                </a:cubicBezTo>
                <a:cubicBezTo>
                  <a:pt x="4914265" y="4016721"/>
                  <a:pt x="4907280" y="3974811"/>
                  <a:pt x="4880610" y="3979256"/>
                </a:cubicBezTo>
                <a:close/>
                <a:moveTo>
                  <a:pt x="4940300" y="4100541"/>
                </a:moveTo>
                <a:cubicBezTo>
                  <a:pt x="4963795" y="4096731"/>
                  <a:pt x="4956810" y="4059901"/>
                  <a:pt x="4933315" y="4064346"/>
                </a:cubicBezTo>
                <a:cubicBezTo>
                  <a:pt x="4909820" y="4068791"/>
                  <a:pt x="4916805" y="4105621"/>
                  <a:pt x="4940300" y="4100541"/>
                </a:cubicBezTo>
                <a:close/>
                <a:moveTo>
                  <a:pt x="4923155" y="3885276"/>
                </a:moveTo>
                <a:cubicBezTo>
                  <a:pt x="4892675" y="3886546"/>
                  <a:pt x="4895850" y="3934171"/>
                  <a:pt x="4925695" y="3931631"/>
                </a:cubicBezTo>
                <a:cubicBezTo>
                  <a:pt x="4956175" y="3930361"/>
                  <a:pt x="4953000" y="3883371"/>
                  <a:pt x="4923155" y="3885276"/>
                </a:cubicBezTo>
                <a:close/>
                <a:moveTo>
                  <a:pt x="5076825" y="4042121"/>
                </a:moveTo>
                <a:cubicBezTo>
                  <a:pt x="5052695" y="4044661"/>
                  <a:pt x="5057775" y="4081491"/>
                  <a:pt x="5081270" y="4078316"/>
                </a:cubicBezTo>
                <a:cubicBezTo>
                  <a:pt x="5104765" y="4076411"/>
                  <a:pt x="5100320" y="4038946"/>
                  <a:pt x="5076825" y="4042121"/>
                </a:cubicBezTo>
                <a:close/>
                <a:moveTo>
                  <a:pt x="5125085" y="3910676"/>
                </a:moveTo>
                <a:cubicBezTo>
                  <a:pt x="5125720" y="3902421"/>
                  <a:pt x="5121275" y="3894801"/>
                  <a:pt x="5114925" y="3890356"/>
                </a:cubicBezTo>
                <a:cubicBezTo>
                  <a:pt x="5116195" y="3887181"/>
                  <a:pt x="5117465" y="3884006"/>
                  <a:pt x="5118100" y="3880831"/>
                </a:cubicBezTo>
                <a:cubicBezTo>
                  <a:pt x="5122545" y="3884641"/>
                  <a:pt x="5128895" y="3887181"/>
                  <a:pt x="5134610" y="3887181"/>
                </a:cubicBezTo>
                <a:cubicBezTo>
                  <a:pt x="5132070" y="3906231"/>
                  <a:pt x="5148580" y="3925916"/>
                  <a:pt x="5168265" y="3926551"/>
                </a:cubicBezTo>
                <a:cubicBezTo>
                  <a:pt x="5168900" y="3928456"/>
                  <a:pt x="5170170" y="3930996"/>
                  <a:pt x="5171440" y="3932901"/>
                </a:cubicBezTo>
                <a:cubicBezTo>
                  <a:pt x="5115560" y="3950681"/>
                  <a:pt x="5158740" y="4034501"/>
                  <a:pt x="5205730" y="3999576"/>
                </a:cubicBezTo>
                <a:cubicBezTo>
                  <a:pt x="5220335" y="3998306"/>
                  <a:pt x="5229225" y="3979891"/>
                  <a:pt x="5220970" y="3967826"/>
                </a:cubicBezTo>
                <a:cubicBezTo>
                  <a:pt x="5220970" y="3955761"/>
                  <a:pt x="5213985" y="3943696"/>
                  <a:pt x="5203190" y="3937346"/>
                </a:cubicBezTo>
                <a:cubicBezTo>
                  <a:pt x="5208905" y="3932901"/>
                  <a:pt x="5213350" y="3925281"/>
                  <a:pt x="5212715" y="3917661"/>
                </a:cubicBezTo>
                <a:cubicBezTo>
                  <a:pt x="5226050" y="3921471"/>
                  <a:pt x="5241925" y="3915756"/>
                  <a:pt x="5248910" y="3903056"/>
                </a:cubicBezTo>
                <a:cubicBezTo>
                  <a:pt x="5300980" y="3932901"/>
                  <a:pt x="5310505" y="3835111"/>
                  <a:pt x="5253355" y="3854796"/>
                </a:cubicBezTo>
                <a:cubicBezTo>
                  <a:pt x="5243830" y="3821141"/>
                  <a:pt x="5190490" y="3831301"/>
                  <a:pt x="5193665" y="3866226"/>
                </a:cubicBezTo>
                <a:cubicBezTo>
                  <a:pt x="5191760" y="3864321"/>
                  <a:pt x="5189220" y="3862416"/>
                  <a:pt x="5187315" y="3861146"/>
                </a:cubicBezTo>
                <a:cubicBezTo>
                  <a:pt x="5210175" y="3838921"/>
                  <a:pt x="5179060" y="3800186"/>
                  <a:pt x="5152390" y="3817331"/>
                </a:cubicBezTo>
                <a:cubicBezTo>
                  <a:pt x="5157470" y="3784946"/>
                  <a:pt x="5115560" y="3771611"/>
                  <a:pt x="5095240" y="3794471"/>
                </a:cubicBezTo>
                <a:cubicBezTo>
                  <a:pt x="5085080" y="3776056"/>
                  <a:pt x="5059045" y="3771611"/>
                  <a:pt x="5043170" y="3784311"/>
                </a:cubicBezTo>
                <a:cubicBezTo>
                  <a:pt x="5059680" y="3753831"/>
                  <a:pt x="5021580" y="3708111"/>
                  <a:pt x="4990465" y="3732876"/>
                </a:cubicBezTo>
                <a:cubicBezTo>
                  <a:pt x="4986655" y="3706841"/>
                  <a:pt x="4951095" y="3694776"/>
                  <a:pt x="4932045" y="3712556"/>
                </a:cubicBezTo>
                <a:cubicBezTo>
                  <a:pt x="4932045" y="3712556"/>
                  <a:pt x="4932045" y="3712556"/>
                  <a:pt x="4932045" y="3712556"/>
                </a:cubicBezTo>
                <a:cubicBezTo>
                  <a:pt x="4937125" y="3689061"/>
                  <a:pt x="4912360" y="3666836"/>
                  <a:pt x="4889500" y="3675091"/>
                </a:cubicBezTo>
                <a:cubicBezTo>
                  <a:pt x="4886325" y="3671281"/>
                  <a:pt x="4881880" y="3668106"/>
                  <a:pt x="4877435" y="3666201"/>
                </a:cubicBezTo>
                <a:cubicBezTo>
                  <a:pt x="4872990" y="3638261"/>
                  <a:pt x="4833620" y="3628101"/>
                  <a:pt x="4815840" y="3650326"/>
                </a:cubicBezTo>
                <a:cubicBezTo>
                  <a:pt x="4811395" y="3637626"/>
                  <a:pt x="4796790" y="3628101"/>
                  <a:pt x="4782820" y="3630006"/>
                </a:cubicBezTo>
                <a:cubicBezTo>
                  <a:pt x="4786630" y="3607781"/>
                  <a:pt x="4765675" y="3584286"/>
                  <a:pt x="4742815" y="3586826"/>
                </a:cubicBezTo>
                <a:cubicBezTo>
                  <a:pt x="4723130" y="3574761"/>
                  <a:pt x="4697095" y="3584921"/>
                  <a:pt x="4690745" y="3607146"/>
                </a:cubicBezTo>
                <a:cubicBezTo>
                  <a:pt x="4643120" y="3566506"/>
                  <a:pt x="4605020" y="3659216"/>
                  <a:pt x="4667250" y="3663661"/>
                </a:cubicBezTo>
                <a:cubicBezTo>
                  <a:pt x="4643755" y="3679536"/>
                  <a:pt x="4656455" y="3720176"/>
                  <a:pt x="4685665" y="3718906"/>
                </a:cubicBezTo>
                <a:cubicBezTo>
                  <a:pt x="4723130" y="3719541"/>
                  <a:pt x="4726305" y="3660486"/>
                  <a:pt x="4688840" y="3657946"/>
                </a:cubicBezTo>
                <a:cubicBezTo>
                  <a:pt x="4688205" y="3657946"/>
                  <a:pt x="4686935" y="3657946"/>
                  <a:pt x="4686300" y="3657946"/>
                </a:cubicBezTo>
                <a:cubicBezTo>
                  <a:pt x="4692015" y="3654136"/>
                  <a:pt x="4696460" y="3648421"/>
                  <a:pt x="4699000" y="3641436"/>
                </a:cubicBezTo>
                <a:cubicBezTo>
                  <a:pt x="4704080" y="3647151"/>
                  <a:pt x="4711700" y="3651596"/>
                  <a:pt x="4719955" y="3652231"/>
                </a:cubicBezTo>
                <a:cubicBezTo>
                  <a:pt x="4728845" y="3660486"/>
                  <a:pt x="4741545" y="3664296"/>
                  <a:pt x="4753610" y="3661756"/>
                </a:cubicBezTo>
                <a:cubicBezTo>
                  <a:pt x="4752975" y="3674456"/>
                  <a:pt x="4759960" y="3686521"/>
                  <a:pt x="4771390" y="3692236"/>
                </a:cubicBezTo>
                <a:cubicBezTo>
                  <a:pt x="4754245" y="3729066"/>
                  <a:pt x="4813935" y="3754466"/>
                  <a:pt x="4827905" y="3715731"/>
                </a:cubicBezTo>
                <a:cubicBezTo>
                  <a:pt x="4835525" y="3735416"/>
                  <a:pt x="4860925" y="3744941"/>
                  <a:pt x="4879340" y="3734781"/>
                </a:cubicBezTo>
                <a:cubicBezTo>
                  <a:pt x="4880610" y="3756371"/>
                  <a:pt x="4907915" y="3770341"/>
                  <a:pt x="4926330" y="3757641"/>
                </a:cubicBezTo>
                <a:cubicBezTo>
                  <a:pt x="4929505" y="3762721"/>
                  <a:pt x="4933315" y="3767166"/>
                  <a:pt x="4939030" y="3769706"/>
                </a:cubicBezTo>
                <a:cubicBezTo>
                  <a:pt x="4933315" y="3783676"/>
                  <a:pt x="4935855" y="3800186"/>
                  <a:pt x="4946650" y="3810981"/>
                </a:cubicBezTo>
                <a:cubicBezTo>
                  <a:pt x="4911725" y="3803996"/>
                  <a:pt x="4905375" y="3859876"/>
                  <a:pt x="4940300" y="3861781"/>
                </a:cubicBezTo>
                <a:cubicBezTo>
                  <a:pt x="4961890" y="3863686"/>
                  <a:pt x="4975860" y="3837016"/>
                  <a:pt x="4962525" y="3820506"/>
                </a:cubicBezTo>
                <a:cubicBezTo>
                  <a:pt x="4980940" y="3826856"/>
                  <a:pt x="5003165" y="3816061"/>
                  <a:pt x="5009515" y="3797646"/>
                </a:cubicBezTo>
                <a:cubicBezTo>
                  <a:pt x="5018405" y="3800186"/>
                  <a:pt x="5027930" y="3798281"/>
                  <a:pt x="5035550" y="3793201"/>
                </a:cubicBezTo>
                <a:cubicBezTo>
                  <a:pt x="5029835" y="3802091"/>
                  <a:pt x="5028565" y="3811616"/>
                  <a:pt x="5031105" y="3821141"/>
                </a:cubicBezTo>
                <a:cubicBezTo>
                  <a:pt x="5001260" y="3829396"/>
                  <a:pt x="5012055" y="3876386"/>
                  <a:pt x="5042535" y="3871306"/>
                </a:cubicBezTo>
                <a:cubicBezTo>
                  <a:pt x="5039995" y="3891626"/>
                  <a:pt x="5057775" y="3911946"/>
                  <a:pt x="5078095" y="3912581"/>
                </a:cubicBezTo>
                <a:cubicBezTo>
                  <a:pt x="5080635" y="3939251"/>
                  <a:pt x="5123815" y="3938616"/>
                  <a:pt x="5125085" y="3910676"/>
                </a:cubicBezTo>
                <a:close/>
                <a:moveTo>
                  <a:pt x="5090795" y="3837016"/>
                </a:moveTo>
                <a:cubicBezTo>
                  <a:pt x="5090795" y="3837016"/>
                  <a:pt x="5090795" y="3837016"/>
                  <a:pt x="5090795" y="3837016"/>
                </a:cubicBezTo>
                <a:cubicBezTo>
                  <a:pt x="5091430" y="3837016"/>
                  <a:pt x="5091430" y="3837016"/>
                  <a:pt x="5090795" y="3837016"/>
                </a:cubicBezTo>
                <a:cubicBezTo>
                  <a:pt x="5091430" y="3837016"/>
                  <a:pt x="5090795" y="3837016"/>
                  <a:pt x="5090795" y="3837016"/>
                </a:cubicBezTo>
                <a:close/>
                <a:moveTo>
                  <a:pt x="5111750" y="3850986"/>
                </a:moveTo>
                <a:cubicBezTo>
                  <a:pt x="5111750" y="3850986"/>
                  <a:pt x="5111115" y="3850351"/>
                  <a:pt x="5111750" y="3850986"/>
                </a:cubicBezTo>
                <a:cubicBezTo>
                  <a:pt x="5111750" y="3850351"/>
                  <a:pt x="5111750" y="3850351"/>
                  <a:pt x="5111750" y="3850986"/>
                </a:cubicBezTo>
                <a:cubicBezTo>
                  <a:pt x="5111750" y="3850986"/>
                  <a:pt x="5111750" y="3850986"/>
                  <a:pt x="5111750" y="3850986"/>
                </a:cubicBezTo>
                <a:close/>
                <a:moveTo>
                  <a:pt x="5123180" y="3957031"/>
                </a:moveTo>
                <a:cubicBezTo>
                  <a:pt x="5095875" y="3957031"/>
                  <a:pt x="5097145" y="3999576"/>
                  <a:pt x="5123815" y="3998941"/>
                </a:cubicBezTo>
                <a:cubicBezTo>
                  <a:pt x="5151120" y="3998306"/>
                  <a:pt x="5150485" y="3956396"/>
                  <a:pt x="5123180" y="3957031"/>
                </a:cubicBezTo>
                <a:close/>
                <a:moveTo>
                  <a:pt x="5133340" y="4122131"/>
                </a:moveTo>
                <a:cubicBezTo>
                  <a:pt x="5113020" y="4124671"/>
                  <a:pt x="5117465" y="4157056"/>
                  <a:pt x="5137785" y="4153246"/>
                </a:cubicBezTo>
                <a:cubicBezTo>
                  <a:pt x="5158105" y="4150706"/>
                  <a:pt x="5153660" y="4118956"/>
                  <a:pt x="5133340" y="4122131"/>
                </a:cubicBezTo>
                <a:close/>
                <a:moveTo>
                  <a:pt x="5006975" y="4143086"/>
                </a:moveTo>
                <a:cubicBezTo>
                  <a:pt x="4986655" y="4146896"/>
                  <a:pt x="4993005" y="4178646"/>
                  <a:pt x="5012690" y="4174201"/>
                </a:cubicBezTo>
                <a:cubicBezTo>
                  <a:pt x="5033645" y="4171026"/>
                  <a:pt x="5027295" y="4139276"/>
                  <a:pt x="5006975" y="4143086"/>
                </a:cubicBezTo>
                <a:close/>
                <a:moveTo>
                  <a:pt x="5064125" y="3979891"/>
                </a:moveTo>
                <a:cubicBezTo>
                  <a:pt x="5062855" y="3952586"/>
                  <a:pt x="5020310" y="3955761"/>
                  <a:pt x="5022850" y="3983066"/>
                </a:cubicBezTo>
                <a:cubicBezTo>
                  <a:pt x="5024120" y="4009736"/>
                  <a:pt x="5066665" y="4007196"/>
                  <a:pt x="5064125" y="3979891"/>
                </a:cubicBezTo>
                <a:close/>
                <a:moveTo>
                  <a:pt x="5148580" y="4035136"/>
                </a:moveTo>
                <a:cubicBezTo>
                  <a:pt x="5125085" y="4037041"/>
                  <a:pt x="5128260" y="4073871"/>
                  <a:pt x="5151755" y="4071966"/>
                </a:cubicBezTo>
                <a:cubicBezTo>
                  <a:pt x="5175885" y="4070061"/>
                  <a:pt x="5172710" y="4032596"/>
                  <a:pt x="5148580" y="4035136"/>
                </a:cubicBezTo>
                <a:close/>
                <a:moveTo>
                  <a:pt x="5069840" y="4131656"/>
                </a:moveTo>
                <a:cubicBezTo>
                  <a:pt x="5049520" y="4134831"/>
                  <a:pt x="5055235" y="4166581"/>
                  <a:pt x="5074920" y="4162771"/>
                </a:cubicBezTo>
                <a:cubicBezTo>
                  <a:pt x="5095875" y="4160231"/>
                  <a:pt x="5090160" y="4127846"/>
                  <a:pt x="5069840" y="4131656"/>
                </a:cubicBezTo>
                <a:close/>
                <a:moveTo>
                  <a:pt x="10759440" y="2570191"/>
                </a:moveTo>
                <a:cubicBezTo>
                  <a:pt x="10744200" y="2551776"/>
                  <a:pt x="10715625" y="2575906"/>
                  <a:pt x="10731500" y="2593686"/>
                </a:cubicBezTo>
                <a:cubicBezTo>
                  <a:pt x="10746740" y="2612736"/>
                  <a:pt x="10775315" y="2588606"/>
                  <a:pt x="10759440" y="2570191"/>
                </a:cubicBezTo>
                <a:close/>
                <a:moveTo>
                  <a:pt x="11480800" y="1934556"/>
                </a:moveTo>
                <a:cubicBezTo>
                  <a:pt x="11505565" y="1923761"/>
                  <a:pt x="11487785" y="1885026"/>
                  <a:pt x="11463655" y="1896456"/>
                </a:cubicBezTo>
                <a:cubicBezTo>
                  <a:pt x="11438890" y="1907251"/>
                  <a:pt x="11456670" y="1945986"/>
                  <a:pt x="11480800" y="1934556"/>
                </a:cubicBezTo>
                <a:close/>
                <a:moveTo>
                  <a:pt x="11546205" y="1904711"/>
                </a:moveTo>
                <a:cubicBezTo>
                  <a:pt x="11578590" y="1904076"/>
                  <a:pt x="11568430" y="1852641"/>
                  <a:pt x="11538585" y="1864706"/>
                </a:cubicBezTo>
                <a:cubicBezTo>
                  <a:pt x="11517630" y="1872326"/>
                  <a:pt x="11524615" y="1905346"/>
                  <a:pt x="11546205" y="1904711"/>
                </a:cubicBezTo>
                <a:close/>
                <a:moveTo>
                  <a:pt x="11674475" y="2288251"/>
                </a:moveTo>
                <a:cubicBezTo>
                  <a:pt x="11654155" y="2292696"/>
                  <a:pt x="11661775" y="2323811"/>
                  <a:pt x="11681460" y="2319366"/>
                </a:cubicBezTo>
                <a:cubicBezTo>
                  <a:pt x="11701780" y="2314921"/>
                  <a:pt x="11694160" y="2283171"/>
                  <a:pt x="11674475" y="2288251"/>
                </a:cubicBezTo>
                <a:close/>
                <a:moveTo>
                  <a:pt x="11485880" y="1661506"/>
                </a:moveTo>
                <a:cubicBezTo>
                  <a:pt x="11458575" y="1674841"/>
                  <a:pt x="11480165" y="1717386"/>
                  <a:pt x="11506835" y="1703416"/>
                </a:cubicBezTo>
                <a:cubicBezTo>
                  <a:pt x="11533505" y="1690081"/>
                  <a:pt x="11512550" y="1647536"/>
                  <a:pt x="11485880" y="1661506"/>
                </a:cubicBezTo>
                <a:close/>
                <a:moveTo>
                  <a:pt x="11494770" y="2128866"/>
                </a:moveTo>
                <a:cubicBezTo>
                  <a:pt x="11486515" y="2106641"/>
                  <a:pt x="11451590" y="2119976"/>
                  <a:pt x="11460480" y="2142201"/>
                </a:cubicBezTo>
                <a:cubicBezTo>
                  <a:pt x="11468735" y="2164426"/>
                  <a:pt x="11503660" y="2150456"/>
                  <a:pt x="11494770" y="2128866"/>
                </a:cubicBezTo>
                <a:close/>
                <a:moveTo>
                  <a:pt x="11429365" y="2360006"/>
                </a:moveTo>
                <a:cubicBezTo>
                  <a:pt x="11409680" y="2366356"/>
                  <a:pt x="11421110" y="2396836"/>
                  <a:pt x="11440160" y="2389851"/>
                </a:cubicBezTo>
                <a:cubicBezTo>
                  <a:pt x="11459210" y="2383501"/>
                  <a:pt x="11448415" y="2353021"/>
                  <a:pt x="11429365" y="2360006"/>
                </a:cubicBezTo>
                <a:close/>
                <a:moveTo>
                  <a:pt x="11369040" y="2382231"/>
                </a:moveTo>
                <a:cubicBezTo>
                  <a:pt x="11349355" y="2389216"/>
                  <a:pt x="11361420" y="2419696"/>
                  <a:pt x="11380470" y="2412076"/>
                </a:cubicBezTo>
                <a:cubicBezTo>
                  <a:pt x="11400155" y="2404456"/>
                  <a:pt x="11388090" y="2374611"/>
                  <a:pt x="11369040" y="2382231"/>
                </a:cubicBezTo>
                <a:close/>
                <a:moveTo>
                  <a:pt x="11428095" y="2154901"/>
                </a:moveTo>
                <a:cubicBezTo>
                  <a:pt x="11419205" y="2132676"/>
                  <a:pt x="11384915" y="2147281"/>
                  <a:pt x="11394440" y="2169506"/>
                </a:cubicBezTo>
                <a:cubicBezTo>
                  <a:pt x="11403330" y="2191731"/>
                  <a:pt x="11437620" y="2177126"/>
                  <a:pt x="11428095" y="2154901"/>
                </a:cubicBezTo>
                <a:close/>
                <a:moveTo>
                  <a:pt x="11489690" y="2339051"/>
                </a:moveTo>
                <a:cubicBezTo>
                  <a:pt x="11470005" y="2345401"/>
                  <a:pt x="11480165" y="2375881"/>
                  <a:pt x="11499215" y="2369531"/>
                </a:cubicBezTo>
                <a:cubicBezTo>
                  <a:pt x="11518900" y="2363181"/>
                  <a:pt x="11509375" y="2332701"/>
                  <a:pt x="11489690" y="2339051"/>
                </a:cubicBezTo>
                <a:close/>
                <a:moveTo>
                  <a:pt x="11614150" y="1835496"/>
                </a:moveTo>
                <a:cubicBezTo>
                  <a:pt x="11588115" y="1844386"/>
                  <a:pt x="11602720" y="1884391"/>
                  <a:pt x="11628120" y="1874866"/>
                </a:cubicBezTo>
                <a:cubicBezTo>
                  <a:pt x="11654155" y="1865976"/>
                  <a:pt x="11639550" y="1825971"/>
                  <a:pt x="11614150" y="1835496"/>
                </a:cubicBezTo>
                <a:close/>
                <a:moveTo>
                  <a:pt x="11551285" y="2127596"/>
                </a:moveTo>
                <a:cubicBezTo>
                  <a:pt x="11574145" y="2119976"/>
                  <a:pt x="11561445" y="2085051"/>
                  <a:pt x="11539220" y="2092671"/>
                </a:cubicBezTo>
                <a:cubicBezTo>
                  <a:pt x="11516360" y="2100926"/>
                  <a:pt x="11529060" y="2135851"/>
                  <a:pt x="11551285" y="2127596"/>
                </a:cubicBezTo>
                <a:close/>
                <a:moveTo>
                  <a:pt x="11666855" y="1632296"/>
                </a:moveTo>
                <a:cubicBezTo>
                  <a:pt x="11695430" y="1622136"/>
                  <a:pt x="11678285" y="1577686"/>
                  <a:pt x="11650345" y="1588481"/>
                </a:cubicBezTo>
                <a:cubicBezTo>
                  <a:pt x="11621770" y="1599276"/>
                  <a:pt x="11638915" y="1643726"/>
                  <a:pt x="11666855" y="1632296"/>
                </a:cubicBezTo>
                <a:lnTo>
                  <a:pt x="11666855" y="1632296"/>
                </a:lnTo>
                <a:close/>
                <a:moveTo>
                  <a:pt x="11612245" y="2303491"/>
                </a:moveTo>
                <a:cubicBezTo>
                  <a:pt x="11591925" y="2308571"/>
                  <a:pt x="11600815" y="2339686"/>
                  <a:pt x="11620500" y="2333971"/>
                </a:cubicBezTo>
                <a:cubicBezTo>
                  <a:pt x="11640185" y="2328891"/>
                  <a:pt x="11631930" y="2297776"/>
                  <a:pt x="11612245" y="2303491"/>
                </a:cubicBezTo>
                <a:close/>
                <a:moveTo>
                  <a:pt x="11010265" y="2196811"/>
                </a:moveTo>
                <a:cubicBezTo>
                  <a:pt x="10993755" y="2175221"/>
                  <a:pt x="10960735" y="2201256"/>
                  <a:pt x="10977245" y="2222211"/>
                </a:cubicBezTo>
                <a:cubicBezTo>
                  <a:pt x="10993755" y="2243801"/>
                  <a:pt x="11026775" y="2217766"/>
                  <a:pt x="11010265" y="2196811"/>
                </a:cubicBezTo>
                <a:close/>
                <a:moveTo>
                  <a:pt x="11613515" y="2106641"/>
                </a:moveTo>
                <a:cubicBezTo>
                  <a:pt x="11640820" y="2106641"/>
                  <a:pt x="11634470" y="2062826"/>
                  <a:pt x="11608435" y="2071081"/>
                </a:cubicBezTo>
                <a:cubicBezTo>
                  <a:pt x="11588115" y="2076161"/>
                  <a:pt x="11593195" y="2107276"/>
                  <a:pt x="11613515" y="2106641"/>
                </a:cubicBezTo>
                <a:close/>
                <a:moveTo>
                  <a:pt x="11597640" y="1634836"/>
                </a:moveTo>
                <a:cubicBezTo>
                  <a:pt x="11585575" y="1606896"/>
                  <a:pt x="11542395" y="1625946"/>
                  <a:pt x="11555095" y="1653886"/>
                </a:cubicBezTo>
                <a:cubicBezTo>
                  <a:pt x="11567160" y="1681826"/>
                  <a:pt x="11610340" y="1662141"/>
                  <a:pt x="11597640" y="1634836"/>
                </a:cubicBezTo>
                <a:close/>
                <a:moveTo>
                  <a:pt x="11362055" y="2183476"/>
                </a:moveTo>
                <a:cubicBezTo>
                  <a:pt x="11352530" y="2161886"/>
                  <a:pt x="11318240" y="2177761"/>
                  <a:pt x="11329035" y="2198716"/>
                </a:cubicBezTo>
                <a:cubicBezTo>
                  <a:pt x="11338560" y="2220941"/>
                  <a:pt x="11372215" y="2205066"/>
                  <a:pt x="11362055" y="2183476"/>
                </a:cubicBezTo>
                <a:close/>
                <a:moveTo>
                  <a:pt x="11083290" y="2312381"/>
                </a:moveTo>
                <a:cubicBezTo>
                  <a:pt x="11062970" y="2324446"/>
                  <a:pt x="11082655" y="2356196"/>
                  <a:pt x="11102340" y="2343496"/>
                </a:cubicBezTo>
                <a:cubicBezTo>
                  <a:pt x="11123295" y="2331431"/>
                  <a:pt x="11103610" y="2299681"/>
                  <a:pt x="11083290" y="2312381"/>
                </a:cubicBezTo>
                <a:close/>
                <a:moveTo>
                  <a:pt x="11140440" y="2102196"/>
                </a:moveTo>
                <a:cubicBezTo>
                  <a:pt x="11125200" y="2079971"/>
                  <a:pt x="11090275" y="2104101"/>
                  <a:pt x="11106150" y="2125691"/>
                </a:cubicBezTo>
                <a:cubicBezTo>
                  <a:pt x="11121390" y="2148551"/>
                  <a:pt x="11156315" y="2124421"/>
                  <a:pt x="11140440" y="2102196"/>
                </a:cubicBezTo>
                <a:close/>
                <a:moveTo>
                  <a:pt x="11079480" y="2516851"/>
                </a:moveTo>
                <a:cubicBezTo>
                  <a:pt x="11061065" y="2526376"/>
                  <a:pt x="11076940" y="2554951"/>
                  <a:pt x="11094720" y="2544791"/>
                </a:cubicBezTo>
                <a:cubicBezTo>
                  <a:pt x="11113135" y="2534631"/>
                  <a:pt x="11097895" y="2506691"/>
                  <a:pt x="11079480" y="2516851"/>
                </a:cubicBezTo>
                <a:close/>
                <a:moveTo>
                  <a:pt x="11135995" y="2487006"/>
                </a:moveTo>
                <a:cubicBezTo>
                  <a:pt x="11117580" y="2496531"/>
                  <a:pt x="11132185" y="2525106"/>
                  <a:pt x="11150600" y="2515581"/>
                </a:cubicBezTo>
                <a:cubicBezTo>
                  <a:pt x="11169015" y="2506056"/>
                  <a:pt x="11154410" y="2476846"/>
                  <a:pt x="11135995" y="2487006"/>
                </a:cubicBezTo>
                <a:close/>
                <a:moveTo>
                  <a:pt x="11074400" y="2148551"/>
                </a:moveTo>
                <a:cubicBezTo>
                  <a:pt x="11058525" y="2126326"/>
                  <a:pt x="11024870" y="2151726"/>
                  <a:pt x="11040745" y="2173316"/>
                </a:cubicBezTo>
                <a:cubicBezTo>
                  <a:pt x="11057255" y="2195541"/>
                  <a:pt x="11090910" y="2170141"/>
                  <a:pt x="11074400" y="2148551"/>
                </a:cubicBezTo>
                <a:close/>
                <a:moveTo>
                  <a:pt x="11024235" y="2547966"/>
                </a:moveTo>
                <a:cubicBezTo>
                  <a:pt x="11006455" y="2558126"/>
                  <a:pt x="11022330" y="2586066"/>
                  <a:pt x="11040110" y="2575271"/>
                </a:cubicBezTo>
                <a:cubicBezTo>
                  <a:pt x="11057890" y="2565111"/>
                  <a:pt x="11041380" y="2537171"/>
                  <a:pt x="11024235" y="2547966"/>
                </a:cubicBezTo>
                <a:close/>
                <a:moveTo>
                  <a:pt x="11022330" y="2351116"/>
                </a:moveTo>
                <a:cubicBezTo>
                  <a:pt x="11002010" y="2363816"/>
                  <a:pt x="11022965" y="2394931"/>
                  <a:pt x="11042650" y="2381596"/>
                </a:cubicBezTo>
                <a:cubicBezTo>
                  <a:pt x="11062335" y="2369531"/>
                  <a:pt x="11042015" y="2337781"/>
                  <a:pt x="11022330" y="2351116"/>
                </a:cubicBezTo>
                <a:close/>
                <a:moveTo>
                  <a:pt x="11309985" y="2405726"/>
                </a:moveTo>
                <a:cubicBezTo>
                  <a:pt x="11290935" y="2413346"/>
                  <a:pt x="11303635" y="2443191"/>
                  <a:pt x="11322050" y="2434936"/>
                </a:cubicBezTo>
                <a:cubicBezTo>
                  <a:pt x="11341100" y="2427316"/>
                  <a:pt x="11329035" y="2397471"/>
                  <a:pt x="11309985" y="2405726"/>
                </a:cubicBezTo>
                <a:close/>
                <a:moveTo>
                  <a:pt x="11258550" y="2048221"/>
                </a:moveTo>
                <a:cubicBezTo>
                  <a:pt x="11293475" y="2047586"/>
                  <a:pt x="11278235" y="1992341"/>
                  <a:pt x="11247755" y="2009486"/>
                </a:cubicBezTo>
                <a:cubicBezTo>
                  <a:pt x="11229975" y="2019646"/>
                  <a:pt x="11238865" y="2048856"/>
                  <a:pt x="11258550" y="2048221"/>
                </a:cubicBezTo>
                <a:close/>
                <a:moveTo>
                  <a:pt x="11251565" y="2431126"/>
                </a:moveTo>
                <a:cubicBezTo>
                  <a:pt x="11232515" y="2439381"/>
                  <a:pt x="11245850" y="2468591"/>
                  <a:pt x="11264900" y="2460336"/>
                </a:cubicBezTo>
                <a:cubicBezTo>
                  <a:pt x="11283315" y="2452081"/>
                  <a:pt x="11269980" y="2422871"/>
                  <a:pt x="11251565" y="2431126"/>
                </a:cubicBezTo>
                <a:close/>
                <a:moveTo>
                  <a:pt x="11272520" y="2206336"/>
                </a:moveTo>
                <a:cubicBezTo>
                  <a:pt x="11250930" y="2217131"/>
                  <a:pt x="11268075" y="2250151"/>
                  <a:pt x="11289030" y="2239356"/>
                </a:cubicBezTo>
                <a:cubicBezTo>
                  <a:pt x="11310620" y="2228561"/>
                  <a:pt x="11293475" y="2195541"/>
                  <a:pt x="11272520" y="2206336"/>
                </a:cubicBezTo>
                <a:close/>
                <a:moveTo>
                  <a:pt x="11208385" y="2239991"/>
                </a:moveTo>
                <a:cubicBezTo>
                  <a:pt x="11187430" y="2250786"/>
                  <a:pt x="11205210" y="2283806"/>
                  <a:pt x="11226165" y="2272376"/>
                </a:cubicBezTo>
                <a:cubicBezTo>
                  <a:pt x="11247120" y="2260946"/>
                  <a:pt x="11229340" y="2227926"/>
                  <a:pt x="11208385" y="2239991"/>
                </a:cubicBezTo>
                <a:close/>
                <a:moveTo>
                  <a:pt x="11201400" y="2086956"/>
                </a:moveTo>
                <a:cubicBezTo>
                  <a:pt x="11224260" y="2072986"/>
                  <a:pt x="11201400" y="2036791"/>
                  <a:pt x="11178540" y="2052031"/>
                </a:cubicBezTo>
                <a:cubicBezTo>
                  <a:pt x="11156315" y="2066636"/>
                  <a:pt x="11179175" y="2102196"/>
                  <a:pt x="11201400" y="2086956"/>
                </a:cubicBezTo>
                <a:close/>
                <a:moveTo>
                  <a:pt x="11145520" y="2275551"/>
                </a:moveTo>
                <a:cubicBezTo>
                  <a:pt x="11124565" y="2286981"/>
                  <a:pt x="11143615" y="2319366"/>
                  <a:pt x="11163935" y="2307301"/>
                </a:cubicBezTo>
                <a:cubicBezTo>
                  <a:pt x="11184255" y="2295236"/>
                  <a:pt x="11165840" y="2262851"/>
                  <a:pt x="11145520" y="2275551"/>
                </a:cubicBezTo>
                <a:close/>
                <a:moveTo>
                  <a:pt x="11193145" y="2458431"/>
                </a:moveTo>
                <a:cubicBezTo>
                  <a:pt x="11174095" y="2467321"/>
                  <a:pt x="11188700" y="2496531"/>
                  <a:pt x="11207115" y="2487006"/>
                </a:cubicBezTo>
                <a:cubicBezTo>
                  <a:pt x="11226165" y="2478116"/>
                  <a:pt x="11211560" y="2448906"/>
                  <a:pt x="11193145" y="2458431"/>
                </a:cubicBezTo>
                <a:close/>
                <a:moveTo>
                  <a:pt x="11550650" y="2320636"/>
                </a:moveTo>
                <a:cubicBezTo>
                  <a:pt x="11530965" y="2326351"/>
                  <a:pt x="11539855" y="2357466"/>
                  <a:pt x="11559540" y="2351116"/>
                </a:cubicBezTo>
                <a:cubicBezTo>
                  <a:pt x="11579860" y="2345401"/>
                  <a:pt x="11570335" y="2314286"/>
                  <a:pt x="11550650" y="2320636"/>
                </a:cubicBezTo>
                <a:close/>
                <a:moveTo>
                  <a:pt x="12123420" y="990946"/>
                </a:moveTo>
                <a:cubicBezTo>
                  <a:pt x="12086590" y="992851"/>
                  <a:pt x="12090400" y="1050001"/>
                  <a:pt x="12127230" y="1047461"/>
                </a:cubicBezTo>
                <a:cubicBezTo>
                  <a:pt x="12163425" y="1045556"/>
                  <a:pt x="12160250" y="988406"/>
                  <a:pt x="12123420" y="990946"/>
                </a:cubicBezTo>
                <a:close/>
                <a:moveTo>
                  <a:pt x="12106910" y="1240501"/>
                </a:moveTo>
                <a:cubicBezTo>
                  <a:pt x="12073255" y="1242406"/>
                  <a:pt x="12077065" y="1294476"/>
                  <a:pt x="12110720" y="1291936"/>
                </a:cubicBezTo>
                <a:cubicBezTo>
                  <a:pt x="12143740" y="1290031"/>
                  <a:pt x="12140565" y="1237961"/>
                  <a:pt x="12106910" y="1240501"/>
                </a:cubicBezTo>
                <a:close/>
                <a:moveTo>
                  <a:pt x="12192000" y="2267296"/>
                </a:moveTo>
                <a:lnTo>
                  <a:pt x="12192000" y="2226021"/>
                </a:lnTo>
                <a:cubicBezTo>
                  <a:pt x="12177395" y="2234911"/>
                  <a:pt x="12178030" y="2259041"/>
                  <a:pt x="12192000" y="2267296"/>
                </a:cubicBezTo>
                <a:close/>
                <a:moveTo>
                  <a:pt x="12192000" y="1775806"/>
                </a:moveTo>
                <a:lnTo>
                  <a:pt x="12192000" y="1734531"/>
                </a:lnTo>
                <a:cubicBezTo>
                  <a:pt x="12177395" y="1743421"/>
                  <a:pt x="12178030" y="1766916"/>
                  <a:pt x="12192000" y="1775806"/>
                </a:cubicBezTo>
                <a:close/>
                <a:moveTo>
                  <a:pt x="12192000" y="2021551"/>
                </a:moveTo>
                <a:lnTo>
                  <a:pt x="12192000" y="1980276"/>
                </a:lnTo>
                <a:cubicBezTo>
                  <a:pt x="12177395" y="1989166"/>
                  <a:pt x="12178030" y="2012661"/>
                  <a:pt x="12192000" y="2021551"/>
                </a:cubicBezTo>
                <a:close/>
                <a:moveTo>
                  <a:pt x="12090400" y="1737071"/>
                </a:moveTo>
                <a:cubicBezTo>
                  <a:pt x="12063095" y="1738341"/>
                  <a:pt x="12066270" y="1780886"/>
                  <a:pt x="12092940" y="1778346"/>
                </a:cubicBezTo>
                <a:cubicBezTo>
                  <a:pt x="12120245" y="1777711"/>
                  <a:pt x="12117705" y="1735166"/>
                  <a:pt x="12090400" y="1737071"/>
                </a:cubicBezTo>
                <a:close/>
                <a:moveTo>
                  <a:pt x="12117705" y="2231736"/>
                </a:moveTo>
                <a:cubicBezTo>
                  <a:pt x="12097385" y="2231736"/>
                  <a:pt x="12098020" y="2264121"/>
                  <a:pt x="12118340" y="2263486"/>
                </a:cubicBezTo>
                <a:cubicBezTo>
                  <a:pt x="12139295" y="2262851"/>
                  <a:pt x="12138025" y="2231101"/>
                  <a:pt x="12117705" y="2231736"/>
                </a:cubicBezTo>
                <a:close/>
                <a:moveTo>
                  <a:pt x="12107545" y="1984086"/>
                </a:moveTo>
                <a:cubicBezTo>
                  <a:pt x="12083415" y="1984721"/>
                  <a:pt x="12085320" y="2022186"/>
                  <a:pt x="12108815" y="2020916"/>
                </a:cubicBezTo>
                <a:cubicBezTo>
                  <a:pt x="12132945" y="2020281"/>
                  <a:pt x="12131040" y="1982816"/>
                  <a:pt x="12107545" y="1984086"/>
                </a:cubicBezTo>
                <a:close/>
                <a:moveTo>
                  <a:pt x="12182475" y="780126"/>
                </a:moveTo>
                <a:cubicBezTo>
                  <a:pt x="12184380" y="785841"/>
                  <a:pt x="12188190" y="789651"/>
                  <a:pt x="12192000" y="791556"/>
                </a:cubicBezTo>
                <a:lnTo>
                  <a:pt x="12192000" y="751551"/>
                </a:lnTo>
                <a:cubicBezTo>
                  <a:pt x="12183110" y="757266"/>
                  <a:pt x="12176760" y="768061"/>
                  <a:pt x="12182475" y="780126"/>
                </a:cubicBezTo>
                <a:close/>
                <a:moveTo>
                  <a:pt x="12180570" y="279111"/>
                </a:moveTo>
                <a:cubicBezTo>
                  <a:pt x="12180570" y="289271"/>
                  <a:pt x="12185650" y="296256"/>
                  <a:pt x="12192000" y="299431"/>
                </a:cubicBezTo>
                <a:lnTo>
                  <a:pt x="12192000" y="258791"/>
                </a:lnTo>
                <a:cubicBezTo>
                  <a:pt x="12185015" y="263236"/>
                  <a:pt x="12180570" y="270221"/>
                  <a:pt x="12180570" y="279111"/>
                </a:cubicBezTo>
                <a:close/>
                <a:moveTo>
                  <a:pt x="12181205" y="522951"/>
                </a:moveTo>
                <a:cubicBezTo>
                  <a:pt x="12177395" y="481041"/>
                  <a:pt x="12112625" y="486756"/>
                  <a:pt x="12115165" y="528031"/>
                </a:cubicBezTo>
                <a:cubicBezTo>
                  <a:pt x="12116435" y="568671"/>
                  <a:pt x="12179935" y="568671"/>
                  <a:pt x="12181205" y="528666"/>
                </a:cubicBezTo>
                <a:cubicBezTo>
                  <a:pt x="12182475" y="537556"/>
                  <a:pt x="12186920" y="542636"/>
                  <a:pt x="12192000" y="545811"/>
                </a:cubicBezTo>
                <a:lnTo>
                  <a:pt x="12192000" y="505171"/>
                </a:lnTo>
                <a:cubicBezTo>
                  <a:pt x="12185650" y="508346"/>
                  <a:pt x="12181205" y="514696"/>
                  <a:pt x="12181205" y="522951"/>
                </a:cubicBezTo>
                <a:close/>
                <a:moveTo>
                  <a:pt x="12191365" y="53051"/>
                </a:moveTo>
                <a:cubicBezTo>
                  <a:pt x="12191365" y="53051"/>
                  <a:pt x="12192000" y="53051"/>
                  <a:pt x="12192000" y="53686"/>
                </a:cubicBezTo>
                <a:lnTo>
                  <a:pt x="12192000" y="13681"/>
                </a:lnTo>
                <a:cubicBezTo>
                  <a:pt x="12179935" y="22571"/>
                  <a:pt x="12174220" y="42256"/>
                  <a:pt x="12191365" y="53051"/>
                </a:cubicBezTo>
                <a:close/>
                <a:moveTo>
                  <a:pt x="12180570" y="1263361"/>
                </a:moveTo>
                <a:cubicBezTo>
                  <a:pt x="12180570" y="1273521"/>
                  <a:pt x="12185650" y="1280506"/>
                  <a:pt x="12192000" y="1283681"/>
                </a:cubicBezTo>
                <a:lnTo>
                  <a:pt x="12192000" y="1243041"/>
                </a:lnTo>
                <a:cubicBezTo>
                  <a:pt x="12185015" y="1246851"/>
                  <a:pt x="12180570" y="1253836"/>
                  <a:pt x="12180570" y="1263361"/>
                </a:cubicBezTo>
                <a:close/>
                <a:moveTo>
                  <a:pt x="12053570" y="2234276"/>
                </a:moveTo>
                <a:cubicBezTo>
                  <a:pt x="12032615" y="2234911"/>
                  <a:pt x="12034520" y="2267296"/>
                  <a:pt x="12055475" y="2266026"/>
                </a:cubicBezTo>
                <a:cubicBezTo>
                  <a:pt x="12075795" y="2265391"/>
                  <a:pt x="12074525" y="2233006"/>
                  <a:pt x="12053570" y="2234276"/>
                </a:cubicBezTo>
                <a:close/>
                <a:moveTo>
                  <a:pt x="12192000" y="1529426"/>
                </a:moveTo>
                <a:lnTo>
                  <a:pt x="12192000" y="1488151"/>
                </a:lnTo>
                <a:cubicBezTo>
                  <a:pt x="12177395" y="1497041"/>
                  <a:pt x="12178030" y="1521171"/>
                  <a:pt x="12192000" y="1529426"/>
                </a:cubicBezTo>
                <a:close/>
                <a:moveTo>
                  <a:pt x="12180570" y="1016981"/>
                </a:moveTo>
                <a:cubicBezTo>
                  <a:pt x="12180570" y="1027141"/>
                  <a:pt x="12185650" y="1034126"/>
                  <a:pt x="12192000" y="1037301"/>
                </a:cubicBezTo>
                <a:lnTo>
                  <a:pt x="12192000" y="996661"/>
                </a:lnTo>
                <a:cubicBezTo>
                  <a:pt x="12185015" y="1001106"/>
                  <a:pt x="12180570" y="1008091"/>
                  <a:pt x="12180570" y="1016981"/>
                </a:cubicBezTo>
                <a:close/>
                <a:moveTo>
                  <a:pt x="11691620" y="1810096"/>
                </a:moveTo>
                <a:cubicBezTo>
                  <a:pt x="11665585" y="1817716"/>
                  <a:pt x="11678285" y="1858356"/>
                  <a:pt x="11703685" y="1850101"/>
                </a:cubicBezTo>
                <a:cubicBezTo>
                  <a:pt x="11729720" y="1842481"/>
                  <a:pt x="11717020" y="1801841"/>
                  <a:pt x="11691620" y="1810096"/>
                </a:cubicBezTo>
                <a:close/>
                <a:moveTo>
                  <a:pt x="11748135" y="2032346"/>
                </a:moveTo>
                <a:cubicBezTo>
                  <a:pt x="11724640" y="2037426"/>
                  <a:pt x="11733530" y="2073621"/>
                  <a:pt x="11756390" y="2067906"/>
                </a:cubicBezTo>
                <a:cubicBezTo>
                  <a:pt x="11779885" y="2063461"/>
                  <a:pt x="11771630" y="2027266"/>
                  <a:pt x="11748135" y="2032346"/>
                </a:cubicBezTo>
                <a:close/>
                <a:moveTo>
                  <a:pt x="11795125" y="1803111"/>
                </a:moveTo>
                <a:cubicBezTo>
                  <a:pt x="11788775" y="1777076"/>
                  <a:pt x="11747500" y="1787236"/>
                  <a:pt x="11755120" y="1813271"/>
                </a:cubicBezTo>
                <a:cubicBezTo>
                  <a:pt x="11761470" y="1839941"/>
                  <a:pt x="11802110" y="1829146"/>
                  <a:pt x="11795125" y="1803111"/>
                </a:cubicBezTo>
                <a:close/>
                <a:moveTo>
                  <a:pt x="12054840" y="2005041"/>
                </a:moveTo>
                <a:cubicBezTo>
                  <a:pt x="12053570" y="1981546"/>
                  <a:pt x="12016105" y="1984086"/>
                  <a:pt x="12018010" y="2007581"/>
                </a:cubicBezTo>
                <a:cubicBezTo>
                  <a:pt x="12019915" y="2031711"/>
                  <a:pt x="12056745" y="2029171"/>
                  <a:pt x="12054840" y="2005041"/>
                </a:cubicBezTo>
                <a:close/>
                <a:moveTo>
                  <a:pt x="11677650" y="2050126"/>
                </a:moveTo>
                <a:cubicBezTo>
                  <a:pt x="11654790" y="2055841"/>
                  <a:pt x="11664315" y="2092036"/>
                  <a:pt x="11687175" y="2085686"/>
                </a:cubicBezTo>
                <a:cubicBezTo>
                  <a:pt x="11710670" y="2079971"/>
                  <a:pt x="11700510" y="2043776"/>
                  <a:pt x="11677650" y="2050126"/>
                </a:cubicBezTo>
                <a:close/>
                <a:moveTo>
                  <a:pt x="11819255" y="2017741"/>
                </a:moveTo>
                <a:cubicBezTo>
                  <a:pt x="11795760" y="2021551"/>
                  <a:pt x="11803380" y="2059016"/>
                  <a:pt x="11826240" y="2053936"/>
                </a:cubicBezTo>
                <a:cubicBezTo>
                  <a:pt x="11849735" y="2049491"/>
                  <a:pt x="11842750" y="2012661"/>
                  <a:pt x="11819255" y="2017741"/>
                </a:cubicBezTo>
                <a:close/>
                <a:moveTo>
                  <a:pt x="11736705" y="2274281"/>
                </a:moveTo>
                <a:cubicBezTo>
                  <a:pt x="11716385" y="2278091"/>
                  <a:pt x="11723370" y="2309841"/>
                  <a:pt x="11743055" y="2305396"/>
                </a:cubicBezTo>
                <a:cubicBezTo>
                  <a:pt x="11763375" y="2302221"/>
                  <a:pt x="11757025" y="2270471"/>
                  <a:pt x="11736705" y="2274281"/>
                </a:cubicBezTo>
                <a:close/>
                <a:moveTo>
                  <a:pt x="11742420" y="1604356"/>
                </a:moveTo>
                <a:cubicBezTo>
                  <a:pt x="11777345" y="1604356"/>
                  <a:pt x="11769090" y="1548476"/>
                  <a:pt x="11735435" y="1558636"/>
                </a:cubicBezTo>
                <a:cubicBezTo>
                  <a:pt x="11710670" y="1566256"/>
                  <a:pt x="11717020" y="1604991"/>
                  <a:pt x="11742420" y="1604356"/>
                </a:cubicBezTo>
                <a:close/>
                <a:moveTo>
                  <a:pt x="11799570" y="2262851"/>
                </a:moveTo>
                <a:cubicBezTo>
                  <a:pt x="11779250" y="2266026"/>
                  <a:pt x="11784965" y="2297776"/>
                  <a:pt x="11804650" y="2293966"/>
                </a:cubicBezTo>
                <a:cubicBezTo>
                  <a:pt x="11825605" y="2290791"/>
                  <a:pt x="11819890" y="2259041"/>
                  <a:pt x="11799570" y="2262851"/>
                </a:cubicBezTo>
                <a:close/>
                <a:moveTo>
                  <a:pt x="11990070" y="2238721"/>
                </a:moveTo>
                <a:cubicBezTo>
                  <a:pt x="11969115" y="2239991"/>
                  <a:pt x="11972290" y="2272376"/>
                  <a:pt x="11992610" y="2270471"/>
                </a:cubicBezTo>
                <a:lnTo>
                  <a:pt x="11992610" y="2270471"/>
                </a:lnTo>
                <a:cubicBezTo>
                  <a:pt x="12012930" y="2268566"/>
                  <a:pt x="12010390" y="2236816"/>
                  <a:pt x="11990070" y="2238721"/>
                </a:cubicBezTo>
                <a:close/>
                <a:moveTo>
                  <a:pt x="12032615" y="1762471"/>
                </a:moveTo>
                <a:cubicBezTo>
                  <a:pt x="12030075" y="1735801"/>
                  <a:pt x="11988165" y="1740246"/>
                  <a:pt x="11991340" y="1766916"/>
                </a:cubicBezTo>
                <a:cubicBezTo>
                  <a:pt x="11993880" y="1794221"/>
                  <a:pt x="12035790" y="1789141"/>
                  <a:pt x="12032615" y="1762471"/>
                </a:cubicBezTo>
                <a:close/>
                <a:moveTo>
                  <a:pt x="11983085" y="2011391"/>
                </a:moveTo>
                <a:cubicBezTo>
                  <a:pt x="11980545" y="1987896"/>
                  <a:pt x="11943715" y="1992341"/>
                  <a:pt x="11946890" y="2015836"/>
                </a:cubicBezTo>
                <a:cubicBezTo>
                  <a:pt x="11949430" y="2039331"/>
                  <a:pt x="11986260" y="2034886"/>
                  <a:pt x="11983085" y="2011391"/>
                </a:cubicBezTo>
                <a:close/>
                <a:moveTo>
                  <a:pt x="11891010" y="2005041"/>
                </a:moveTo>
                <a:cubicBezTo>
                  <a:pt x="11867515" y="2008216"/>
                  <a:pt x="11873230" y="2045681"/>
                  <a:pt x="11896725" y="2041236"/>
                </a:cubicBezTo>
                <a:cubicBezTo>
                  <a:pt x="11920220" y="2038061"/>
                  <a:pt x="11914505" y="2001231"/>
                  <a:pt x="11891010" y="2005041"/>
                </a:cubicBezTo>
                <a:close/>
                <a:moveTo>
                  <a:pt x="11863070" y="2252691"/>
                </a:moveTo>
                <a:cubicBezTo>
                  <a:pt x="11842750" y="2255231"/>
                  <a:pt x="11847195" y="2287616"/>
                  <a:pt x="11867515" y="2283806"/>
                </a:cubicBezTo>
                <a:cubicBezTo>
                  <a:pt x="11887835" y="2281901"/>
                  <a:pt x="11883390" y="2249516"/>
                  <a:pt x="11863070" y="2252691"/>
                </a:cubicBezTo>
                <a:close/>
                <a:moveTo>
                  <a:pt x="11952605" y="1771996"/>
                </a:moveTo>
                <a:cubicBezTo>
                  <a:pt x="11948795" y="1745326"/>
                  <a:pt x="11906885" y="1751676"/>
                  <a:pt x="11911330" y="1778346"/>
                </a:cubicBezTo>
                <a:cubicBezTo>
                  <a:pt x="11915775" y="1805651"/>
                  <a:pt x="11957050" y="1798666"/>
                  <a:pt x="11952605" y="1771996"/>
                </a:cubicBezTo>
                <a:close/>
                <a:moveTo>
                  <a:pt x="11926570" y="2245071"/>
                </a:moveTo>
                <a:cubicBezTo>
                  <a:pt x="11906250" y="2246976"/>
                  <a:pt x="11910060" y="2279361"/>
                  <a:pt x="11930380" y="2276821"/>
                </a:cubicBezTo>
                <a:cubicBezTo>
                  <a:pt x="11950700" y="2274281"/>
                  <a:pt x="11946890" y="2242531"/>
                  <a:pt x="11926570" y="2245071"/>
                </a:cubicBezTo>
                <a:close/>
                <a:moveTo>
                  <a:pt x="8528685" y="5681691"/>
                </a:moveTo>
                <a:cubicBezTo>
                  <a:pt x="8493760" y="5716616"/>
                  <a:pt x="8550275" y="5770591"/>
                  <a:pt x="8583930" y="5734396"/>
                </a:cubicBezTo>
                <a:cubicBezTo>
                  <a:pt x="8618220" y="5698836"/>
                  <a:pt x="8562340" y="5645496"/>
                  <a:pt x="8528685" y="5681691"/>
                </a:cubicBezTo>
                <a:close/>
                <a:moveTo>
                  <a:pt x="10009505" y="3478876"/>
                </a:moveTo>
                <a:cubicBezTo>
                  <a:pt x="9972675" y="3459191"/>
                  <a:pt x="9980295" y="3528406"/>
                  <a:pt x="10012045" y="3501101"/>
                </a:cubicBezTo>
                <a:lnTo>
                  <a:pt x="10012045" y="3501101"/>
                </a:lnTo>
                <a:cubicBezTo>
                  <a:pt x="10017760" y="3494751"/>
                  <a:pt x="10016490" y="3484591"/>
                  <a:pt x="10009505" y="3478876"/>
                </a:cubicBezTo>
                <a:close/>
                <a:moveTo>
                  <a:pt x="10085705" y="3338541"/>
                </a:moveTo>
                <a:cubicBezTo>
                  <a:pt x="10095865" y="3325206"/>
                  <a:pt x="10082530" y="3305521"/>
                  <a:pt x="10066655" y="3309966"/>
                </a:cubicBezTo>
                <a:cubicBezTo>
                  <a:pt x="10082530" y="3288376"/>
                  <a:pt x="10047605" y="3264246"/>
                  <a:pt x="10033000" y="3285836"/>
                </a:cubicBezTo>
                <a:cubicBezTo>
                  <a:pt x="10033000" y="3285836"/>
                  <a:pt x="10032365" y="3285201"/>
                  <a:pt x="10032365" y="3285201"/>
                </a:cubicBezTo>
                <a:cubicBezTo>
                  <a:pt x="10041255" y="3272501"/>
                  <a:pt x="10036810" y="3254721"/>
                  <a:pt x="10023475" y="3247736"/>
                </a:cubicBezTo>
                <a:cubicBezTo>
                  <a:pt x="10030460" y="3245831"/>
                  <a:pt x="10036810" y="3242021"/>
                  <a:pt x="10040620" y="3235671"/>
                </a:cubicBezTo>
                <a:cubicBezTo>
                  <a:pt x="10046970" y="3249006"/>
                  <a:pt x="10066020" y="3253451"/>
                  <a:pt x="10076815" y="3242656"/>
                </a:cubicBezTo>
                <a:cubicBezTo>
                  <a:pt x="10117455" y="3279486"/>
                  <a:pt x="10130790" y="3190586"/>
                  <a:pt x="10081260" y="3213446"/>
                </a:cubicBezTo>
                <a:cubicBezTo>
                  <a:pt x="10079355" y="3209636"/>
                  <a:pt x="10076180" y="3206461"/>
                  <a:pt x="10071735" y="3204556"/>
                </a:cubicBezTo>
                <a:cubicBezTo>
                  <a:pt x="10106025" y="3179156"/>
                  <a:pt x="10052050" y="3134706"/>
                  <a:pt x="10033635" y="3172806"/>
                </a:cubicBezTo>
                <a:cubicBezTo>
                  <a:pt x="10033000" y="3170901"/>
                  <a:pt x="10032365" y="3168996"/>
                  <a:pt x="10031095" y="3167726"/>
                </a:cubicBezTo>
                <a:cubicBezTo>
                  <a:pt x="10038080" y="3162646"/>
                  <a:pt x="10043160" y="3154391"/>
                  <a:pt x="10045065" y="3145501"/>
                </a:cubicBezTo>
                <a:cubicBezTo>
                  <a:pt x="10055860" y="3155661"/>
                  <a:pt x="10073640" y="3155026"/>
                  <a:pt x="10083800" y="3144866"/>
                </a:cubicBezTo>
                <a:cubicBezTo>
                  <a:pt x="10079990" y="3163281"/>
                  <a:pt x="10102215" y="3179156"/>
                  <a:pt x="10118090" y="3168996"/>
                </a:cubicBezTo>
                <a:cubicBezTo>
                  <a:pt x="10122535" y="3185506"/>
                  <a:pt x="10146030" y="3189316"/>
                  <a:pt x="10155555" y="3174711"/>
                </a:cubicBezTo>
                <a:cubicBezTo>
                  <a:pt x="10167620" y="3158201"/>
                  <a:pt x="10147935" y="3135341"/>
                  <a:pt x="10129520" y="3144231"/>
                </a:cubicBezTo>
                <a:cubicBezTo>
                  <a:pt x="10126980" y="3127086"/>
                  <a:pt x="10104120" y="3119466"/>
                  <a:pt x="10091420" y="3131531"/>
                </a:cubicBezTo>
                <a:cubicBezTo>
                  <a:pt x="10092055" y="3128356"/>
                  <a:pt x="10092690" y="3124546"/>
                  <a:pt x="10092055" y="3121371"/>
                </a:cubicBezTo>
                <a:cubicBezTo>
                  <a:pt x="10150475" y="3139786"/>
                  <a:pt x="10130790" y="3041996"/>
                  <a:pt x="10083800" y="3081366"/>
                </a:cubicBezTo>
                <a:cubicBezTo>
                  <a:pt x="10083800" y="3081366"/>
                  <a:pt x="10083800" y="3081366"/>
                  <a:pt x="10083800" y="3081366"/>
                </a:cubicBezTo>
                <a:cubicBezTo>
                  <a:pt x="10086975" y="3069936"/>
                  <a:pt x="10084435" y="3058506"/>
                  <a:pt x="10076815" y="3050251"/>
                </a:cubicBezTo>
                <a:cubicBezTo>
                  <a:pt x="10076815" y="3050251"/>
                  <a:pt x="10076815" y="3050251"/>
                  <a:pt x="10076815" y="3050251"/>
                </a:cubicBezTo>
                <a:cubicBezTo>
                  <a:pt x="10079990" y="3048346"/>
                  <a:pt x="10083165" y="3046441"/>
                  <a:pt x="10086340" y="3043266"/>
                </a:cubicBezTo>
                <a:cubicBezTo>
                  <a:pt x="10097135" y="3066761"/>
                  <a:pt x="10134600" y="3062316"/>
                  <a:pt x="10139045" y="3036281"/>
                </a:cubicBezTo>
                <a:cubicBezTo>
                  <a:pt x="10189845" y="3055331"/>
                  <a:pt x="10184765" y="2967066"/>
                  <a:pt x="10136505" y="2991831"/>
                </a:cubicBezTo>
                <a:cubicBezTo>
                  <a:pt x="10136505" y="2986116"/>
                  <a:pt x="10133965" y="2980401"/>
                  <a:pt x="10130790" y="2975321"/>
                </a:cubicBezTo>
                <a:cubicBezTo>
                  <a:pt x="10139045" y="2960716"/>
                  <a:pt x="10134600" y="2941666"/>
                  <a:pt x="10121265" y="2932141"/>
                </a:cubicBezTo>
                <a:cubicBezTo>
                  <a:pt x="10121900" y="2931506"/>
                  <a:pt x="10122535" y="2930871"/>
                  <a:pt x="10123170" y="2930236"/>
                </a:cubicBezTo>
                <a:cubicBezTo>
                  <a:pt x="10127615" y="2928966"/>
                  <a:pt x="10132060" y="2926426"/>
                  <a:pt x="10135870" y="2922616"/>
                </a:cubicBezTo>
                <a:cubicBezTo>
                  <a:pt x="10118725" y="2954366"/>
                  <a:pt x="10168255" y="2981671"/>
                  <a:pt x="10185400" y="2949286"/>
                </a:cubicBezTo>
                <a:cubicBezTo>
                  <a:pt x="10248265" y="2974686"/>
                  <a:pt x="10227310" y="2866101"/>
                  <a:pt x="10178415" y="2913726"/>
                </a:cubicBezTo>
                <a:cubicBezTo>
                  <a:pt x="10177780" y="2913091"/>
                  <a:pt x="10177145" y="2913091"/>
                  <a:pt x="10176510" y="2912456"/>
                </a:cubicBezTo>
                <a:cubicBezTo>
                  <a:pt x="10189845" y="2901026"/>
                  <a:pt x="10189845" y="2879436"/>
                  <a:pt x="10177780" y="2868006"/>
                </a:cubicBezTo>
                <a:cubicBezTo>
                  <a:pt x="10180955" y="2864196"/>
                  <a:pt x="10183495" y="2859116"/>
                  <a:pt x="10184765" y="2853401"/>
                </a:cubicBezTo>
                <a:cubicBezTo>
                  <a:pt x="10191750" y="2871181"/>
                  <a:pt x="10217785" y="2875626"/>
                  <a:pt x="10230485" y="2861656"/>
                </a:cubicBezTo>
                <a:cubicBezTo>
                  <a:pt x="10284460" y="2899756"/>
                  <a:pt x="10290810" y="2791806"/>
                  <a:pt x="10232390" y="2824826"/>
                </a:cubicBezTo>
                <a:cubicBezTo>
                  <a:pt x="10228580" y="2820381"/>
                  <a:pt x="10223500" y="2816571"/>
                  <a:pt x="10217785" y="2815301"/>
                </a:cubicBezTo>
                <a:cubicBezTo>
                  <a:pt x="10240010" y="2807046"/>
                  <a:pt x="10243185" y="2773391"/>
                  <a:pt x="10222230" y="2761326"/>
                </a:cubicBezTo>
                <a:cubicBezTo>
                  <a:pt x="10226675" y="2758151"/>
                  <a:pt x="10229850" y="2753706"/>
                  <a:pt x="10232390" y="2748626"/>
                </a:cubicBezTo>
                <a:cubicBezTo>
                  <a:pt x="10231120" y="2770216"/>
                  <a:pt x="10258425" y="2786091"/>
                  <a:pt x="10276205" y="2772756"/>
                </a:cubicBezTo>
                <a:cubicBezTo>
                  <a:pt x="10320020" y="2826731"/>
                  <a:pt x="10353040" y="2718146"/>
                  <a:pt x="10286365" y="2739101"/>
                </a:cubicBezTo>
                <a:cubicBezTo>
                  <a:pt x="10278745" y="2716876"/>
                  <a:pt x="10245090" y="2714971"/>
                  <a:pt x="10234930" y="2736561"/>
                </a:cubicBezTo>
                <a:cubicBezTo>
                  <a:pt x="10238105" y="2688936"/>
                  <a:pt x="10160635" y="2693381"/>
                  <a:pt x="10169525" y="2740371"/>
                </a:cubicBezTo>
                <a:cubicBezTo>
                  <a:pt x="10073640" y="2718146"/>
                  <a:pt x="10095865" y="2848956"/>
                  <a:pt x="10180955" y="2805141"/>
                </a:cubicBezTo>
                <a:cubicBezTo>
                  <a:pt x="10184765" y="2810856"/>
                  <a:pt x="10191750" y="2815301"/>
                  <a:pt x="10198100" y="2816571"/>
                </a:cubicBezTo>
                <a:cubicBezTo>
                  <a:pt x="10191115" y="2819746"/>
                  <a:pt x="10184765" y="2826731"/>
                  <a:pt x="10182225" y="2834351"/>
                </a:cubicBezTo>
                <a:cubicBezTo>
                  <a:pt x="10165715" y="2791171"/>
                  <a:pt x="10099675" y="2822921"/>
                  <a:pt x="10122535" y="2862291"/>
                </a:cubicBezTo>
                <a:cubicBezTo>
                  <a:pt x="10111105" y="2858481"/>
                  <a:pt x="10099040" y="2861021"/>
                  <a:pt x="10089515" y="2867371"/>
                </a:cubicBezTo>
                <a:cubicBezTo>
                  <a:pt x="10053320" y="2869276"/>
                  <a:pt x="10041890" y="2922616"/>
                  <a:pt x="10074910" y="2938491"/>
                </a:cubicBezTo>
                <a:cubicBezTo>
                  <a:pt x="10065385" y="2951191"/>
                  <a:pt x="10066655" y="2970241"/>
                  <a:pt x="10077450" y="2981036"/>
                </a:cubicBezTo>
                <a:cubicBezTo>
                  <a:pt x="10076815" y="2982306"/>
                  <a:pt x="10076180" y="2983576"/>
                  <a:pt x="10076180" y="2984846"/>
                </a:cubicBezTo>
                <a:cubicBezTo>
                  <a:pt x="10059670" y="2976591"/>
                  <a:pt x="10039350" y="2983576"/>
                  <a:pt x="10030460" y="2998816"/>
                </a:cubicBezTo>
                <a:cubicBezTo>
                  <a:pt x="10001250" y="3006436"/>
                  <a:pt x="9994265" y="3049616"/>
                  <a:pt x="10019665" y="3066126"/>
                </a:cubicBezTo>
                <a:cubicBezTo>
                  <a:pt x="10018395" y="3075651"/>
                  <a:pt x="10020935" y="3085176"/>
                  <a:pt x="10027285" y="3092161"/>
                </a:cubicBezTo>
                <a:cubicBezTo>
                  <a:pt x="10026650" y="3097876"/>
                  <a:pt x="10027285" y="3103591"/>
                  <a:pt x="10029825" y="3108036"/>
                </a:cubicBezTo>
                <a:cubicBezTo>
                  <a:pt x="10010140" y="3094701"/>
                  <a:pt x="9981565" y="3105496"/>
                  <a:pt x="9975850" y="3128356"/>
                </a:cubicBezTo>
                <a:cubicBezTo>
                  <a:pt x="9944735" y="3138516"/>
                  <a:pt x="9942830" y="3186776"/>
                  <a:pt x="9973945" y="3198841"/>
                </a:cubicBezTo>
                <a:cubicBezTo>
                  <a:pt x="9975215" y="3201381"/>
                  <a:pt x="9977120" y="3203921"/>
                  <a:pt x="9979660" y="3206461"/>
                </a:cubicBezTo>
                <a:cubicBezTo>
                  <a:pt x="9980930" y="3212811"/>
                  <a:pt x="9984105" y="3217891"/>
                  <a:pt x="9989185" y="3222336"/>
                </a:cubicBezTo>
                <a:cubicBezTo>
                  <a:pt x="9990455" y="3231226"/>
                  <a:pt x="9996170" y="3239481"/>
                  <a:pt x="10005060" y="3243926"/>
                </a:cubicBezTo>
                <a:cubicBezTo>
                  <a:pt x="10000615" y="3245196"/>
                  <a:pt x="9996805" y="3247101"/>
                  <a:pt x="9993630" y="3250911"/>
                </a:cubicBezTo>
                <a:cubicBezTo>
                  <a:pt x="9986010" y="3210906"/>
                  <a:pt x="9923145" y="3216621"/>
                  <a:pt x="9923145" y="3257896"/>
                </a:cubicBezTo>
                <a:cubicBezTo>
                  <a:pt x="9913620" y="3261706"/>
                  <a:pt x="9905365" y="3268691"/>
                  <a:pt x="9900920" y="3278851"/>
                </a:cubicBezTo>
                <a:cubicBezTo>
                  <a:pt x="9900920" y="3278851"/>
                  <a:pt x="9900920" y="3278851"/>
                  <a:pt x="9900920" y="3278851"/>
                </a:cubicBezTo>
                <a:cubicBezTo>
                  <a:pt x="9888220" y="3307426"/>
                  <a:pt x="9917430" y="3339811"/>
                  <a:pt x="9946640" y="3330286"/>
                </a:cubicBezTo>
                <a:cubicBezTo>
                  <a:pt x="9948545" y="3331556"/>
                  <a:pt x="9949815" y="3333461"/>
                  <a:pt x="9951720" y="3334731"/>
                </a:cubicBezTo>
                <a:cubicBezTo>
                  <a:pt x="9937750" y="3344256"/>
                  <a:pt x="9937750" y="3365846"/>
                  <a:pt x="9951085" y="3376006"/>
                </a:cubicBezTo>
                <a:cubicBezTo>
                  <a:pt x="9946005" y="3405216"/>
                  <a:pt x="9992360" y="3412836"/>
                  <a:pt x="9996805" y="3382991"/>
                </a:cubicBezTo>
                <a:cubicBezTo>
                  <a:pt x="10001250" y="3385531"/>
                  <a:pt x="10006965" y="3386801"/>
                  <a:pt x="10012045" y="3385531"/>
                </a:cubicBezTo>
                <a:cubicBezTo>
                  <a:pt x="10023475" y="3434426"/>
                  <a:pt x="10078085" y="3372831"/>
                  <a:pt x="10028555" y="3367116"/>
                </a:cubicBezTo>
                <a:cubicBezTo>
                  <a:pt x="10031095" y="3348066"/>
                  <a:pt x="10004425" y="3336636"/>
                  <a:pt x="9992360" y="3351876"/>
                </a:cubicBezTo>
                <a:cubicBezTo>
                  <a:pt x="9991725" y="3346796"/>
                  <a:pt x="9989185" y="3342351"/>
                  <a:pt x="9986010" y="3338541"/>
                </a:cubicBezTo>
                <a:cubicBezTo>
                  <a:pt x="9993630" y="3334096"/>
                  <a:pt x="9999345" y="3324571"/>
                  <a:pt x="9999345" y="3315681"/>
                </a:cubicBezTo>
                <a:cubicBezTo>
                  <a:pt x="10008870" y="3329016"/>
                  <a:pt x="10029825" y="3327746"/>
                  <a:pt x="10038080" y="3313776"/>
                </a:cubicBezTo>
                <a:cubicBezTo>
                  <a:pt x="10043160" y="3318221"/>
                  <a:pt x="10050780" y="3319491"/>
                  <a:pt x="10056495" y="3317586"/>
                </a:cubicBezTo>
                <a:cubicBezTo>
                  <a:pt x="10043160" y="3337271"/>
                  <a:pt x="10073005" y="3357591"/>
                  <a:pt x="10085705" y="3338541"/>
                </a:cubicBezTo>
                <a:close/>
                <a:moveTo>
                  <a:pt x="10039350" y="3203286"/>
                </a:moveTo>
                <a:cubicBezTo>
                  <a:pt x="10041255" y="3205191"/>
                  <a:pt x="10043795" y="3206461"/>
                  <a:pt x="10046335" y="3207731"/>
                </a:cubicBezTo>
                <a:cubicBezTo>
                  <a:pt x="10045065" y="3208366"/>
                  <a:pt x="10044430" y="3209636"/>
                  <a:pt x="10043160" y="3210906"/>
                </a:cubicBezTo>
                <a:cubicBezTo>
                  <a:pt x="10042525" y="3208366"/>
                  <a:pt x="10041255" y="3206461"/>
                  <a:pt x="10039350" y="3203286"/>
                </a:cubicBezTo>
                <a:cubicBezTo>
                  <a:pt x="10039350" y="3203921"/>
                  <a:pt x="10039350" y="3203921"/>
                  <a:pt x="10039350" y="3203286"/>
                </a:cubicBezTo>
                <a:close/>
                <a:moveTo>
                  <a:pt x="9993630" y="3300441"/>
                </a:moveTo>
                <a:cubicBezTo>
                  <a:pt x="9989185" y="3295996"/>
                  <a:pt x="9987915" y="3289646"/>
                  <a:pt x="9984105" y="3285201"/>
                </a:cubicBezTo>
                <a:cubicBezTo>
                  <a:pt x="9985375" y="3283931"/>
                  <a:pt x="9986645" y="3282661"/>
                  <a:pt x="9987915" y="3280756"/>
                </a:cubicBezTo>
                <a:cubicBezTo>
                  <a:pt x="9989820" y="3285201"/>
                  <a:pt x="9992995" y="3289011"/>
                  <a:pt x="9996805" y="3292186"/>
                </a:cubicBezTo>
                <a:cubicBezTo>
                  <a:pt x="9994900" y="3294726"/>
                  <a:pt x="9993630" y="3297266"/>
                  <a:pt x="9993630" y="3300441"/>
                </a:cubicBezTo>
                <a:close/>
                <a:moveTo>
                  <a:pt x="10027285" y="3431886"/>
                </a:moveTo>
                <a:cubicBezTo>
                  <a:pt x="10013950" y="3447761"/>
                  <a:pt x="10038715" y="3468081"/>
                  <a:pt x="10052050" y="3452206"/>
                </a:cubicBezTo>
                <a:lnTo>
                  <a:pt x="10052050" y="3452206"/>
                </a:lnTo>
                <a:cubicBezTo>
                  <a:pt x="10065385" y="3436331"/>
                  <a:pt x="10040620" y="3416011"/>
                  <a:pt x="10027285" y="3431886"/>
                </a:cubicBezTo>
                <a:close/>
                <a:moveTo>
                  <a:pt x="10067925" y="3382991"/>
                </a:moveTo>
                <a:cubicBezTo>
                  <a:pt x="10054590" y="3398866"/>
                  <a:pt x="10079355" y="3419186"/>
                  <a:pt x="10092055" y="3403311"/>
                </a:cubicBezTo>
                <a:cubicBezTo>
                  <a:pt x="10106025" y="3388071"/>
                  <a:pt x="10081260" y="3367116"/>
                  <a:pt x="10067925" y="3382991"/>
                </a:cubicBezTo>
                <a:close/>
                <a:moveTo>
                  <a:pt x="9963785" y="3515706"/>
                </a:moveTo>
                <a:cubicBezTo>
                  <a:pt x="9975215" y="3499831"/>
                  <a:pt x="9954260" y="3479511"/>
                  <a:pt x="9939020" y="3490306"/>
                </a:cubicBezTo>
                <a:cubicBezTo>
                  <a:pt x="9895205" y="3459191"/>
                  <a:pt x="9891395" y="3547456"/>
                  <a:pt x="9937750" y="3520151"/>
                </a:cubicBezTo>
                <a:cubicBezTo>
                  <a:pt x="9945370" y="3527136"/>
                  <a:pt x="9958070" y="3524596"/>
                  <a:pt x="9963785" y="3515706"/>
                </a:cubicBezTo>
                <a:close/>
                <a:moveTo>
                  <a:pt x="9924415" y="3576031"/>
                </a:moveTo>
                <a:cubicBezTo>
                  <a:pt x="9933305" y="3563331"/>
                  <a:pt x="9921240" y="3544916"/>
                  <a:pt x="9906000" y="3548091"/>
                </a:cubicBezTo>
                <a:cubicBezTo>
                  <a:pt x="9912350" y="3537931"/>
                  <a:pt x="9909175" y="3523961"/>
                  <a:pt x="9899650" y="3516976"/>
                </a:cubicBezTo>
                <a:cubicBezTo>
                  <a:pt x="9908540" y="3500466"/>
                  <a:pt x="9897110" y="3478876"/>
                  <a:pt x="9878695" y="3476336"/>
                </a:cubicBezTo>
                <a:cubicBezTo>
                  <a:pt x="9855200" y="3448396"/>
                  <a:pt x="9807575" y="3473796"/>
                  <a:pt x="9817735" y="3508721"/>
                </a:cubicBezTo>
                <a:cubicBezTo>
                  <a:pt x="9817100" y="3510626"/>
                  <a:pt x="9816465" y="3513166"/>
                  <a:pt x="9816465" y="3515071"/>
                </a:cubicBezTo>
                <a:cubicBezTo>
                  <a:pt x="9786620" y="3521421"/>
                  <a:pt x="9778365" y="3564601"/>
                  <a:pt x="9803130" y="3581746"/>
                </a:cubicBezTo>
                <a:cubicBezTo>
                  <a:pt x="9803130" y="3582381"/>
                  <a:pt x="9802495" y="3582381"/>
                  <a:pt x="9802495" y="3583016"/>
                </a:cubicBezTo>
                <a:cubicBezTo>
                  <a:pt x="9770745" y="3581746"/>
                  <a:pt x="9754870" y="3614766"/>
                  <a:pt x="9765665" y="3642071"/>
                </a:cubicBezTo>
                <a:cubicBezTo>
                  <a:pt x="9752965" y="3643341"/>
                  <a:pt x="9740900" y="3651596"/>
                  <a:pt x="9735185" y="3664296"/>
                </a:cubicBezTo>
                <a:cubicBezTo>
                  <a:pt x="9730740" y="3674456"/>
                  <a:pt x="9730740" y="3685251"/>
                  <a:pt x="9735185" y="3694776"/>
                </a:cubicBezTo>
                <a:cubicBezTo>
                  <a:pt x="9732645" y="3697951"/>
                  <a:pt x="9730740" y="3701761"/>
                  <a:pt x="9729470" y="3705571"/>
                </a:cubicBezTo>
                <a:cubicBezTo>
                  <a:pt x="9709150" y="3713191"/>
                  <a:pt x="9700260" y="3741766"/>
                  <a:pt x="9713595" y="3758911"/>
                </a:cubicBezTo>
                <a:cubicBezTo>
                  <a:pt x="9708515" y="3761451"/>
                  <a:pt x="9703435" y="3765261"/>
                  <a:pt x="9700895" y="3770976"/>
                </a:cubicBezTo>
                <a:cubicBezTo>
                  <a:pt x="9680575" y="3776691"/>
                  <a:pt x="9671685" y="3800186"/>
                  <a:pt x="9675495" y="3819236"/>
                </a:cubicBezTo>
                <a:cubicBezTo>
                  <a:pt x="9660255" y="3825586"/>
                  <a:pt x="9649460" y="3844001"/>
                  <a:pt x="9651365" y="3860511"/>
                </a:cubicBezTo>
                <a:cubicBezTo>
                  <a:pt x="9645650" y="3868131"/>
                  <a:pt x="9645015" y="3877656"/>
                  <a:pt x="9648190" y="3885911"/>
                </a:cubicBezTo>
                <a:cubicBezTo>
                  <a:pt x="9638665" y="3887181"/>
                  <a:pt x="9630410" y="3892896"/>
                  <a:pt x="9625330" y="3901786"/>
                </a:cubicBezTo>
                <a:cubicBezTo>
                  <a:pt x="9625330" y="3901786"/>
                  <a:pt x="9625330" y="3901786"/>
                  <a:pt x="9625330" y="3901786"/>
                </a:cubicBezTo>
                <a:cubicBezTo>
                  <a:pt x="9623425" y="3905596"/>
                  <a:pt x="9622155" y="3910041"/>
                  <a:pt x="9621520" y="3914486"/>
                </a:cubicBezTo>
                <a:cubicBezTo>
                  <a:pt x="9616440" y="3918296"/>
                  <a:pt x="9613900" y="3924646"/>
                  <a:pt x="9615170" y="3930361"/>
                </a:cubicBezTo>
                <a:cubicBezTo>
                  <a:pt x="9604375" y="3936711"/>
                  <a:pt x="9601200" y="3949411"/>
                  <a:pt x="9594215" y="3958936"/>
                </a:cubicBezTo>
                <a:cubicBezTo>
                  <a:pt x="9573895" y="3946871"/>
                  <a:pt x="9559290" y="3982431"/>
                  <a:pt x="9582150" y="3988146"/>
                </a:cubicBezTo>
                <a:cubicBezTo>
                  <a:pt x="9582150" y="3988781"/>
                  <a:pt x="9582150" y="3989416"/>
                  <a:pt x="9582150" y="3990686"/>
                </a:cubicBezTo>
                <a:cubicBezTo>
                  <a:pt x="9575800" y="3993861"/>
                  <a:pt x="9570720" y="4000211"/>
                  <a:pt x="9568180" y="4007196"/>
                </a:cubicBezTo>
                <a:cubicBezTo>
                  <a:pt x="9563100" y="4005291"/>
                  <a:pt x="9558020" y="4005926"/>
                  <a:pt x="9552940" y="4008466"/>
                </a:cubicBezTo>
                <a:cubicBezTo>
                  <a:pt x="9528175" y="3981796"/>
                  <a:pt x="9508490" y="4037676"/>
                  <a:pt x="9544050" y="4032596"/>
                </a:cubicBezTo>
                <a:cubicBezTo>
                  <a:pt x="9543415" y="4035771"/>
                  <a:pt x="9543415" y="4038946"/>
                  <a:pt x="9543415" y="4042121"/>
                </a:cubicBezTo>
                <a:cubicBezTo>
                  <a:pt x="9530080" y="4048471"/>
                  <a:pt x="9526905" y="4068156"/>
                  <a:pt x="9537065" y="4078316"/>
                </a:cubicBezTo>
                <a:cubicBezTo>
                  <a:pt x="9535795" y="4080856"/>
                  <a:pt x="9535160" y="4084031"/>
                  <a:pt x="9534525" y="4087206"/>
                </a:cubicBezTo>
                <a:cubicBezTo>
                  <a:pt x="9533255" y="4087206"/>
                  <a:pt x="9531350" y="4087841"/>
                  <a:pt x="9530080" y="4088476"/>
                </a:cubicBezTo>
                <a:cubicBezTo>
                  <a:pt x="9530080" y="4087841"/>
                  <a:pt x="9529445" y="4087841"/>
                  <a:pt x="9528810" y="4087206"/>
                </a:cubicBezTo>
                <a:cubicBezTo>
                  <a:pt x="9537700" y="4073871"/>
                  <a:pt x="9523730" y="4055456"/>
                  <a:pt x="9508490" y="4059901"/>
                </a:cubicBezTo>
                <a:cubicBezTo>
                  <a:pt x="9497060" y="4017991"/>
                  <a:pt x="9451340" y="4073236"/>
                  <a:pt x="9495155" y="4076411"/>
                </a:cubicBezTo>
                <a:cubicBezTo>
                  <a:pt x="9495155" y="4080221"/>
                  <a:pt x="9495790" y="4084666"/>
                  <a:pt x="9498330" y="4087841"/>
                </a:cubicBezTo>
                <a:cubicBezTo>
                  <a:pt x="9491980" y="4094826"/>
                  <a:pt x="9491980" y="4104986"/>
                  <a:pt x="9496425" y="4112606"/>
                </a:cubicBezTo>
                <a:cubicBezTo>
                  <a:pt x="9490075" y="4113876"/>
                  <a:pt x="9484360" y="4118321"/>
                  <a:pt x="9481820" y="4124671"/>
                </a:cubicBezTo>
                <a:cubicBezTo>
                  <a:pt x="9479280" y="4115146"/>
                  <a:pt x="9467215" y="4109431"/>
                  <a:pt x="9458325" y="4113241"/>
                </a:cubicBezTo>
                <a:cubicBezTo>
                  <a:pt x="9470390" y="4098636"/>
                  <a:pt x="9449435" y="4078951"/>
                  <a:pt x="9435465" y="4091651"/>
                </a:cubicBezTo>
                <a:cubicBezTo>
                  <a:pt x="9422765" y="4102446"/>
                  <a:pt x="9434830" y="4124036"/>
                  <a:pt x="9450705" y="4118321"/>
                </a:cubicBezTo>
                <a:cubicBezTo>
                  <a:pt x="9443720" y="4125941"/>
                  <a:pt x="9444990" y="4139276"/>
                  <a:pt x="9453880" y="4144991"/>
                </a:cubicBezTo>
                <a:cubicBezTo>
                  <a:pt x="9439910" y="4151341"/>
                  <a:pt x="9438005" y="4172296"/>
                  <a:pt x="9451340" y="4180551"/>
                </a:cubicBezTo>
                <a:cubicBezTo>
                  <a:pt x="9450705" y="4181186"/>
                  <a:pt x="9450070" y="4181821"/>
                  <a:pt x="9450070" y="4183091"/>
                </a:cubicBezTo>
                <a:cubicBezTo>
                  <a:pt x="9435465" y="4182456"/>
                  <a:pt x="9422765" y="4197696"/>
                  <a:pt x="9427210" y="4211666"/>
                </a:cubicBezTo>
                <a:cubicBezTo>
                  <a:pt x="9419590" y="4201506"/>
                  <a:pt x="9403715" y="4201506"/>
                  <a:pt x="9395460" y="4211031"/>
                </a:cubicBezTo>
                <a:cubicBezTo>
                  <a:pt x="9376410" y="4231986"/>
                  <a:pt x="9411970" y="4259926"/>
                  <a:pt x="9427845" y="4237066"/>
                </a:cubicBezTo>
                <a:cubicBezTo>
                  <a:pt x="9427210" y="4243416"/>
                  <a:pt x="9428480" y="4250401"/>
                  <a:pt x="9431655" y="4255481"/>
                </a:cubicBezTo>
                <a:cubicBezTo>
                  <a:pt x="9422765" y="4248496"/>
                  <a:pt x="9410700" y="4248496"/>
                  <a:pt x="9402445" y="4254211"/>
                </a:cubicBezTo>
                <a:cubicBezTo>
                  <a:pt x="9390380" y="4249766"/>
                  <a:pt x="9375775" y="4257386"/>
                  <a:pt x="9372600" y="4270721"/>
                </a:cubicBezTo>
                <a:cubicBezTo>
                  <a:pt x="9354185" y="4249131"/>
                  <a:pt x="9321800" y="4280881"/>
                  <a:pt x="9343390" y="4299931"/>
                </a:cubicBezTo>
                <a:cubicBezTo>
                  <a:pt x="9354185" y="4310091"/>
                  <a:pt x="9373235" y="4305011"/>
                  <a:pt x="9377045" y="4291041"/>
                </a:cubicBezTo>
                <a:cubicBezTo>
                  <a:pt x="9381490" y="4297391"/>
                  <a:pt x="9389745" y="4300566"/>
                  <a:pt x="9397365" y="4299296"/>
                </a:cubicBezTo>
                <a:cubicBezTo>
                  <a:pt x="9397365" y="4299931"/>
                  <a:pt x="9396730" y="4300566"/>
                  <a:pt x="9396730" y="4300566"/>
                </a:cubicBezTo>
                <a:cubicBezTo>
                  <a:pt x="9381490" y="4300566"/>
                  <a:pt x="9368155" y="4315806"/>
                  <a:pt x="9370060" y="4331046"/>
                </a:cubicBezTo>
                <a:cubicBezTo>
                  <a:pt x="9365615" y="4329141"/>
                  <a:pt x="9360535" y="4328506"/>
                  <a:pt x="9356090" y="4329141"/>
                </a:cubicBezTo>
                <a:cubicBezTo>
                  <a:pt x="9346565" y="4318346"/>
                  <a:pt x="9328150" y="4320251"/>
                  <a:pt x="9320530" y="4332316"/>
                </a:cubicBezTo>
                <a:cubicBezTo>
                  <a:pt x="9314180" y="4320251"/>
                  <a:pt x="9297035" y="4318346"/>
                  <a:pt x="9287510" y="4328506"/>
                </a:cubicBezTo>
                <a:cubicBezTo>
                  <a:pt x="9267825" y="4348826"/>
                  <a:pt x="9301480" y="4378671"/>
                  <a:pt x="9318625" y="4355811"/>
                </a:cubicBezTo>
                <a:cubicBezTo>
                  <a:pt x="9321800" y="4362796"/>
                  <a:pt x="9330055" y="4368511"/>
                  <a:pt x="9337675" y="4368511"/>
                </a:cubicBezTo>
                <a:cubicBezTo>
                  <a:pt x="9342755" y="4377401"/>
                  <a:pt x="9354185" y="4381846"/>
                  <a:pt x="9363710" y="4379941"/>
                </a:cubicBezTo>
                <a:cubicBezTo>
                  <a:pt x="9363710" y="4379941"/>
                  <a:pt x="9363710" y="4380576"/>
                  <a:pt x="9363710" y="4380576"/>
                </a:cubicBezTo>
                <a:cubicBezTo>
                  <a:pt x="9356090" y="4380576"/>
                  <a:pt x="9348470" y="4383751"/>
                  <a:pt x="9342755" y="4388831"/>
                </a:cubicBezTo>
                <a:cubicBezTo>
                  <a:pt x="9329420" y="4386291"/>
                  <a:pt x="9314815" y="4395181"/>
                  <a:pt x="9311640" y="4409151"/>
                </a:cubicBezTo>
                <a:cubicBezTo>
                  <a:pt x="9309100" y="4407881"/>
                  <a:pt x="9306560" y="4407246"/>
                  <a:pt x="9304020" y="4407246"/>
                </a:cubicBezTo>
                <a:cubicBezTo>
                  <a:pt x="9300210" y="4390736"/>
                  <a:pt x="9277985" y="4384386"/>
                  <a:pt x="9265920" y="4396451"/>
                </a:cubicBezTo>
                <a:cubicBezTo>
                  <a:pt x="9263380" y="4380576"/>
                  <a:pt x="9242425" y="4374226"/>
                  <a:pt x="9230995" y="4385656"/>
                </a:cubicBezTo>
                <a:cubicBezTo>
                  <a:pt x="9211945" y="4403436"/>
                  <a:pt x="9239250" y="4433281"/>
                  <a:pt x="9258935" y="4416136"/>
                </a:cubicBezTo>
                <a:cubicBezTo>
                  <a:pt x="9259570" y="4424391"/>
                  <a:pt x="9266555" y="4433281"/>
                  <a:pt x="9275445" y="4435186"/>
                </a:cubicBezTo>
                <a:cubicBezTo>
                  <a:pt x="9277350" y="4461221"/>
                  <a:pt x="9317355" y="4466301"/>
                  <a:pt x="9324975" y="4440901"/>
                </a:cubicBezTo>
                <a:cubicBezTo>
                  <a:pt x="9332595" y="4445346"/>
                  <a:pt x="9342120" y="4445981"/>
                  <a:pt x="9350375" y="4442171"/>
                </a:cubicBezTo>
                <a:cubicBezTo>
                  <a:pt x="9350375" y="4466301"/>
                  <a:pt x="9378315" y="4484081"/>
                  <a:pt x="9399905" y="4473286"/>
                </a:cubicBezTo>
                <a:cubicBezTo>
                  <a:pt x="9441180" y="4483446"/>
                  <a:pt x="9464675" y="4421851"/>
                  <a:pt x="9425940" y="4402801"/>
                </a:cubicBezTo>
                <a:cubicBezTo>
                  <a:pt x="9437370" y="4378036"/>
                  <a:pt x="9410065" y="4349461"/>
                  <a:pt x="9384665" y="4359621"/>
                </a:cubicBezTo>
                <a:cubicBezTo>
                  <a:pt x="9385300" y="4357716"/>
                  <a:pt x="9385300" y="4355811"/>
                  <a:pt x="9385300" y="4353906"/>
                </a:cubicBezTo>
                <a:cubicBezTo>
                  <a:pt x="9396730" y="4360256"/>
                  <a:pt x="9411970" y="4357081"/>
                  <a:pt x="9420225" y="4346921"/>
                </a:cubicBezTo>
                <a:cubicBezTo>
                  <a:pt x="9432290" y="4364701"/>
                  <a:pt x="9460865" y="4366606"/>
                  <a:pt x="9474835" y="4350096"/>
                </a:cubicBezTo>
                <a:cubicBezTo>
                  <a:pt x="9511665" y="4348826"/>
                  <a:pt x="9523095" y="4294216"/>
                  <a:pt x="9488805" y="4278341"/>
                </a:cubicBezTo>
                <a:cubicBezTo>
                  <a:pt x="9487535" y="4270721"/>
                  <a:pt x="9483725" y="4263736"/>
                  <a:pt x="9477375" y="4258656"/>
                </a:cubicBezTo>
                <a:cubicBezTo>
                  <a:pt x="9480550" y="4255481"/>
                  <a:pt x="9482455" y="4251036"/>
                  <a:pt x="9483090" y="4246591"/>
                </a:cubicBezTo>
                <a:cubicBezTo>
                  <a:pt x="9488170" y="4246591"/>
                  <a:pt x="9492615" y="4245321"/>
                  <a:pt x="9497060" y="4242781"/>
                </a:cubicBezTo>
                <a:cubicBezTo>
                  <a:pt x="9514205" y="4249766"/>
                  <a:pt x="9535160" y="4241511"/>
                  <a:pt x="9542145" y="4223731"/>
                </a:cubicBezTo>
                <a:cubicBezTo>
                  <a:pt x="9581515" y="4216111"/>
                  <a:pt x="9580245" y="4154516"/>
                  <a:pt x="9539605" y="4149436"/>
                </a:cubicBezTo>
                <a:cubicBezTo>
                  <a:pt x="9539605" y="4148801"/>
                  <a:pt x="9539605" y="4148166"/>
                  <a:pt x="9539605" y="4147531"/>
                </a:cubicBezTo>
                <a:cubicBezTo>
                  <a:pt x="9551670" y="4147531"/>
                  <a:pt x="9563735" y="4140546"/>
                  <a:pt x="9568180" y="4128481"/>
                </a:cubicBezTo>
                <a:cubicBezTo>
                  <a:pt x="9585325" y="4129751"/>
                  <a:pt x="9602470" y="4115781"/>
                  <a:pt x="9604375" y="4098001"/>
                </a:cubicBezTo>
                <a:cubicBezTo>
                  <a:pt x="9631045" y="4091651"/>
                  <a:pt x="9641205" y="4053551"/>
                  <a:pt x="9620885" y="4034501"/>
                </a:cubicBezTo>
                <a:cubicBezTo>
                  <a:pt x="9625965" y="4027516"/>
                  <a:pt x="9627235" y="4018626"/>
                  <a:pt x="9625330" y="4011006"/>
                </a:cubicBezTo>
                <a:cubicBezTo>
                  <a:pt x="9646285" y="4013546"/>
                  <a:pt x="9665970" y="3992591"/>
                  <a:pt x="9662795" y="3971636"/>
                </a:cubicBezTo>
                <a:cubicBezTo>
                  <a:pt x="9690735" y="3965921"/>
                  <a:pt x="9700895" y="3926551"/>
                  <a:pt x="9679305" y="3907501"/>
                </a:cubicBezTo>
                <a:cubicBezTo>
                  <a:pt x="9679305" y="3906866"/>
                  <a:pt x="9679305" y="3905596"/>
                  <a:pt x="9678670" y="3904961"/>
                </a:cubicBezTo>
                <a:cubicBezTo>
                  <a:pt x="9686290" y="3903056"/>
                  <a:pt x="9692640" y="3898611"/>
                  <a:pt x="9696450" y="3890991"/>
                </a:cubicBezTo>
                <a:cubicBezTo>
                  <a:pt x="9709785" y="3886546"/>
                  <a:pt x="9720580" y="3871941"/>
                  <a:pt x="9719945" y="3857336"/>
                </a:cubicBezTo>
                <a:cubicBezTo>
                  <a:pt x="9722485" y="3854796"/>
                  <a:pt x="9723755" y="3851621"/>
                  <a:pt x="9725025" y="3848446"/>
                </a:cubicBezTo>
                <a:cubicBezTo>
                  <a:pt x="9727565" y="3846541"/>
                  <a:pt x="9730105" y="3843366"/>
                  <a:pt x="9730740" y="3840191"/>
                </a:cubicBezTo>
                <a:cubicBezTo>
                  <a:pt x="9738360" y="3835746"/>
                  <a:pt x="9744710" y="3827491"/>
                  <a:pt x="9747250" y="3818601"/>
                </a:cubicBezTo>
                <a:cubicBezTo>
                  <a:pt x="9753600" y="3816696"/>
                  <a:pt x="9758680" y="3810346"/>
                  <a:pt x="9759315" y="3803996"/>
                </a:cubicBezTo>
                <a:cubicBezTo>
                  <a:pt x="9771380" y="3803361"/>
                  <a:pt x="9778365" y="3788121"/>
                  <a:pt x="9770745" y="3778596"/>
                </a:cubicBezTo>
                <a:cubicBezTo>
                  <a:pt x="9770110" y="3772246"/>
                  <a:pt x="9772650" y="3765261"/>
                  <a:pt x="9770745" y="3758911"/>
                </a:cubicBezTo>
                <a:cubicBezTo>
                  <a:pt x="9771380" y="3758276"/>
                  <a:pt x="9771380" y="3757641"/>
                  <a:pt x="9772015" y="3757006"/>
                </a:cubicBezTo>
                <a:cubicBezTo>
                  <a:pt x="9779000" y="3764626"/>
                  <a:pt x="9791700" y="3763991"/>
                  <a:pt x="9798050" y="3755736"/>
                </a:cubicBezTo>
                <a:cubicBezTo>
                  <a:pt x="9814560" y="3758276"/>
                  <a:pt x="9822180" y="3733511"/>
                  <a:pt x="9807575" y="3725891"/>
                </a:cubicBezTo>
                <a:cubicBezTo>
                  <a:pt x="9814560" y="3720811"/>
                  <a:pt x="9817100" y="3710016"/>
                  <a:pt x="9813925" y="3702396"/>
                </a:cubicBezTo>
                <a:cubicBezTo>
                  <a:pt x="9814560" y="3701761"/>
                  <a:pt x="9815195" y="3700491"/>
                  <a:pt x="9815195" y="3699856"/>
                </a:cubicBezTo>
                <a:cubicBezTo>
                  <a:pt x="9819640" y="3703031"/>
                  <a:pt x="9824720" y="3704301"/>
                  <a:pt x="9829800" y="3703031"/>
                </a:cubicBezTo>
                <a:cubicBezTo>
                  <a:pt x="9851390" y="3720811"/>
                  <a:pt x="9869170" y="3678266"/>
                  <a:pt x="9841865" y="3675091"/>
                </a:cubicBezTo>
                <a:cubicBezTo>
                  <a:pt x="9835515" y="3664296"/>
                  <a:pt x="9819005" y="3663661"/>
                  <a:pt x="9812020" y="3673821"/>
                </a:cubicBezTo>
                <a:cubicBezTo>
                  <a:pt x="9810115" y="3671281"/>
                  <a:pt x="9807575" y="3669376"/>
                  <a:pt x="9804400" y="3668106"/>
                </a:cubicBezTo>
                <a:cubicBezTo>
                  <a:pt x="9803765" y="3666201"/>
                  <a:pt x="9803130" y="3664296"/>
                  <a:pt x="9801860" y="3662391"/>
                </a:cubicBezTo>
                <a:cubicBezTo>
                  <a:pt x="9808845" y="3660486"/>
                  <a:pt x="9815195" y="3657311"/>
                  <a:pt x="9819640" y="3651596"/>
                </a:cubicBezTo>
                <a:cubicBezTo>
                  <a:pt x="9828530" y="3670011"/>
                  <a:pt x="9859010" y="3663026"/>
                  <a:pt x="9858375" y="3642071"/>
                </a:cubicBezTo>
                <a:cubicBezTo>
                  <a:pt x="9860280" y="3643341"/>
                  <a:pt x="9862185" y="3643976"/>
                  <a:pt x="9864090" y="3643976"/>
                </a:cubicBezTo>
                <a:cubicBezTo>
                  <a:pt x="9872345" y="3676996"/>
                  <a:pt x="9915525" y="3640801"/>
                  <a:pt x="9885045" y="3626831"/>
                </a:cubicBezTo>
                <a:cubicBezTo>
                  <a:pt x="9886315" y="3615401"/>
                  <a:pt x="9873615" y="3605241"/>
                  <a:pt x="9862185" y="3608416"/>
                </a:cubicBezTo>
                <a:cubicBezTo>
                  <a:pt x="9860915" y="3602066"/>
                  <a:pt x="9857105" y="3596351"/>
                  <a:pt x="9850755" y="3593176"/>
                </a:cubicBezTo>
                <a:cubicBezTo>
                  <a:pt x="9850120" y="3589366"/>
                  <a:pt x="9848850" y="3586191"/>
                  <a:pt x="9846310" y="3583016"/>
                </a:cubicBezTo>
                <a:cubicBezTo>
                  <a:pt x="9855200" y="3576666"/>
                  <a:pt x="9861550" y="3564601"/>
                  <a:pt x="9861550" y="3553171"/>
                </a:cubicBezTo>
                <a:cubicBezTo>
                  <a:pt x="9864090" y="3554441"/>
                  <a:pt x="9867265" y="3555076"/>
                  <a:pt x="9870440" y="3555711"/>
                </a:cubicBezTo>
                <a:cubicBezTo>
                  <a:pt x="9870440" y="3555711"/>
                  <a:pt x="9870440" y="3555711"/>
                  <a:pt x="9870440" y="3555711"/>
                </a:cubicBezTo>
                <a:cubicBezTo>
                  <a:pt x="9838055" y="3572856"/>
                  <a:pt x="9881235" y="3616036"/>
                  <a:pt x="9898380" y="3583016"/>
                </a:cubicBezTo>
                <a:cubicBezTo>
                  <a:pt x="9900285" y="3583651"/>
                  <a:pt x="9902190" y="3584286"/>
                  <a:pt x="9904095" y="3584921"/>
                </a:cubicBezTo>
                <a:cubicBezTo>
                  <a:pt x="9892665" y="3621751"/>
                  <a:pt x="9954260" y="3607781"/>
                  <a:pt x="9928225" y="3579206"/>
                </a:cubicBezTo>
                <a:cubicBezTo>
                  <a:pt x="9928860" y="3577301"/>
                  <a:pt x="9926955" y="3576031"/>
                  <a:pt x="9924415" y="3576031"/>
                </a:cubicBezTo>
                <a:close/>
                <a:moveTo>
                  <a:pt x="9431655" y="4224366"/>
                </a:moveTo>
                <a:cubicBezTo>
                  <a:pt x="9431655" y="4224366"/>
                  <a:pt x="9431655" y="4225001"/>
                  <a:pt x="9431655" y="4224366"/>
                </a:cubicBezTo>
                <a:cubicBezTo>
                  <a:pt x="9431655" y="4223096"/>
                  <a:pt x="9431655" y="4221191"/>
                  <a:pt x="9431020" y="4219286"/>
                </a:cubicBezTo>
                <a:cubicBezTo>
                  <a:pt x="9431655" y="4219921"/>
                  <a:pt x="9432290" y="4221191"/>
                  <a:pt x="9433560" y="4221826"/>
                </a:cubicBezTo>
                <a:cubicBezTo>
                  <a:pt x="9432925" y="4223096"/>
                  <a:pt x="9432290" y="4223731"/>
                  <a:pt x="9431655" y="4224366"/>
                </a:cubicBezTo>
                <a:close/>
                <a:moveTo>
                  <a:pt x="9483090" y="4172296"/>
                </a:moveTo>
                <a:cubicBezTo>
                  <a:pt x="9482455" y="4172296"/>
                  <a:pt x="9482455" y="4171661"/>
                  <a:pt x="9481820" y="4171661"/>
                </a:cubicBezTo>
                <a:cubicBezTo>
                  <a:pt x="9486265" y="4162771"/>
                  <a:pt x="9483090" y="4150706"/>
                  <a:pt x="9473565" y="4144991"/>
                </a:cubicBezTo>
                <a:cubicBezTo>
                  <a:pt x="9476105" y="4143721"/>
                  <a:pt x="9478010" y="4141816"/>
                  <a:pt x="9479915" y="4139276"/>
                </a:cubicBezTo>
                <a:cubicBezTo>
                  <a:pt x="9480550" y="4142451"/>
                  <a:pt x="9481820" y="4144991"/>
                  <a:pt x="9483725" y="4147531"/>
                </a:cubicBezTo>
                <a:cubicBezTo>
                  <a:pt x="9483090" y="4152611"/>
                  <a:pt x="9484360" y="4157056"/>
                  <a:pt x="9486265" y="4161501"/>
                </a:cubicBezTo>
                <a:cubicBezTo>
                  <a:pt x="9484995" y="4165311"/>
                  <a:pt x="9483725" y="4168486"/>
                  <a:pt x="9483090" y="4172296"/>
                </a:cubicBezTo>
                <a:close/>
                <a:moveTo>
                  <a:pt x="10280650" y="3145501"/>
                </a:moveTo>
                <a:cubicBezTo>
                  <a:pt x="10266045" y="3160106"/>
                  <a:pt x="10289540" y="3182331"/>
                  <a:pt x="10303510" y="3167726"/>
                </a:cubicBezTo>
                <a:cubicBezTo>
                  <a:pt x="10318115" y="3153121"/>
                  <a:pt x="10294620" y="3130896"/>
                  <a:pt x="10280650" y="3145501"/>
                </a:cubicBezTo>
                <a:close/>
                <a:moveTo>
                  <a:pt x="9360535" y="4525356"/>
                </a:moveTo>
                <a:cubicBezTo>
                  <a:pt x="9357995" y="4524086"/>
                  <a:pt x="9354820" y="4522816"/>
                  <a:pt x="9352280" y="4522181"/>
                </a:cubicBezTo>
                <a:cubicBezTo>
                  <a:pt x="9392920" y="4492336"/>
                  <a:pt x="9335770" y="4435821"/>
                  <a:pt x="9305925" y="4475826"/>
                </a:cubicBezTo>
                <a:cubicBezTo>
                  <a:pt x="9300845" y="4475191"/>
                  <a:pt x="9295765" y="4475826"/>
                  <a:pt x="9291320" y="4477731"/>
                </a:cubicBezTo>
                <a:cubicBezTo>
                  <a:pt x="9278620" y="4470746"/>
                  <a:pt x="9262745" y="4474556"/>
                  <a:pt x="9254490" y="4486621"/>
                </a:cubicBezTo>
                <a:cubicBezTo>
                  <a:pt x="9251950" y="4484716"/>
                  <a:pt x="9248775" y="4483446"/>
                  <a:pt x="9245600" y="4482811"/>
                </a:cubicBezTo>
                <a:cubicBezTo>
                  <a:pt x="9250045" y="4461856"/>
                  <a:pt x="9222740" y="4446616"/>
                  <a:pt x="9207500" y="4461856"/>
                </a:cubicBezTo>
                <a:cubicBezTo>
                  <a:pt x="9215120" y="4442171"/>
                  <a:pt x="9188450" y="4425026"/>
                  <a:pt x="9173845" y="4440266"/>
                </a:cubicBezTo>
                <a:cubicBezTo>
                  <a:pt x="9154160" y="4458046"/>
                  <a:pt x="9181465" y="4488526"/>
                  <a:pt x="9201150" y="4471381"/>
                </a:cubicBezTo>
                <a:cubicBezTo>
                  <a:pt x="9196705" y="4482811"/>
                  <a:pt x="9203690" y="4498051"/>
                  <a:pt x="9215755" y="4501226"/>
                </a:cubicBezTo>
                <a:cubicBezTo>
                  <a:pt x="9207500" y="4526626"/>
                  <a:pt x="9243695" y="4546311"/>
                  <a:pt x="9260205" y="4524721"/>
                </a:cubicBezTo>
                <a:cubicBezTo>
                  <a:pt x="9266555" y="4529801"/>
                  <a:pt x="9274810" y="4531706"/>
                  <a:pt x="9283065" y="4530436"/>
                </a:cubicBezTo>
                <a:cubicBezTo>
                  <a:pt x="9285605" y="4532976"/>
                  <a:pt x="9288780" y="4534246"/>
                  <a:pt x="9291955" y="4535516"/>
                </a:cubicBezTo>
                <a:cubicBezTo>
                  <a:pt x="9276080" y="4557741"/>
                  <a:pt x="9293860" y="4590761"/>
                  <a:pt x="9321165" y="4590761"/>
                </a:cubicBezTo>
                <a:cubicBezTo>
                  <a:pt x="9339580" y="4604096"/>
                  <a:pt x="9366250" y="4598381"/>
                  <a:pt x="9377045" y="4578061"/>
                </a:cubicBezTo>
                <a:lnTo>
                  <a:pt x="9377045" y="4578061"/>
                </a:lnTo>
                <a:cubicBezTo>
                  <a:pt x="9385935" y="4559011"/>
                  <a:pt x="9378950" y="4535516"/>
                  <a:pt x="9360535" y="4525356"/>
                </a:cubicBezTo>
                <a:close/>
                <a:moveTo>
                  <a:pt x="10128250" y="3280756"/>
                </a:moveTo>
                <a:cubicBezTo>
                  <a:pt x="10142855" y="3261706"/>
                  <a:pt x="10112375" y="3239481"/>
                  <a:pt x="10099040" y="3259166"/>
                </a:cubicBezTo>
                <a:cubicBezTo>
                  <a:pt x="10084435" y="3277581"/>
                  <a:pt x="10114280" y="3299806"/>
                  <a:pt x="10128250" y="3280756"/>
                </a:cubicBezTo>
                <a:close/>
                <a:moveTo>
                  <a:pt x="10257155" y="3084541"/>
                </a:moveTo>
                <a:cubicBezTo>
                  <a:pt x="10230485" y="3064856"/>
                  <a:pt x="10212705" y="3115656"/>
                  <a:pt x="10245725" y="3116926"/>
                </a:cubicBezTo>
                <a:cubicBezTo>
                  <a:pt x="10262235" y="3118196"/>
                  <a:pt x="10271125" y="3094701"/>
                  <a:pt x="10257155" y="3084541"/>
                </a:cubicBezTo>
                <a:close/>
                <a:moveTo>
                  <a:pt x="10193655" y="3238846"/>
                </a:moveTo>
                <a:cubicBezTo>
                  <a:pt x="10179685" y="3254086"/>
                  <a:pt x="10203815" y="3275676"/>
                  <a:pt x="10217150" y="3260436"/>
                </a:cubicBezTo>
                <a:cubicBezTo>
                  <a:pt x="10231755" y="3245196"/>
                  <a:pt x="10207625" y="3223606"/>
                  <a:pt x="10193655" y="3238846"/>
                </a:cubicBezTo>
                <a:close/>
                <a:moveTo>
                  <a:pt x="10236835" y="3191856"/>
                </a:moveTo>
                <a:cubicBezTo>
                  <a:pt x="10222865" y="3206461"/>
                  <a:pt x="10246360" y="3228686"/>
                  <a:pt x="10260330" y="3213446"/>
                </a:cubicBezTo>
                <a:cubicBezTo>
                  <a:pt x="10274300" y="3198841"/>
                  <a:pt x="10250805" y="3176616"/>
                  <a:pt x="10236835" y="3191856"/>
                </a:cubicBezTo>
                <a:close/>
                <a:moveTo>
                  <a:pt x="10215245" y="3166456"/>
                </a:moveTo>
                <a:cubicBezTo>
                  <a:pt x="10230485" y="3148041"/>
                  <a:pt x="10200640" y="3124546"/>
                  <a:pt x="10186670" y="3143596"/>
                </a:cubicBezTo>
                <a:cubicBezTo>
                  <a:pt x="10186670" y="3143596"/>
                  <a:pt x="10186670" y="3143596"/>
                  <a:pt x="10186670" y="3143596"/>
                </a:cubicBezTo>
                <a:cubicBezTo>
                  <a:pt x="10171430" y="3162646"/>
                  <a:pt x="10200640" y="3185506"/>
                  <a:pt x="10215245" y="3166456"/>
                </a:cubicBezTo>
                <a:close/>
                <a:moveTo>
                  <a:pt x="10171430" y="3222971"/>
                </a:moveTo>
                <a:cubicBezTo>
                  <a:pt x="10186035" y="3204556"/>
                  <a:pt x="10156190" y="3181696"/>
                  <a:pt x="10142220" y="3200746"/>
                </a:cubicBezTo>
                <a:cubicBezTo>
                  <a:pt x="10127615" y="3219796"/>
                  <a:pt x="10156825" y="3242656"/>
                  <a:pt x="10171430" y="3222971"/>
                </a:cubicBezTo>
                <a:close/>
                <a:moveTo>
                  <a:pt x="10151110" y="3286471"/>
                </a:moveTo>
                <a:cubicBezTo>
                  <a:pt x="10137140" y="3301711"/>
                  <a:pt x="10161270" y="3323301"/>
                  <a:pt x="10174605" y="3307426"/>
                </a:cubicBezTo>
                <a:cubicBezTo>
                  <a:pt x="10189210" y="3292186"/>
                  <a:pt x="10164445" y="3270596"/>
                  <a:pt x="10151110" y="3286471"/>
                </a:cubicBezTo>
                <a:close/>
                <a:moveTo>
                  <a:pt x="10109200" y="3334731"/>
                </a:moveTo>
                <a:cubicBezTo>
                  <a:pt x="10095865" y="3349971"/>
                  <a:pt x="10119995" y="3370926"/>
                  <a:pt x="10133330" y="3355686"/>
                </a:cubicBezTo>
                <a:lnTo>
                  <a:pt x="10133330" y="3355686"/>
                </a:lnTo>
                <a:cubicBezTo>
                  <a:pt x="10147300" y="3339811"/>
                  <a:pt x="10122535" y="3318856"/>
                  <a:pt x="10109200" y="3334731"/>
                </a:cubicBezTo>
                <a:close/>
                <a:moveTo>
                  <a:pt x="9970135" y="3528406"/>
                </a:moveTo>
                <a:cubicBezTo>
                  <a:pt x="9954260" y="3515071"/>
                  <a:pt x="9933940" y="3541106"/>
                  <a:pt x="9950450" y="3553171"/>
                </a:cubicBezTo>
                <a:cubicBezTo>
                  <a:pt x="9966325" y="3566506"/>
                  <a:pt x="9986645" y="3541106"/>
                  <a:pt x="9970135" y="3528406"/>
                </a:cubicBezTo>
                <a:close/>
                <a:moveTo>
                  <a:pt x="8444865" y="5727411"/>
                </a:moveTo>
                <a:cubicBezTo>
                  <a:pt x="8509000" y="5722966"/>
                  <a:pt x="8474075" y="5626446"/>
                  <a:pt x="8422005" y="5664546"/>
                </a:cubicBezTo>
                <a:cubicBezTo>
                  <a:pt x="8396605" y="5684231"/>
                  <a:pt x="8413115" y="5728681"/>
                  <a:pt x="8444865" y="5727411"/>
                </a:cubicBezTo>
                <a:close/>
                <a:moveTo>
                  <a:pt x="8662035" y="5536911"/>
                </a:moveTo>
                <a:cubicBezTo>
                  <a:pt x="8694420" y="5503891"/>
                  <a:pt x="8642350" y="5453726"/>
                  <a:pt x="8610600" y="5487381"/>
                </a:cubicBezTo>
                <a:cubicBezTo>
                  <a:pt x="8578215" y="5520401"/>
                  <a:pt x="8630285" y="5571201"/>
                  <a:pt x="8662035" y="5536911"/>
                </a:cubicBezTo>
                <a:close/>
                <a:moveTo>
                  <a:pt x="8674735" y="5576281"/>
                </a:moveTo>
                <a:cubicBezTo>
                  <a:pt x="8637905" y="5543261"/>
                  <a:pt x="8587105" y="5601681"/>
                  <a:pt x="8624570" y="5634066"/>
                </a:cubicBezTo>
                <a:cubicBezTo>
                  <a:pt x="8661400" y="5666451"/>
                  <a:pt x="8712835" y="5608031"/>
                  <a:pt x="8674735" y="5576281"/>
                </a:cubicBezTo>
                <a:close/>
                <a:moveTo>
                  <a:pt x="8567420" y="5630891"/>
                </a:moveTo>
                <a:cubicBezTo>
                  <a:pt x="8601710" y="5599776"/>
                  <a:pt x="8551545" y="5547071"/>
                  <a:pt x="8518525" y="5578821"/>
                </a:cubicBezTo>
                <a:cubicBezTo>
                  <a:pt x="8484870" y="5609936"/>
                  <a:pt x="8534400" y="5662641"/>
                  <a:pt x="8567420" y="5630891"/>
                </a:cubicBezTo>
                <a:close/>
                <a:moveTo>
                  <a:pt x="8430895" y="5778211"/>
                </a:moveTo>
                <a:cubicBezTo>
                  <a:pt x="8394065" y="5811231"/>
                  <a:pt x="8447405" y="5868381"/>
                  <a:pt x="8482965" y="5834091"/>
                </a:cubicBezTo>
                <a:lnTo>
                  <a:pt x="8482965" y="5834091"/>
                </a:lnTo>
                <a:cubicBezTo>
                  <a:pt x="8519795" y="5800436"/>
                  <a:pt x="8466455" y="5743921"/>
                  <a:pt x="8430895" y="5778211"/>
                </a:cubicBezTo>
                <a:close/>
                <a:moveTo>
                  <a:pt x="8510270" y="5515956"/>
                </a:moveTo>
                <a:cubicBezTo>
                  <a:pt x="8484235" y="5481666"/>
                  <a:pt x="8430895" y="5523576"/>
                  <a:pt x="8458200" y="5556596"/>
                </a:cubicBezTo>
                <a:cubicBezTo>
                  <a:pt x="8484235" y="5590886"/>
                  <a:pt x="8537575" y="5548976"/>
                  <a:pt x="8510270" y="5515956"/>
                </a:cubicBezTo>
                <a:close/>
                <a:moveTo>
                  <a:pt x="8751570" y="5439121"/>
                </a:moveTo>
                <a:cubicBezTo>
                  <a:pt x="8782685" y="5404831"/>
                  <a:pt x="8728075" y="5356571"/>
                  <a:pt x="8698230" y="5392131"/>
                </a:cubicBezTo>
                <a:cubicBezTo>
                  <a:pt x="8667115" y="5426421"/>
                  <a:pt x="8721725" y="5474681"/>
                  <a:pt x="8751570" y="5439121"/>
                </a:cubicBezTo>
                <a:close/>
                <a:moveTo>
                  <a:pt x="8763635" y="5467696"/>
                </a:moveTo>
                <a:cubicBezTo>
                  <a:pt x="8725535" y="5435946"/>
                  <a:pt x="8676640" y="5496906"/>
                  <a:pt x="8716010" y="5527386"/>
                </a:cubicBezTo>
                <a:cubicBezTo>
                  <a:pt x="8753475" y="5559136"/>
                  <a:pt x="8802370" y="5498176"/>
                  <a:pt x="8763635" y="5467696"/>
                </a:cubicBezTo>
                <a:close/>
                <a:moveTo>
                  <a:pt x="9154795" y="4890481"/>
                </a:moveTo>
                <a:cubicBezTo>
                  <a:pt x="9154160" y="4889846"/>
                  <a:pt x="9152890" y="4889211"/>
                  <a:pt x="9151620" y="4889211"/>
                </a:cubicBezTo>
                <a:cubicBezTo>
                  <a:pt x="9150985" y="4851111"/>
                  <a:pt x="9093835" y="4842221"/>
                  <a:pt x="9082405" y="4879051"/>
                </a:cubicBezTo>
                <a:cubicBezTo>
                  <a:pt x="9077325" y="4875241"/>
                  <a:pt x="9070975" y="4873336"/>
                  <a:pt x="9065260" y="4872701"/>
                </a:cubicBezTo>
                <a:cubicBezTo>
                  <a:pt x="9063990" y="4860001"/>
                  <a:pt x="9051925" y="4847936"/>
                  <a:pt x="9039225" y="4846666"/>
                </a:cubicBezTo>
                <a:cubicBezTo>
                  <a:pt x="9053195" y="4823806"/>
                  <a:pt x="9025255" y="4795231"/>
                  <a:pt x="9002395" y="4807931"/>
                </a:cubicBezTo>
                <a:cubicBezTo>
                  <a:pt x="9015730" y="4783166"/>
                  <a:pt x="8981440" y="4757131"/>
                  <a:pt x="8961755" y="4778086"/>
                </a:cubicBezTo>
                <a:cubicBezTo>
                  <a:pt x="8940800" y="4797136"/>
                  <a:pt x="8965565" y="4832061"/>
                  <a:pt x="8990330" y="4819996"/>
                </a:cubicBezTo>
                <a:cubicBezTo>
                  <a:pt x="8980805" y="4835871"/>
                  <a:pt x="8991600" y="4858096"/>
                  <a:pt x="9010015" y="4861271"/>
                </a:cubicBezTo>
                <a:cubicBezTo>
                  <a:pt x="8998585" y="4879051"/>
                  <a:pt x="9010015" y="4905086"/>
                  <a:pt x="9030970" y="4907626"/>
                </a:cubicBezTo>
                <a:cubicBezTo>
                  <a:pt x="9031605" y="4941916"/>
                  <a:pt x="9082405" y="4950806"/>
                  <a:pt x="9094470" y="4918421"/>
                </a:cubicBezTo>
                <a:cubicBezTo>
                  <a:pt x="9095740" y="4919056"/>
                  <a:pt x="9096375" y="4920326"/>
                  <a:pt x="9097645" y="4920961"/>
                </a:cubicBezTo>
                <a:cubicBezTo>
                  <a:pt x="9093835" y="4959061"/>
                  <a:pt x="9149080" y="4977476"/>
                  <a:pt x="9168130" y="4943186"/>
                </a:cubicBezTo>
                <a:lnTo>
                  <a:pt x="9168130" y="4943186"/>
                </a:lnTo>
                <a:cubicBezTo>
                  <a:pt x="9178925" y="4924771"/>
                  <a:pt x="9173210" y="4901276"/>
                  <a:pt x="9154795" y="4890481"/>
                </a:cubicBezTo>
                <a:close/>
                <a:moveTo>
                  <a:pt x="9082405" y="5009861"/>
                </a:moveTo>
                <a:cubicBezTo>
                  <a:pt x="9081135" y="5009226"/>
                  <a:pt x="9079865" y="5008591"/>
                  <a:pt x="9078595" y="5007956"/>
                </a:cubicBezTo>
                <a:cubicBezTo>
                  <a:pt x="9088755" y="4970491"/>
                  <a:pt x="9033510" y="4946996"/>
                  <a:pt x="9013825" y="4981286"/>
                </a:cubicBezTo>
                <a:cubicBezTo>
                  <a:pt x="9008745" y="4975571"/>
                  <a:pt x="9000490" y="4971761"/>
                  <a:pt x="8992870" y="4971761"/>
                </a:cubicBezTo>
                <a:cubicBezTo>
                  <a:pt x="8997950" y="4952076"/>
                  <a:pt x="8977630" y="4931121"/>
                  <a:pt x="8957310" y="4936201"/>
                </a:cubicBezTo>
                <a:cubicBezTo>
                  <a:pt x="8992870" y="4914611"/>
                  <a:pt x="8950960" y="4862541"/>
                  <a:pt x="8922385" y="4893021"/>
                </a:cubicBezTo>
                <a:cubicBezTo>
                  <a:pt x="8903335" y="4911436"/>
                  <a:pt x="8921750" y="4945726"/>
                  <a:pt x="8947150" y="4940011"/>
                </a:cubicBezTo>
                <a:cubicBezTo>
                  <a:pt x="8922385" y="4953346"/>
                  <a:pt x="8930005" y="4993351"/>
                  <a:pt x="8957945" y="4996526"/>
                </a:cubicBezTo>
                <a:cubicBezTo>
                  <a:pt x="8947785" y="5030181"/>
                  <a:pt x="8997315" y="5054311"/>
                  <a:pt x="9017000" y="5023831"/>
                </a:cubicBezTo>
                <a:cubicBezTo>
                  <a:pt x="9019540" y="5026371"/>
                  <a:pt x="9022080" y="5028911"/>
                  <a:pt x="9025255" y="5030816"/>
                </a:cubicBezTo>
                <a:cubicBezTo>
                  <a:pt x="9011920" y="5119716"/>
                  <a:pt x="9149715" y="5070186"/>
                  <a:pt x="9082405" y="5009861"/>
                </a:cubicBezTo>
                <a:close/>
                <a:moveTo>
                  <a:pt x="9225280" y="4769831"/>
                </a:moveTo>
                <a:cubicBezTo>
                  <a:pt x="9223375" y="4768561"/>
                  <a:pt x="9221470" y="4767926"/>
                  <a:pt x="9220200" y="4767291"/>
                </a:cubicBezTo>
                <a:cubicBezTo>
                  <a:pt x="9208770" y="4731731"/>
                  <a:pt x="9152890" y="4739351"/>
                  <a:pt x="9150985" y="4776816"/>
                </a:cubicBezTo>
                <a:cubicBezTo>
                  <a:pt x="9145270" y="4773006"/>
                  <a:pt x="9138285" y="4771736"/>
                  <a:pt x="9131935" y="4771736"/>
                </a:cubicBezTo>
                <a:cubicBezTo>
                  <a:pt x="9128125" y="4764116"/>
                  <a:pt x="9119870" y="4757766"/>
                  <a:pt x="9111615" y="4756496"/>
                </a:cubicBezTo>
                <a:cubicBezTo>
                  <a:pt x="9115425" y="4736176"/>
                  <a:pt x="9092565" y="4718396"/>
                  <a:pt x="9073515" y="4726651"/>
                </a:cubicBezTo>
                <a:cubicBezTo>
                  <a:pt x="9074150" y="4704426"/>
                  <a:pt x="9044305" y="4692361"/>
                  <a:pt x="9029065" y="4708871"/>
                </a:cubicBezTo>
                <a:cubicBezTo>
                  <a:pt x="9010650" y="4727286"/>
                  <a:pt x="9030970" y="4759671"/>
                  <a:pt x="9055100" y="4751416"/>
                </a:cubicBezTo>
                <a:cubicBezTo>
                  <a:pt x="9053830" y="4763481"/>
                  <a:pt x="9062720" y="4776181"/>
                  <a:pt x="9074785" y="4779991"/>
                </a:cubicBezTo>
                <a:cubicBezTo>
                  <a:pt x="9070340" y="4797136"/>
                  <a:pt x="9084310" y="4816821"/>
                  <a:pt x="9102725" y="4817456"/>
                </a:cubicBezTo>
                <a:cubicBezTo>
                  <a:pt x="9114155" y="4848571"/>
                  <a:pt x="9163685" y="4842856"/>
                  <a:pt x="9166225" y="4809201"/>
                </a:cubicBezTo>
                <a:cubicBezTo>
                  <a:pt x="9166860" y="4809836"/>
                  <a:pt x="9168130" y="4810471"/>
                  <a:pt x="9168765" y="4811106"/>
                </a:cubicBezTo>
                <a:cubicBezTo>
                  <a:pt x="9189720" y="4881591"/>
                  <a:pt x="9286240" y="4812376"/>
                  <a:pt x="9225280" y="4769831"/>
                </a:cubicBezTo>
                <a:close/>
                <a:moveTo>
                  <a:pt x="8848090" y="5356571"/>
                </a:moveTo>
                <a:cubicBezTo>
                  <a:pt x="8839835" y="5350856"/>
                  <a:pt x="8830310" y="5348316"/>
                  <a:pt x="8821420" y="5348951"/>
                </a:cubicBezTo>
                <a:cubicBezTo>
                  <a:pt x="8873490" y="5330536"/>
                  <a:pt x="8829675" y="5253066"/>
                  <a:pt x="8787130" y="5287356"/>
                </a:cubicBezTo>
                <a:cubicBezTo>
                  <a:pt x="8790305" y="5257511"/>
                  <a:pt x="8749665" y="5239731"/>
                  <a:pt x="8729980" y="5262591"/>
                </a:cubicBezTo>
                <a:cubicBezTo>
                  <a:pt x="8702040" y="5291166"/>
                  <a:pt x="8743315" y="5336251"/>
                  <a:pt x="8774430" y="5311486"/>
                </a:cubicBezTo>
                <a:cubicBezTo>
                  <a:pt x="8771890" y="5332441"/>
                  <a:pt x="8792210" y="5353396"/>
                  <a:pt x="8813165" y="5350221"/>
                </a:cubicBezTo>
                <a:cubicBezTo>
                  <a:pt x="8773160" y="5362286"/>
                  <a:pt x="8783320" y="5425786"/>
                  <a:pt x="8825230" y="5424516"/>
                </a:cubicBezTo>
                <a:cubicBezTo>
                  <a:pt x="8860155" y="5427056"/>
                  <a:pt x="8877300" y="5377526"/>
                  <a:pt x="8848090" y="5356571"/>
                </a:cubicBezTo>
                <a:close/>
                <a:moveTo>
                  <a:pt x="9006840" y="5127336"/>
                </a:moveTo>
                <a:cubicBezTo>
                  <a:pt x="9004935" y="5126066"/>
                  <a:pt x="9002395" y="5124796"/>
                  <a:pt x="8999855" y="5123526"/>
                </a:cubicBezTo>
                <a:cubicBezTo>
                  <a:pt x="9019540" y="5087966"/>
                  <a:pt x="8968740" y="5052406"/>
                  <a:pt x="8942070" y="5082886"/>
                </a:cubicBezTo>
                <a:cubicBezTo>
                  <a:pt x="8936355" y="5072726"/>
                  <a:pt x="8924290" y="5067011"/>
                  <a:pt x="8912860" y="5067646"/>
                </a:cubicBezTo>
                <a:cubicBezTo>
                  <a:pt x="8933180" y="5037166"/>
                  <a:pt x="8888095" y="5002876"/>
                  <a:pt x="8863965" y="5030816"/>
                </a:cubicBezTo>
                <a:cubicBezTo>
                  <a:pt x="8846185" y="5049231"/>
                  <a:pt x="8860790" y="5082886"/>
                  <a:pt x="8886190" y="5082251"/>
                </a:cubicBezTo>
                <a:cubicBezTo>
                  <a:pt x="8863330" y="5114001"/>
                  <a:pt x="8909050" y="5152736"/>
                  <a:pt x="8936355" y="5124796"/>
                </a:cubicBezTo>
                <a:cubicBezTo>
                  <a:pt x="8939530" y="5131146"/>
                  <a:pt x="8945245" y="5136226"/>
                  <a:pt x="8951595" y="5139401"/>
                </a:cubicBezTo>
                <a:cubicBezTo>
                  <a:pt x="8935720" y="5163531"/>
                  <a:pt x="8955405" y="5197821"/>
                  <a:pt x="8983980" y="5197186"/>
                </a:cubicBezTo>
                <a:cubicBezTo>
                  <a:pt x="9022080" y="5198456"/>
                  <a:pt x="9038590" y="5147021"/>
                  <a:pt x="9006840" y="5127336"/>
                </a:cubicBezTo>
                <a:close/>
                <a:moveTo>
                  <a:pt x="9293860" y="4648546"/>
                </a:moveTo>
                <a:cubicBezTo>
                  <a:pt x="9290050" y="4646006"/>
                  <a:pt x="9285605" y="4644736"/>
                  <a:pt x="9281160" y="4644101"/>
                </a:cubicBezTo>
                <a:cubicBezTo>
                  <a:pt x="9258300" y="4616796"/>
                  <a:pt x="9210675" y="4641561"/>
                  <a:pt x="9219565" y="4675851"/>
                </a:cubicBezTo>
                <a:cubicBezTo>
                  <a:pt x="9211310" y="4670136"/>
                  <a:pt x="9201150" y="4669501"/>
                  <a:pt x="9191625" y="4672041"/>
                </a:cubicBezTo>
                <a:cubicBezTo>
                  <a:pt x="9187815" y="4668231"/>
                  <a:pt x="9182100" y="4665691"/>
                  <a:pt x="9176385" y="4665056"/>
                </a:cubicBezTo>
                <a:cubicBezTo>
                  <a:pt x="9173210" y="4647911"/>
                  <a:pt x="9151620" y="4638386"/>
                  <a:pt x="9136380" y="4646641"/>
                </a:cubicBezTo>
                <a:cubicBezTo>
                  <a:pt x="9098915" y="4590761"/>
                  <a:pt x="9055735" y="4692361"/>
                  <a:pt x="9122410" y="4680296"/>
                </a:cubicBezTo>
                <a:cubicBezTo>
                  <a:pt x="9124950" y="4688551"/>
                  <a:pt x="9132570" y="4696171"/>
                  <a:pt x="9141460" y="4698711"/>
                </a:cubicBezTo>
                <a:cubicBezTo>
                  <a:pt x="9142730" y="4715221"/>
                  <a:pt x="9159875" y="4728556"/>
                  <a:pt x="9176385" y="4725381"/>
                </a:cubicBezTo>
                <a:cubicBezTo>
                  <a:pt x="9197340" y="4750781"/>
                  <a:pt x="9241155" y="4729191"/>
                  <a:pt x="9233535" y="4696806"/>
                </a:cubicBezTo>
                <a:cubicBezTo>
                  <a:pt x="9236075" y="4698711"/>
                  <a:pt x="9238615" y="4699981"/>
                  <a:pt x="9241790" y="4701251"/>
                </a:cubicBezTo>
                <a:cubicBezTo>
                  <a:pt x="9277985" y="4754591"/>
                  <a:pt x="9348470" y="4682201"/>
                  <a:pt x="9293860" y="4648546"/>
                </a:cubicBezTo>
                <a:close/>
                <a:moveTo>
                  <a:pt x="8928735" y="5242906"/>
                </a:moveTo>
                <a:cubicBezTo>
                  <a:pt x="8924925" y="5240366"/>
                  <a:pt x="8920480" y="5238461"/>
                  <a:pt x="8916035" y="5237191"/>
                </a:cubicBezTo>
                <a:cubicBezTo>
                  <a:pt x="8947150" y="5206076"/>
                  <a:pt x="8900160" y="5156546"/>
                  <a:pt x="8867140" y="5185121"/>
                </a:cubicBezTo>
                <a:cubicBezTo>
                  <a:pt x="8860790" y="5160356"/>
                  <a:pt x="8826500" y="5152736"/>
                  <a:pt x="8810625" y="5173056"/>
                </a:cubicBezTo>
                <a:cubicBezTo>
                  <a:pt x="8810625" y="5173056"/>
                  <a:pt x="8810625" y="5173056"/>
                  <a:pt x="8810625" y="5173056"/>
                </a:cubicBezTo>
                <a:cubicBezTo>
                  <a:pt x="8784590" y="5202266"/>
                  <a:pt x="8825865" y="5245446"/>
                  <a:pt x="8855710" y="5220681"/>
                </a:cubicBezTo>
                <a:cubicBezTo>
                  <a:pt x="8858250" y="5232111"/>
                  <a:pt x="8868410" y="5242906"/>
                  <a:pt x="8879840" y="5246081"/>
                </a:cubicBezTo>
                <a:cubicBezTo>
                  <a:pt x="8855075" y="5268306"/>
                  <a:pt x="8872855" y="5312756"/>
                  <a:pt x="8905875" y="5311486"/>
                </a:cubicBezTo>
                <a:cubicBezTo>
                  <a:pt x="8942705" y="5314026"/>
                  <a:pt x="8959215" y="5263226"/>
                  <a:pt x="8928735" y="5242906"/>
                </a:cubicBezTo>
                <a:close/>
                <a:moveTo>
                  <a:pt x="10547350" y="2764501"/>
                </a:moveTo>
                <a:cubicBezTo>
                  <a:pt x="10530840" y="2747356"/>
                  <a:pt x="10504170" y="2774026"/>
                  <a:pt x="10521315" y="2790536"/>
                </a:cubicBezTo>
                <a:cubicBezTo>
                  <a:pt x="10537825" y="2807681"/>
                  <a:pt x="10564495" y="2781011"/>
                  <a:pt x="10547350" y="2764501"/>
                </a:cubicBezTo>
                <a:close/>
                <a:moveTo>
                  <a:pt x="4338320" y="4272626"/>
                </a:moveTo>
                <a:cubicBezTo>
                  <a:pt x="4329430" y="4250401"/>
                  <a:pt x="4295140" y="4265641"/>
                  <a:pt x="4304665" y="4287231"/>
                </a:cubicBezTo>
                <a:cubicBezTo>
                  <a:pt x="4313555" y="4308821"/>
                  <a:pt x="4347845" y="4294216"/>
                  <a:pt x="4338320" y="4272626"/>
                </a:cubicBezTo>
                <a:close/>
                <a:moveTo>
                  <a:pt x="10756900" y="2722591"/>
                </a:moveTo>
                <a:cubicBezTo>
                  <a:pt x="10740390" y="2734656"/>
                  <a:pt x="10759440" y="2760691"/>
                  <a:pt x="10775950" y="2747991"/>
                </a:cubicBezTo>
                <a:cubicBezTo>
                  <a:pt x="10792460" y="2736561"/>
                  <a:pt x="10773410" y="2710526"/>
                  <a:pt x="10756900" y="2722591"/>
                </a:cubicBezTo>
                <a:close/>
                <a:moveTo>
                  <a:pt x="10706100" y="2760691"/>
                </a:moveTo>
                <a:cubicBezTo>
                  <a:pt x="10689590" y="2772756"/>
                  <a:pt x="10709275" y="2798791"/>
                  <a:pt x="10725785" y="2786091"/>
                </a:cubicBezTo>
                <a:cubicBezTo>
                  <a:pt x="10741660" y="2774026"/>
                  <a:pt x="10721975" y="2747991"/>
                  <a:pt x="10706100" y="2760691"/>
                </a:cubicBezTo>
                <a:close/>
                <a:moveTo>
                  <a:pt x="10814685" y="2525106"/>
                </a:moveTo>
                <a:cubicBezTo>
                  <a:pt x="10800080" y="2506691"/>
                  <a:pt x="10770870" y="2530186"/>
                  <a:pt x="10786110" y="2547966"/>
                </a:cubicBezTo>
                <a:cubicBezTo>
                  <a:pt x="10801350" y="2567016"/>
                  <a:pt x="10830560" y="2543521"/>
                  <a:pt x="10814685" y="2525106"/>
                </a:cubicBezTo>
                <a:close/>
                <a:moveTo>
                  <a:pt x="10655935" y="2800696"/>
                </a:moveTo>
                <a:cubicBezTo>
                  <a:pt x="10639425" y="2813396"/>
                  <a:pt x="10659745" y="2838796"/>
                  <a:pt x="10675620" y="2825461"/>
                </a:cubicBezTo>
                <a:cubicBezTo>
                  <a:pt x="10692130" y="2812761"/>
                  <a:pt x="10671810" y="2787361"/>
                  <a:pt x="10655935" y="2800696"/>
                </a:cubicBezTo>
                <a:close/>
                <a:moveTo>
                  <a:pt x="10651490" y="2665441"/>
                </a:moveTo>
                <a:cubicBezTo>
                  <a:pt x="10635615" y="2647661"/>
                  <a:pt x="10608310" y="2673061"/>
                  <a:pt x="10624820" y="2690206"/>
                </a:cubicBezTo>
                <a:cubicBezTo>
                  <a:pt x="10640695" y="2707986"/>
                  <a:pt x="10668000" y="2682586"/>
                  <a:pt x="10651490" y="2665441"/>
                </a:cubicBezTo>
                <a:close/>
                <a:moveTo>
                  <a:pt x="10704830" y="2617181"/>
                </a:moveTo>
                <a:cubicBezTo>
                  <a:pt x="10689590" y="2599401"/>
                  <a:pt x="10661650" y="2624166"/>
                  <a:pt x="10677525" y="2641311"/>
                </a:cubicBezTo>
                <a:cubicBezTo>
                  <a:pt x="10693400" y="2659726"/>
                  <a:pt x="10721340" y="2634961"/>
                  <a:pt x="10704830" y="2617181"/>
                </a:cubicBezTo>
                <a:close/>
                <a:moveTo>
                  <a:pt x="10808970" y="2685126"/>
                </a:moveTo>
                <a:cubicBezTo>
                  <a:pt x="10791825" y="2696556"/>
                  <a:pt x="10810875" y="2723226"/>
                  <a:pt x="10827385" y="2711161"/>
                </a:cubicBezTo>
                <a:cubicBezTo>
                  <a:pt x="10843895" y="2699731"/>
                  <a:pt x="10825480" y="2673061"/>
                  <a:pt x="10808970" y="2685126"/>
                </a:cubicBezTo>
                <a:close/>
                <a:moveTo>
                  <a:pt x="10917555" y="2243801"/>
                </a:moveTo>
                <a:cubicBezTo>
                  <a:pt x="10917555" y="2243801"/>
                  <a:pt x="10917555" y="2243801"/>
                  <a:pt x="10917555" y="2243801"/>
                </a:cubicBezTo>
                <a:cubicBezTo>
                  <a:pt x="10896600" y="2260946"/>
                  <a:pt x="10923905" y="2293331"/>
                  <a:pt x="10944225" y="2276186"/>
                </a:cubicBezTo>
                <a:cubicBezTo>
                  <a:pt x="10965180" y="2259041"/>
                  <a:pt x="10938510" y="2226656"/>
                  <a:pt x="10917555" y="2243801"/>
                </a:cubicBezTo>
                <a:close/>
                <a:moveTo>
                  <a:pt x="10868025" y="2506691"/>
                </a:moveTo>
                <a:cubicBezTo>
                  <a:pt x="10887075" y="2492086"/>
                  <a:pt x="10864215" y="2462876"/>
                  <a:pt x="10845800" y="2477481"/>
                </a:cubicBezTo>
                <a:cubicBezTo>
                  <a:pt x="10826750" y="2491451"/>
                  <a:pt x="10849610" y="2521296"/>
                  <a:pt x="10868025" y="2506691"/>
                </a:cubicBezTo>
                <a:close/>
                <a:moveTo>
                  <a:pt x="10277475" y="3031836"/>
                </a:moveTo>
                <a:cubicBezTo>
                  <a:pt x="10262235" y="3049616"/>
                  <a:pt x="10290810" y="3073746"/>
                  <a:pt x="10305415" y="3055331"/>
                </a:cubicBezTo>
                <a:cubicBezTo>
                  <a:pt x="10321290" y="3036916"/>
                  <a:pt x="10292715" y="3013421"/>
                  <a:pt x="10277475" y="3031836"/>
                </a:cubicBezTo>
                <a:close/>
                <a:moveTo>
                  <a:pt x="10915015" y="2614006"/>
                </a:moveTo>
                <a:cubicBezTo>
                  <a:pt x="10897235" y="2624801"/>
                  <a:pt x="10915015" y="2652106"/>
                  <a:pt x="10932160" y="2640676"/>
                </a:cubicBezTo>
                <a:cubicBezTo>
                  <a:pt x="10949305" y="2629881"/>
                  <a:pt x="10932160" y="2602576"/>
                  <a:pt x="10915015" y="2614006"/>
                </a:cubicBezTo>
                <a:close/>
                <a:moveTo>
                  <a:pt x="10606405" y="2840701"/>
                </a:moveTo>
                <a:cubicBezTo>
                  <a:pt x="10590530" y="2853401"/>
                  <a:pt x="10610850" y="2878801"/>
                  <a:pt x="10626725" y="2864831"/>
                </a:cubicBezTo>
                <a:cubicBezTo>
                  <a:pt x="10642600" y="2852131"/>
                  <a:pt x="10621645" y="2827366"/>
                  <a:pt x="10606405" y="2840701"/>
                </a:cubicBezTo>
                <a:close/>
                <a:moveTo>
                  <a:pt x="10861675" y="2648931"/>
                </a:moveTo>
                <a:cubicBezTo>
                  <a:pt x="10844530" y="2660361"/>
                  <a:pt x="10862310" y="2687031"/>
                  <a:pt x="10879455" y="2674966"/>
                </a:cubicBezTo>
                <a:cubicBezTo>
                  <a:pt x="10896600" y="2664171"/>
                  <a:pt x="10878185" y="2637501"/>
                  <a:pt x="10861675" y="2648931"/>
                </a:cubicBezTo>
                <a:close/>
                <a:moveTo>
                  <a:pt x="10925175" y="2463511"/>
                </a:moveTo>
                <a:cubicBezTo>
                  <a:pt x="10944860" y="2449541"/>
                  <a:pt x="10922635" y="2419696"/>
                  <a:pt x="10903585" y="2433666"/>
                </a:cubicBezTo>
                <a:cubicBezTo>
                  <a:pt x="10883900" y="2447636"/>
                  <a:pt x="10906125" y="2478116"/>
                  <a:pt x="10925175" y="2463511"/>
                </a:cubicBezTo>
                <a:close/>
                <a:moveTo>
                  <a:pt x="10855960" y="2296506"/>
                </a:moveTo>
                <a:cubicBezTo>
                  <a:pt x="10835640" y="2314286"/>
                  <a:pt x="10863580" y="2346036"/>
                  <a:pt x="10883265" y="2327621"/>
                </a:cubicBezTo>
                <a:cubicBezTo>
                  <a:pt x="10904220" y="2310476"/>
                  <a:pt x="10876280" y="2278091"/>
                  <a:pt x="10855960" y="2296506"/>
                </a:cubicBezTo>
                <a:close/>
                <a:moveTo>
                  <a:pt x="10983595" y="2422236"/>
                </a:moveTo>
                <a:cubicBezTo>
                  <a:pt x="11003280" y="2408901"/>
                  <a:pt x="10981690" y="2378421"/>
                  <a:pt x="10962640" y="2392391"/>
                </a:cubicBezTo>
                <a:cubicBezTo>
                  <a:pt x="10942320" y="2405091"/>
                  <a:pt x="10963910" y="2436206"/>
                  <a:pt x="10983595" y="2422236"/>
                </a:cubicBezTo>
                <a:close/>
                <a:moveTo>
                  <a:pt x="10398125" y="2920711"/>
                </a:moveTo>
                <a:cubicBezTo>
                  <a:pt x="10356850" y="2895946"/>
                  <a:pt x="10361295" y="2975956"/>
                  <a:pt x="10399395" y="2946746"/>
                </a:cubicBezTo>
                <a:lnTo>
                  <a:pt x="10399395" y="2946746"/>
                </a:lnTo>
                <a:cubicBezTo>
                  <a:pt x="10406380" y="2939126"/>
                  <a:pt x="10405745" y="2927696"/>
                  <a:pt x="10398125" y="2920711"/>
                </a:cubicBezTo>
                <a:close/>
                <a:moveTo>
                  <a:pt x="10370185" y="3054696"/>
                </a:moveTo>
                <a:cubicBezTo>
                  <a:pt x="10355580" y="3068666"/>
                  <a:pt x="10377805" y="3092161"/>
                  <a:pt x="10392410" y="3077556"/>
                </a:cubicBezTo>
                <a:cubicBezTo>
                  <a:pt x="10407015" y="3062951"/>
                  <a:pt x="10384790" y="3040091"/>
                  <a:pt x="10370185" y="3054696"/>
                </a:cubicBezTo>
                <a:close/>
                <a:moveTo>
                  <a:pt x="10438130" y="2759421"/>
                </a:moveTo>
                <a:cubicBezTo>
                  <a:pt x="10408285" y="2737196"/>
                  <a:pt x="10387965" y="2794981"/>
                  <a:pt x="10424795" y="2796251"/>
                </a:cubicBezTo>
                <a:cubicBezTo>
                  <a:pt x="10443845" y="2797521"/>
                  <a:pt x="10453370" y="2770851"/>
                  <a:pt x="10438130" y="2759421"/>
                </a:cubicBezTo>
                <a:close/>
                <a:moveTo>
                  <a:pt x="10415905" y="3010246"/>
                </a:moveTo>
                <a:cubicBezTo>
                  <a:pt x="10400665" y="3024216"/>
                  <a:pt x="10422890" y="3047711"/>
                  <a:pt x="10438130" y="3033106"/>
                </a:cubicBezTo>
                <a:cubicBezTo>
                  <a:pt x="10452735" y="3019771"/>
                  <a:pt x="10430510" y="2996276"/>
                  <a:pt x="10415905" y="3010246"/>
                </a:cubicBezTo>
                <a:close/>
                <a:moveTo>
                  <a:pt x="10391140" y="2851496"/>
                </a:moveTo>
                <a:cubicBezTo>
                  <a:pt x="10408285" y="2830541"/>
                  <a:pt x="10374630" y="2804506"/>
                  <a:pt x="10358755" y="2825461"/>
                </a:cubicBezTo>
                <a:cubicBezTo>
                  <a:pt x="10340975" y="2846416"/>
                  <a:pt x="10374630" y="2873086"/>
                  <a:pt x="10391140" y="2851496"/>
                </a:cubicBezTo>
                <a:close/>
                <a:moveTo>
                  <a:pt x="10325100" y="3099781"/>
                </a:moveTo>
                <a:cubicBezTo>
                  <a:pt x="10310495" y="3114386"/>
                  <a:pt x="10333355" y="3136611"/>
                  <a:pt x="10347960" y="3122006"/>
                </a:cubicBezTo>
                <a:cubicBezTo>
                  <a:pt x="10362565" y="3108036"/>
                  <a:pt x="10339070" y="3085176"/>
                  <a:pt x="10325100" y="3099781"/>
                </a:cubicBezTo>
                <a:close/>
                <a:moveTo>
                  <a:pt x="10324465" y="2976591"/>
                </a:moveTo>
                <a:cubicBezTo>
                  <a:pt x="10308590" y="2994371"/>
                  <a:pt x="10337165" y="3019136"/>
                  <a:pt x="10352405" y="3000721"/>
                </a:cubicBezTo>
                <a:cubicBezTo>
                  <a:pt x="10368280" y="2982941"/>
                  <a:pt x="10339705" y="2958176"/>
                  <a:pt x="10324465" y="2976591"/>
                </a:cubicBezTo>
                <a:close/>
                <a:moveTo>
                  <a:pt x="10420985" y="2868641"/>
                </a:moveTo>
                <a:cubicBezTo>
                  <a:pt x="10404475" y="2885786"/>
                  <a:pt x="10431780" y="2911186"/>
                  <a:pt x="10447655" y="2893406"/>
                </a:cubicBezTo>
                <a:cubicBezTo>
                  <a:pt x="10464165" y="2876896"/>
                  <a:pt x="10436860" y="2851496"/>
                  <a:pt x="10420985" y="2868641"/>
                </a:cubicBezTo>
                <a:close/>
                <a:moveTo>
                  <a:pt x="10968990" y="2580351"/>
                </a:moveTo>
                <a:cubicBezTo>
                  <a:pt x="10951210" y="2591146"/>
                  <a:pt x="10968355" y="2618451"/>
                  <a:pt x="10985500" y="2607656"/>
                </a:cubicBezTo>
                <a:cubicBezTo>
                  <a:pt x="11003280" y="2596861"/>
                  <a:pt x="10986135" y="2569556"/>
                  <a:pt x="10968990" y="2580351"/>
                </a:cubicBezTo>
                <a:close/>
                <a:moveTo>
                  <a:pt x="10598785" y="2714336"/>
                </a:moveTo>
                <a:cubicBezTo>
                  <a:pt x="10582910" y="2697191"/>
                  <a:pt x="10555605" y="2723226"/>
                  <a:pt x="10572115" y="2739736"/>
                </a:cubicBezTo>
                <a:cubicBezTo>
                  <a:pt x="10588625" y="2757516"/>
                  <a:pt x="10615295" y="2731481"/>
                  <a:pt x="10598785" y="2714336"/>
                </a:cubicBezTo>
                <a:close/>
                <a:moveTo>
                  <a:pt x="10509885" y="2923886"/>
                </a:moveTo>
                <a:cubicBezTo>
                  <a:pt x="10494010" y="2937221"/>
                  <a:pt x="10515600" y="2961351"/>
                  <a:pt x="10530840" y="2947381"/>
                </a:cubicBezTo>
                <a:cubicBezTo>
                  <a:pt x="10546080" y="2934046"/>
                  <a:pt x="10525125" y="2909916"/>
                  <a:pt x="10509885" y="2923886"/>
                </a:cubicBezTo>
                <a:close/>
                <a:moveTo>
                  <a:pt x="10557510" y="2881976"/>
                </a:moveTo>
                <a:cubicBezTo>
                  <a:pt x="10541635" y="2895311"/>
                  <a:pt x="10562590" y="2920076"/>
                  <a:pt x="10578465" y="2906106"/>
                </a:cubicBezTo>
                <a:cubicBezTo>
                  <a:pt x="10594340" y="2892771"/>
                  <a:pt x="10572750" y="2868006"/>
                  <a:pt x="10557510" y="2881976"/>
                </a:cubicBezTo>
                <a:close/>
                <a:moveTo>
                  <a:pt x="10470515" y="2816571"/>
                </a:moveTo>
                <a:cubicBezTo>
                  <a:pt x="10454005" y="2833716"/>
                  <a:pt x="10480675" y="2859116"/>
                  <a:pt x="10497185" y="2841971"/>
                </a:cubicBezTo>
                <a:cubicBezTo>
                  <a:pt x="10513695" y="2824826"/>
                  <a:pt x="10487025" y="2798791"/>
                  <a:pt x="10470515" y="2816571"/>
                </a:cubicBezTo>
                <a:close/>
                <a:moveTo>
                  <a:pt x="10476230" y="2734656"/>
                </a:moveTo>
                <a:cubicBezTo>
                  <a:pt x="10494645" y="2735291"/>
                  <a:pt x="10504805" y="2709891"/>
                  <a:pt x="10489565" y="2697826"/>
                </a:cubicBezTo>
                <a:cubicBezTo>
                  <a:pt x="10460355" y="2674966"/>
                  <a:pt x="10438765" y="2732751"/>
                  <a:pt x="10476230" y="2734656"/>
                </a:cubicBezTo>
                <a:close/>
                <a:moveTo>
                  <a:pt x="10462260" y="2967066"/>
                </a:moveTo>
                <a:cubicBezTo>
                  <a:pt x="10447020" y="2981036"/>
                  <a:pt x="10468610" y="3004531"/>
                  <a:pt x="10483850" y="2990561"/>
                </a:cubicBezTo>
                <a:cubicBezTo>
                  <a:pt x="10499090" y="2976591"/>
                  <a:pt x="10477500" y="2952461"/>
                  <a:pt x="10462260" y="2967066"/>
                </a:cubicBezTo>
                <a:close/>
                <a:moveTo>
                  <a:pt x="6231255" y="5226396"/>
                </a:moveTo>
                <a:cubicBezTo>
                  <a:pt x="6192520" y="5257511"/>
                  <a:pt x="6242685" y="5317201"/>
                  <a:pt x="6280150" y="5284816"/>
                </a:cubicBezTo>
                <a:cubicBezTo>
                  <a:pt x="6318250" y="5254336"/>
                  <a:pt x="6268720" y="5194646"/>
                  <a:pt x="6231255" y="5226396"/>
                </a:cubicBezTo>
                <a:close/>
                <a:moveTo>
                  <a:pt x="1731010" y="5711536"/>
                </a:moveTo>
                <a:cubicBezTo>
                  <a:pt x="1739900" y="5750271"/>
                  <a:pt x="1800860" y="5735666"/>
                  <a:pt x="1790700" y="5696931"/>
                </a:cubicBezTo>
                <a:cubicBezTo>
                  <a:pt x="1781810" y="5658196"/>
                  <a:pt x="1720850" y="5673436"/>
                  <a:pt x="1731010" y="5711536"/>
                </a:cubicBezTo>
                <a:close/>
                <a:moveTo>
                  <a:pt x="1766570" y="5559771"/>
                </a:moveTo>
                <a:cubicBezTo>
                  <a:pt x="1752600" y="5561676"/>
                  <a:pt x="1743075" y="5575011"/>
                  <a:pt x="1744980" y="5588981"/>
                </a:cubicBezTo>
                <a:cubicBezTo>
                  <a:pt x="1746885" y="5602951"/>
                  <a:pt x="1760855" y="5612476"/>
                  <a:pt x="1774190" y="5610571"/>
                </a:cubicBezTo>
                <a:lnTo>
                  <a:pt x="1774190" y="5610571"/>
                </a:lnTo>
                <a:cubicBezTo>
                  <a:pt x="1807845" y="5606126"/>
                  <a:pt x="1799590" y="5554056"/>
                  <a:pt x="1766570" y="5559771"/>
                </a:cubicBezTo>
                <a:close/>
                <a:moveTo>
                  <a:pt x="1809750" y="5635971"/>
                </a:moveTo>
                <a:cubicBezTo>
                  <a:pt x="1803400" y="5599776"/>
                  <a:pt x="1746885" y="5611206"/>
                  <a:pt x="1754505" y="5647401"/>
                </a:cubicBezTo>
                <a:cubicBezTo>
                  <a:pt x="1761490" y="5683596"/>
                  <a:pt x="1817370" y="5672166"/>
                  <a:pt x="1809750" y="5635971"/>
                </a:cubicBezTo>
                <a:close/>
                <a:moveTo>
                  <a:pt x="1828165" y="5423881"/>
                </a:moveTo>
                <a:cubicBezTo>
                  <a:pt x="1833245" y="5447376"/>
                  <a:pt x="1869440" y="5438486"/>
                  <a:pt x="1863725" y="5415626"/>
                </a:cubicBezTo>
                <a:cubicBezTo>
                  <a:pt x="1858645" y="5392131"/>
                  <a:pt x="1822450" y="5401021"/>
                  <a:pt x="1828165" y="5423881"/>
                </a:cubicBezTo>
                <a:close/>
                <a:moveTo>
                  <a:pt x="1885315" y="5456266"/>
                </a:moveTo>
                <a:cubicBezTo>
                  <a:pt x="1863090" y="5406101"/>
                  <a:pt x="1814195" y="5481031"/>
                  <a:pt x="1869440" y="5481031"/>
                </a:cubicBezTo>
                <a:cubicBezTo>
                  <a:pt x="1880235" y="5478491"/>
                  <a:pt x="1887855" y="5467696"/>
                  <a:pt x="1885315" y="5456266"/>
                </a:cubicBezTo>
                <a:close/>
                <a:moveTo>
                  <a:pt x="1879600" y="5389591"/>
                </a:moveTo>
                <a:cubicBezTo>
                  <a:pt x="1903095" y="5389591"/>
                  <a:pt x="1898015" y="5352126"/>
                  <a:pt x="1875155" y="5358476"/>
                </a:cubicBezTo>
                <a:cubicBezTo>
                  <a:pt x="1857375" y="5362921"/>
                  <a:pt x="1861820" y="5390226"/>
                  <a:pt x="1879600" y="5389591"/>
                </a:cubicBezTo>
                <a:close/>
                <a:moveTo>
                  <a:pt x="1869440" y="5481031"/>
                </a:moveTo>
                <a:cubicBezTo>
                  <a:pt x="1869440" y="5481031"/>
                  <a:pt x="1869440" y="5481031"/>
                  <a:pt x="1869440" y="5481031"/>
                </a:cubicBezTo>
                <a:cubicBezTo>
                  <a:pt x="1869440" y="5481031"/>
                  <a:pt x="1869440" y="5481031"/>
                  <a:pt x="1869440" y="5481031"/>
                </a:cubicBezTo>
                <a:lnTo>
                  <a:pt x="1869440" y="5481031"/>
                </a:lnTo>
                <a:close/>
                <a:moveTo>
                  <a:pt x="1830705" y="5519131"/>
                </a:moveTo>
                <a:cubicBezTo>
                  <a:pt x="1826260" y="5489286"/>
                  <a:pt x="1779270" y="5497541"/>
                  <a:pt x="1784985" y="5527386"/>
                </a:cubicBezTo>
                <a:cubicBezTo>
                  <a:pt x="1790065" y="5556596"/>
                  <a:pt x="1836420" y="5548341"/>
                  <a:pt x="1830705" y="5519131"/>
                </a:cubicBezTo>
                <a:close/>
                <a:moveTo>
                  <a:pt x="1818005" y="5406736"/>
                </a:moveTo>
                <a:cubicBezTo>
                  <a:pt x="1841500" y="5406736"/>
                  <a:pt x="1836420" y="5369271"/>
                  <a:pt x="1813560" y="5375621"/>
                </a:cubicBezTo>
                <a:cubicBezTo>
                  <a:pt x="1796415" y="5379431"/>
                  <a:pt x="1800225" y="5407371"/>
                  <a:pt x="1818005" y="5406736"/>
                </a:cubicBezTo>
                <a:close/>
                <a:moveTo>
                  <a:pt x="1644650" y="5694391"/>
                </a:moveTo>
                <a:cubicBezTo>
                  <a:pt x="1604645" y="5698201"/>
                  <a:pt x="1612265" y="5761066"/>
                  <a:pt x="1651635" y="5755351"/>
                </a:cubicBezTo>
                <a:cubicBezTo>
                  <a:pt x="1691640" y="5751541"/>
                  <a:pt x="1684020" y="5689311"/>
                  <a:pt x="1644650" y="5694391"/>
                </a:cubicBezTo>
                <a:close/>
                <a:moveTo>
                  <a:pt x="1703705" y="5468331"/>
                </a:moveTo>
                <a:cubicBezTo>
                  <a:pt x="1677035" y="5472141"/>
                  <a:pt x="1683385" y="5514051"/>
                  <a:pt x="1710055" y="5509606"/>
                </a:cubicBezTo>
                <a:cubicBezTo>
                  <a:pt x="1736090" y="5505796"/>
                  <a:pt x="1730375" y="5463886"/>
                  <a:pt x="1703705" y="5468331"/>
                </a:cubicBezTo>
                <a:close/>
                <a:moveTo>
                  <a:pt x="1705610" y="5655021"/>
                </a:moveTo>
                <a:cubicBezTo>
                  <a:pt x="1702435" y="5618826"/>
                  <a:pt x="1645285" y="5624541"/>
                  <a:pt x="1649730" y="5660736"/>
                </a:cubicBezTo>
                <a:cubicBezTo>
                  <a:pt x="1652905" y="5697566"/>
                  <a:pt x="1710055" y="5691216"/>
                  <a:pt x="1705610" y="5655021"/>
                </a:cubicBezTo>
                <a:close/>
                <a:moveTo>
                  <a:pt x="1894840" y="5529291"/>
                </a:moveTo>
                <a:cubicBezTo>
                  <a:pt x="1928495" y="5529291"/>
                  <a:pt x="1922780" y="5475951"/>
                  <a:pt x="1889760" y="5483571"/>
                </a:cubicBezTo>
                <a:cubicBezTo>
                  <a:pt x="1863090" y="5488016"/>
                  <a:pt x="1868170" y="5529926"/>
                  <a:pt x="1894840" y="5529291"/>
                </a:cubicBezTo>
                <a:close/>
                <a:moveTo>
                  <a:pt x="1717040" y="5512781"/>
                </a:moveTo>
                <a:cubicBezTo>
                  <a:pt x="1687195" y="5515956"/>
                  <a:pt x="1692910" y="5563581"/>
                  <a:pt x="1722755" y="5559136"/>
                </a:cubicBezTo>
                <a:cubicBezTo>
                  <a:pt x="1752600" y="5555961"/>
                  <a:pt x="1746885" y="5508971"/>
                  <a:pt x="1717040" y="5512781"/>
                </a:cubicBezTo>
                <a:close/>
                <a:moveTo>
                  <a:pt x="1782445" y="5455631"/>
                </a:moveTo>
                <a:cubicBezTo>
                  <a:pt x="1755775" y="5460076"/>
                  <a:pt x="1763395" y="5501986"/>
                  <a:pt x="1790065" y="5496271"/>
                </a:cubicBezTo>
                <a:cubicBezTo>
                  <a:pt x="1816100" y="5491826"/>
                  <a:pt x="1808480" y="5450551"/>
                  <a:pt x="1782445" y="5455631"/>
                </a:cubicBezTo>
                <a:close/>
                <a:moveTo>
                  <a:pt x="1756410" y="5422611"/>
                </a:moveTo>
                <a:cubicBezTo>
                  <a:pt x="1758950" y="5422611"/>
                  <a:pt x="1762125" y="5421976"/>
                  <a:pt x="1764030" y="5420706"/>
                </a:cubicBezTo>
                <a:cubicBezTo>
                  <a:pt x="1748790" y="5431501"/>
                  <a:pt x="1760855" y="5457536"/>
                  <a:pt x="1779270" y="5453091"/>
                </a:cubicBezTo>
                <a:cubicBezTo>
                  <a:pt x="1806575" y="5447376"/>
                  <a:pt x="1790700" y="5405466"/>
                  <a:pt x="1766570" y="5419436"/>
                </a:cubicBezTo>
                <a:cubicBezTo>
                  <a:pt x="1779905" y="5409276"/>
                  <a:pt x="1768475" y="5387051"/>
                  <a:pt x="1752600" y="5391496"/>
                </a:cubicBezTo>
                <a:cubicBezTo>
                  <a:pt x="1734820" y="5395941"/>
                  <a:pt x="1738630" y="5423246"/>
                  <a:pt x="1756410" y="5422611"/>
                </a:cubicBezTo>
                <a:close/>
                <a:moveTo>
                  <a:pt x="1938655" y="5422611"/>
                </a:moveTo>
                <a:cubicBezTo>
                  <a:pt x="1911985" y="5428326"/>
                  <a:pt x="1922145" y="5469601"/>
                  <a:pt x="1948180" y="5463251"/>
                </a:cubicBezTo>
                <a:cubicBezTo>
                  <a:pt x="1974215" y="5457536"/>
                  <a:pt x="1964690" y="5416261"/>
                  <a:pt x="1938655" y="5422611"/>
                </a:cubicBezTo>
                <a:close/>
                <a:moveTo>
                  <a:pt x="2124075" y="5364191"/>
                </a:moveTo>
                <a:cubicBezTo>
                  <a:pt x="2151380" y="5364191"/>
                  <a:pt x="2145030" y="5320376"/>
                  <a:pt x="2118995" y="5327996"/>
                </a:cubicBezTo>
                <a:cubicBezTo>
                  <a:pt x="2098675" y="5333711"/>
                  <a:pt x="2103755" y="5364826"/>
                  <a:pt x="2124075" y="5364191"/>
                </a:cubicBezTo>
                <a:close/>
                <a:moveTo>
                  <a:pt x="2078990" y="5406736"/>
                </a:moveTo>
                <a:cubicBezTo>
                  <a:pt x="2086610" y="5432771"/>
                  <a:pt x="2127250" y="5420706"/>
                  <a:pt x="2118995" y="5394671"/>
                </a:cubicBezTo>
                <a:cubicBezTo>
                  <a:pt x="2110740" y="5369271"/>
                  <a:pt x="2070735" y="5381336"/>
                  <a:pt x="2078990" y="5406736"/>
                </a:cubicBezTo>
                <a:close/>
                <a:moveTo>
                  <a:pt x="2122805" y="5317836"/>
                </a:moveTo>
                <a:cubicBezTo>
                  <a:pt x="2146300" y="5317836"/>
                  <a:pt x="2140585" y="5279736"/>
                  <a:pt x="2117725" y="5286721"/>
                </a:cubicBezTo>
                <a:cubicBezTo>
                  <a:pt x="2101215" y="5291801"/>
                  <a:pt x="2105660" y="5318471"/>
                  <a:pt x="2122805" y="5317836"/>
                </a:cubicBezTo>
                <a:close/>
                <a:moveTo>
                  <a:pt x="2183765" y="5298786"/>
                </a:moveTo>
                <a:cubicBezTo>
                  <a:pt x="2207895" y="5298786"/>
                  <a:pt x="2201545" y="5260686"/>
                  <a:pt x="2178685" y="5267671"/>
                </a:cubicBezTo>
                <a:cubicBezTo>
                  <a:pt x="2161540" y="5272751"/>
                  <a:pt x="2165985" y="5299421"/>
                  <a:pt x="2183765" y="5298786"/>
                </a:cubicBezTo>
                <a:close/>
                <a:moveTo>
                  <a:pt x="2062480" y="5336251"/>
                </a:moveTo>
                <a:cubicBezTo>
                  <a:pt x="2063750" y="5336251"/>
                  <a:pt x="2065655" y="5336251"/>
                  <a:pt x="2066925" y="5335616"/>
                </a:cubicBezTo>
                <a:lnTo>
                  <a:pt x="2066925" y="5335616"/>
                </a:lnTo>
                <a:cubicBezTo>
                  <a:pt x="2086610" y="5329901"/>
                  <a:pt x="2077085" y="5298786"/>
                  <a:pt x="2057400" y="5305136"/>
                </a:cubicBezTo>
                <a:cubicBezTo>
                  <a:pt x="2040255" y="5310216"/>
                  <a:pt x="2044700" y="5336886"/>
                  <a:pt x="2062480" y="5336251"/>
                </a:cubicBezTo>
                <a:close/>
                <a:moveTo>
                  <a:pt x="2236470" y="5315296"/>
                </a:moveTo>
                <a:cubicBezTo>
                  <a:pt x="2301240" y="5354031"/>
                  <a:pt x="2322830" y="5234651"/>
                  <a:pt x="2249170" y="5247986"/>
                </a:cubicBezTo>
                <a:cubicBezTo>
                  <a:pt x="2239645" y="5244176"/>
                  <a:pt x="2228850" y="5252431"/>
                  <a:pt x="2228215" y="5261956"/>
                </a:cubicBezTo>
                <a:cubicBezTo>
                  <a:pt x="2215515" y="5279101"/>
                  <a:pt x="2219325" y="5303231"/>
                  <a:pt x="2236470" y="5315296"/>
                </a:cubicBezTo>
                <a:close/>
                <a:moveTo>
                  <a:pt x="2186940" y="5307041"/>
                </a:moveTo>
                <a:cubicBezTo>
                  <a:pt x="2164080" y="5314026"/>
                  <a:pt x="2175510" y="5349586"/>
                  <a:pt x="2198370" y="5341966"/>
                </a:cubicBezTo>
                <a:cubicBezTo>
                  <a:pt x="2221230" y="5334981"/>
                  <a:pt x="2209800" y="5299421"/>
                  <a:pt x="2186940" y="5307041"/>
                </a:cubicBezTo>
                <a:close/>
                <a:moveTo>
                  <a:pt x="1691005" y="5437851"/>
                </a:moveTo>
                <a:cubicBezTo>
                  <a:pt x="1680210" y="5450551"/>
                  <a:pt x="1692910" y="5470871"/>
                  <a:pt x="1708785" y="5467061"/>
                </a:cubicBezTo>
                <a:cubicBezTo>
                  <a:pt x="1728470" y="5463886"/>
                  <a:pt x="1727835" y="5434041"/>
                  <a:pt x="1708785" y="5430866"/>
                </a:cubicBezTo>
                <a:cubicBezTo>
                  <a:pt x="1717040" y="5419436"/>
                  <a:pt x="1704975" y="5402926"/>
                  <a:pt x="1691640" y="5406736"/>
                </a:cubicBezTo>
                <a:cubicBezTo>
                  <a:pt x="1675765" y="5410546"/>
                  <a:pt x="1675765" y="5434676"/>
                  <a:pt x="1691005" y="5437851"/>
                </a:cubicBezTo>
                <a:close/>
                <a:moveTo>
                  <a:pt x="1915795" y="5421341"/>
                </a:moveTo>
                <a:cubicBezTo>
                  <a:pt x="1942465" y="5421341"/>
                  <a:pt x="1937385" y="5378796"/>
                  <a:pt x="1911350" y="5385146"/>
                </a:cubicBezTo>
                <a:cubicBezTo>
                  <a:pt x="1891030" y="5389591"/>
                  <a:pt x="1894840" y="5421976"/>
                  <a:pt x="1915795" y="5421341"/>
                </a:cubicBezTo>
                <a:close/>
                <a:moveTo>
                  <a:pt x="2054860" y="5384511"/>
                </a:moveTo>
                <a:cubicBezTo>
                  <a:pt x="2082165" y="5384511"/>
                  <a:pt x="2075815" y="5341331"/>
                  <a:pt x="2049780" y="5348316"/>
                </a:cubicBezTo>
                <a:cubicBezTo>
                  <a:pt x="2030095" y="5353396"/>
                  <a:pt x="2034540" y="5385146"/>
                  <a:pt x="2054860" y="5384511"/>
                </a:cubicBezTo>
                <a:close/>
                <a:moveTo>
                  <a:pt x="1987550" y="5507066"/>
                </a:moveTo>
                <a:cubicBezTo>
                  <a:pt x="2016760" y="5499446"/>
                  <a:pt x="2004695" y="5453726"/>
                  <a:pt x="1975485" y="5461981"/>
                </a:cubicBezTo>
                <a:cubicBezTo>
                  <a:pt x="1945640" y="5469601"/>
                  <a:pt x="1958340" y="5515321"/>
                  <a:pt x="1987550" y="5507066"/>
                </a:cubicBezTo>
                <a:close/>
                <a:moveTo>
                  <a:pt x="1940560" y="5372446"/>
                </a:moveTo>
                <a:cubicBezTo>
                  <a:pt x="1964055" y="5372446"/>
                  <a:pt x="1958975" y="5334981"/>
                  <a:pt x="1936115" y="5341331"/>
                </a:cubicBezTo>
                <a:cubicBezTo>
                  <a:pt x="1918970" y="5345776"/>
                  <a:pt x="1922780" y="5373081"/>
                  <a:pt x="1940560" y="5372446"/>
                </a:cubicBezTo>
                <a:close/>
                <a:moveTo>
                  <a:pt x="2000885" y="5428326"/>
                </a:moveTo>
                <a:cubicBezTo>
                  <a:pt x="2007870" y="5454361"/>
                  <a:pt x="2048510" y="5443566"/>
                  <a:pt x="2040890" y="5417531"/>
                </a:cubicBezTo>
                <a:cubicBezTo>
                  <a:pt x="2034540" y="5391496"/>
                  <a:pt x="1993900" y="5402926"/>
                  <a:pt x="2000885" y="5428326"/>
                </a:cubicBezTo>
                <a:close/>
                <a:moveTo>
                  <a:pt x="1985645" y="5403561"/>
                </a:moveTo>
                <a:cubicBezTo>
                  <a:pt x="2012315" y="5403561"/>
                  <a:pt x="2007235" y="5360381"/>
                  <a:pt x="1981200" y="5367366"/>
                </a:cubicBezTo>
                <a:cubicBezTo>
                  <a:pt x="1960245" y="5372446"/>
                  <a:pt x="1965325" y="5404196"/>
                  <a:pt x="1985645" y="5403561"/>
                </a:cubicBezTo>
                <a:close/>
                <a:moveTo>
                  <a:pt x="2001520" y="5354666"/>
                </a:moveTo>
                <a:cubicBezTo>
                  <a:pt x="2025015" y="5354666"/>
                  <a:pt x="2019935" y="5317201"/>
                  <a:pt x="1997075" y="5323551"/>
                </a:cubicBezTo>
                <a:cubicBezTo>
                  <a:pt x="1979930" y="5327996"/>
                  <a:pt x="1983740" y="5355301"/>
                  <a:pt x="2001520" y="5354666"/>
                </a:cubicBezTo>
                <a:close/>
                <a:moveTo>
                  <a:pt x="1445895" y="5514686"/>
                </a:moveTo>
                <a:cubicBezTo>
                  <a:pt x="1446530" y="5519766"/>
                  <a:pt x="1448435" y="5524211"/>
                  <a:pt x="1451610" y="5527386"/>
                </a:cubicBezTo>
                <a:cubicBezTo>
                  <a:pt x="1423035" y="5529926"/>
                  <a:pt x="1424940" y="5573741"/>
                  <a:pt x="1453515" y="5573741"/>
                </a:cubicBezTo>
                <a:cubicBezTo>
                  <a:pt x="1473835" y="5575011"/>
                  <a:pt x="1485265" y="5547071"/>
                  <a:pt x="1470025" y="5533736"/>
                </a:cubicBezTo>
                <a:cubicBezTo>
                  <a:pt x="1485265" y="5531831"/>
                  <a:pt x="1492885" y="5512781"/>
                  <a:pt x="1483360" y="5500716"/>
                </a:cubicBezTo>
                <a:cubicBezTo>
                  <a:pt x="1496060" y="5508336"/>
                  <a:pt x="1512570" y="5496906"/>
                  <a:pt x="1510665" y="5482936"/>
                </a:cubicBezTo>
                <a:cubicBezTo>
                  <a:pt x="1550670" y="5474046"/>
                  <a:pt x="1503045" y="5426421"/>
                  <a:pt x="1494155" y="5467061"/>
                </a:cubicBezTo>
                <a:cubicBezTo>
                  <a:pt x="1478915" y="5465156"/>
                  <a:pt x="1468120" y="5483571"/>
                  <a:pt x="1477645" y="5495636"/>
                </a:cubicBezTo>
                <a:cubicBezTo>
                  <a:pt x="1474470" y="5493731"/>
                  <a:pt x="1470025" y="5492461"/>
                  <a:pt x="1465580" y="5492461"/>
                </a:cubicBezTo>
                <a:cubicBezTo>
                  <a:pt x="1454150" y="5493731"/>
                  <a:pt x="1445260" y="5503256"/>
                  <a:pt x="1445895" y="5514686"/>
                </a:cubicBezTo>
                <a:close/>
                <a:moveTo>
                  <a:pt x="367030" y="5209886"/>
                </a:moveTo>
                <a:cubicBezTo>
                  <a:pt x="340995" y="5194646"/>
                  <a:pt x="317500" y="5236556"/>
                  <a:pt x="344170" y="5250526"/>
                </a:cubicBezTo>
                <a:cubicBezTo>
                  <a:pt x="370840" y="5265766"/>
                  <a:pt x="393700" y="5223856"/>
                  <a:pt x="367030" y="5209886"/>
                </a:cubicBezTo>
                <a:close/>
                <a:moveTo>
                  <a:pt x="325120" y="5117811"/>
                </a:moveTo>
                <a:cubicBezTo>
                  <a:pt x="350520" y="5139401"/>
                  <a:pt x="384175" y="5098761"/>
                  <a:pt x="357505" y="5077806"/>
                </a:cubicBezTo>
                <a:cubicBezTo>
                  <a:pt x="332105" y="5056216"/>
                  <a:pt x="299085" y="5096856"/>
                  <a:pt x="325120" y="5117811"/>
                </a:cubicBezTo>
                <a:close/>
                <a:moveTo>
                  <a:pt x="351155" y="5380701"/>
                </a:moveTo>
                <a:cubicBezTo>
                  <a:pt x="376555" y="5389591"/>
                  <a:pt x="389890" y="5348951"/>
                  <a:pt x="363855" y="5341331"/>
                </a:cubicBezTo>
                <a:cubicBezTo>
                  <a:pt x="338455" y="5332441"/>
                  <a:pt x="325120" y="5373081"/>
                  <a:pt x="351155" y="5380701"/>
                </a:cubicBezTo>
                <a:close/>
                <a:moveTo>
                  <a:pt x="247015" y="5018751"/>
                </a:moveTo>
                <a:cubicBezTo>
                  <a:pt x="224790" y="5043516"/>
                  <a:pt x="264795" y="5077806"/>
                  <a:pt x="286385" y="5051771"/>
                </a:cubicBezTo>
                <a:cubicBezTo>
                  <a:pt x="308610" y="5027006"/>
                  <a:pt x="268605" y="4992716"/>
                  <a:pt x="247015" y="5018751"/>
                </a:cubicBezTo>
                <a:close/>
                <a:moveTo>
                  <a:pt x="1648460" y="5599141"/>
                </a:moveTo>
                <a:cubicBezTo>
                  <a:pt x="1651000" y="5632796"/>
                  <a:pt x="1703070" y="5627716"/>
                  <a:pt x="1699895" y="5594696"/>
                </a:cubicBezTo>
                <a:cubicBezTo>
                  <a:pt x="1697355" y="5561676"/>
                  <a:pt x="1645285" y="5566121"/>
                  <a:pt x="1648460" y="5599141"/>
                </a:cubicBezTo>
                <a:close/>
                <a:moveTo>
                  <a:pt x="445135" y="5251796"/>
                </a:moveTo>
                <a:cubicBezTo>
                  <a:pt x="418465" y="5237191"/>
                  <a:pt x="396875" y="5279736"/>
                  <a:pt x="423545" y="5293071"/>
                </a:cubicBezTo>
                <a:cubicBezTo>
                  <a:pt x="449580" y="5307041"/>
                  <a:pt x="471805" y="5265131"/>
                  <a:pt x="445135" y="5251796"/>
                </a:cubicBezTo>
                <a:close/>
                <a:moveTo>
                  <a:pt x="440055" y="5365461"/>
                </a:moveTo>
                <a:cubicBezTo>
                  <a:pt x="414020" y="5357206"/>
                  <a:pt x="401955" y="5397846"/>
                  <a:pt x="427990" y="5405466"/>
                </a:cubicBezTo>
                <a:cubicBezTo>
                  <a:pt x="454025" y="5413086"/>
                  <a:pt x="466725" y="5372446"/>
                  <a:pt x="440055" y="5365461"/>
                </a:cubicBezTo>
                <a:close/>
                <a:moveTo>
                  <a:pt x="433705" y="5138131"/>
                </a:moveTo>
                <a:cubicBezTo>
                  <a:pt x="407670" y="5117176"/>
                  <a:pt x="375285" y="5159086"/>
                  <a:pt x="401955" y="5178771"/>
                </a:cubicBezTo>
                <a:cubicBezTo>
                  <a:pt x="427990" y="5199726"/>
                  <a:pt x="460375" y="5158451"/>
                  <a:pt x="433705" y="5138131"/>
                </a:cubicBezTo>
                <a:close/>
                <a:moveTo>
                  <a:pt x="338455" y="4981286"/>
                </a:moveTo>
                <a:cubicBezTo>
                  <a:pt x="365760" y="4957156"/>
                  <a:pt x="327660" y="4914611"/>
                  <a:pt x="300990" y="4939376"/>
                </a:cubicBezTo>
                <a:cubicBezTo>
                  <a:pt x="273050" y="4962871"/>
                  <a:pt x="311150" y="5006051"/>
                  <a:pt x="338455" y="4981286"/>
                </a:cubicBezTo>
                <a:close/>
                <a:moveTo>
                  <a:pt x="166370" y="4477096"/>
                </a:moveTo>
                <a:cubicBezTo>
                  <a:pt x="204470" y="4457411"/>
                  <a:pt x="172720" y="4397721"/>
                  <a:pt x="135255" y="4418676"/>
                </a:cubicBezTo>
                <a:cubicBezTo>
                  <a:pt x="96520" y="4438361"/>
                  <a:pt x="128905" y="4498051"/>
                  <a:pt x="166370" y="4477096"/>
                </a:cubicBezTo>
                <a:close/>
                <a:moveTo>
                  <a:pt x="227965" y="4475826"/>
                </a:moveTo>
                <a:cubicBezTo>
                  <a:pt x="208915" y="4482811"/>
                  <a:pt x="200660" y="4505036"/>
                  <a:pt x="208280" y="4523451"/>
                </a:cubicBezTo>
                <a:cubicBezTo>
                  <a:pt x="183515" y="4522181"/>
                  <a:pt x="166370" y="4550756"/>
                  <a:pt x="178435" y="4572346"/>
                </a:cubicBezTo>
                <a:cubicBezTo>
                  <a:pt x="196850" y="4608541"/>
                  <a:pt x="254000" y="4581871"/>
                  <a:pt x="238125" y="4545041"/>
                </a:cubicBezTo>
                <a:cubicBezTo>
                  <a:pt x="254635" y="4546946"/>
                  <a:pt x="271145" y="4534246"/>
                  <a:pt x="274955" y="4518371"/>
                </a:cubicBezTo>
                <a:cubicBezTo>
                  <a:pt x="354330" y="4484716"/>
                  <a:pt x="251460" y="4393911"/>
                  <a:pt x="227965" y="4475826"/>
                </a:cubicBezTo>
                <a:close/>
                <a:moveTo>
                  <a:pt x="76200" y="4310726"/>
                </a:moveTo>
                <a:cubicBezTo>
                  <a:pt x="38100" y="4331046"/>
                  <a:pt x="71120" y="4390101"/>
                  <a:pt x="108585" y="4368511"/>
                </a:cubicBezTo>
                <a:cubicBezTo>
                  <a:pt x="146050" y="4348191"/>
                  <a:pt x="113030" y="4289136"/>
                  <a:pt x="76200" y="4310726"/>
                </a:cubicBezTo>
                <a:close/>
                <a:moveTo>
                  <a:pt x="212090" y="4695536"/>
                </a:moveTo>
                <a:cubicBezTo>
                  <a:pt x="178435" y="4717126"/>
                  <a:pt x="213995" y="4769196"/>
                  <a:pt x="246380" y="4746336"/>
                </a:cubicBezTo>
                <a:cubicBezTo>
                  <a:pt x="279400" y="4724746"/>
                  <a:pt x="244475" y="4672676"/>
                  <a:pt x="212090" y="4695536"/>
                </a:cubicBezTo>
                <a:close/>
                <a:moveTo>
                  <a:pt x="316865" y="4740621"/>
                </a:moveTo>
                <a:cubicBezTo>
                  <a:pt x="298450" y="4746336"/>
                  <a:pt x="288925" y="4767926"/>
                  <a:pt x="296545" y="4785071"/>
                </a:cubicBezTo>
                <a:cubicBezTo>
                  <a:pt x="271780" y="4781261"/>
                  <a:pt x="252730" y="4812376"/>
                  <a:pt x="267970" y="4832696"/>
                </a:cubicBezTo>
                <a:cubicBezTo>
                  <a:pt x="287655" y="4862541"/>
                  <a:pt x="335280" y="4837141"/>
                  <a:pt x="321945" y="4804756"/>
                </a:cubicBezTo>
                <a:cubicBezTo>
                  <a:pt x="337185" y="4807296"/>
                  <a:pt x="353695" y="4797136"/>
                  <a:pt x="358140" y="4783166"/>
                </a:cubicBezTo>
                <a:cubicBezTo>
                  <a:pt x="436245" y="4781261"/>
                  <a:pt x="407670" y="4672041"/>
                  <a:pt x="342900" y="4713316"/>
                </a:cubicBezTo>
                <a:cubicBezTo>
                  <a:pt x="330200" y="4716491"/>
                  <a:pt x="319405" y="4727921"/>
                  <a:pt x="316865" y="4740621"/>
                </a:cubicBezTo>
                <a:close/>
                <a:moveTo>
                  <a:pt x="379730" y="4846666"/>
                </a:moveTo>
                <a:cubicBezTo>
                  <a:pt x="365125" y="4850476"/>
                  <a:pt x="355600" y="4864446"/>
                  <a:pt x="356235" y="4878416"/>
                </a:cubicBezTo>
                <a:cubicBezTo>
                  <a:pt x="284480" y="4899371"/>
                  <a:pt x="372110" y="4983826"/>
                  <a:pt x="389890" y="4911436"/>
                </a:cubicBezTo>
                <a:cubicBezTo>
                  <a:pt x="396240" y="4911436"/>
                  <a:pt x="402590" y="4909531"/>
                  <a:pt x="407670" y="4905721"/>
                </a:cubicBezTo>
                <a:cubicBezTo>
                  <a:pt x="438150" y="4920326"/>
                  <a:pt x="472440" y="4886036"/>
                  <a:pt x="457835" y="4855556"/>
                </a:cubicBezTo>
                <a:cubicBezTo>
                  <a:pt x="445770" y="4827616"/>
                  <a:pt x="397510" y="4819996"/>
                  <a:pt x="379730" y="4846666"/>
                </a:cubicBezTo>
                <a:close/>
                <a:moveTo>
                  <a:pt x="281940" y="4596476"/>
                </a:moveTo>
                <a:cubicBezTo>
                  <a:pt x="267335" y="4602826"/>
                  <a:pt x="259080" y="4617431"/>
                  <a:pt x="260350" y="4632671"/>
                </a:cubicBezTo>
                <a:cubicBezTo>
                  <a:pt x="185420" y="4662516"/>
                  <a:pt x="287020" y="4744431"/>
                  <a:pt x="300355" y="4664421"/>
                </a:cubicBezTo>
                <a:cubicBezTo>
                  <a:pt x="310515" y="4663151"/>
                  <a:pt x="320040" y="4657436"/>
                  <a:pt x="325120" y="4649181"/>
                </a:cubicBezTo>
                <a:cubicBezTo>
                  <a:pt x="397510" y="4625051"/>
                  <a:pt x="318770" y="4529801"/>
                  <a:pt x="281940" y="4596476"/>
                </a:cubicBezTo>
                <a:close/>
                <a:moveTo>
                  <a:pt x="422910" y="4970491"/>
                </a:moveTo>
                <a:cubicBezTo>
                  <a:pt x="404495" y="4973031"/>
                  <a:pt x="392430" y="4993986"/>
                  <a:pt x="398780" y="5011131"/>
                </a:cubicBezTo>
                <a:cubicBezTo>
                  <a:pt x="372745" y="5002241"/>
                  <a:pt x="350520" y="5037801"/>
                  <a:pt x="370205" y="5057486"/>
                </a:cubicBezTo>
                <a:cubicBezTo>
                  <a:pt x="389890" y="5079076"/>
                  <a:pt x="426720" y="5056851"/>
                  <a:pt x="417830" y="5030181"/>
                </a:cubicBezTo>
                <a:cubicBezTo>
                  <a:pt x="429260" y="5033991"/>
                  <a:pt x="442595" y="5030816"/>
                  <a:pt x="450215" y="5021291"/>
                </a:cubicBezTo>
                <a:cubicBezTo>
                  <a:pt x="476250" y="5056851"/>
                  <a:pt x="534670" y="5021926"/>
                  <a:pt x="514985" y="4981921"/>
                </a:cubicBezTo>
                <a:cubicBezTo>
                  <a:pt x="497205" y="4948901"/>
                  <a:pt x="469900" y="4938106"/>
                  <a:pt x="435610" y="4954616"/>
                </a:cubicBezTo>
                <a:cubicBezTo>
                  <a:pt x="429895" y="4959061"/>
                  <a:pt x="425450" y="4964141"/>
                  <a:pt x="422910" y="4970491"/>
                </a:cubicBezTo>
                <a:close/>
                <a:moveTo>
                  <a:pt x="1424940" y="5691216"/>
                </a:moveTo>
                <a:cubicBezTo>
                  <a:pt x="1385570" y="5684866"/>
                  <a:pt x="1376680" y="5747096"/>
                  <a:pt x="1416050" y="5752176"/>
                </a:cubicBezTo>
                <a:cubicBezTo>
                  <a:pt x="1455420" y="5758526"/>
                  <a:pt x="1464310" y="5696931"/>
                  <a:pt x="1424940" y="5691216"/>
                </a:cubicBezTo>
                <a:close/>
                <a:moveTo>
                  <a:pt x="1504950" y="5602316"/>
                </a:moveTo>
                <a:cubicBezTo>
                  <a:pt x="1506855" y="5568661"/>
                  <a:pt x="1454785" y="5566121"/>
                  <a:pt x="1453515" y="5599776"/>
                </a:cubicBezTo>
                <a:cubicBezTo>
                  <a:pt x="1451610" y="5632796"/>
                  <a:pt x="1504315" y="5635971"/>
                  <a:pt x="1504950" y="5602316"/>
                </a:cubicBezTo>
                <a:close/>
                <a:moveTo>
                  <a:pt x="1468755" y="5631526"/>
                </a:moveTo>
                <a:cubicBezTo>
                  <a:pt x="1430655" y="5627716"/>
                  <a:pt x="1428115" y="5688041"/>
                  <a:pt x="1466215" y="5688041"/>
                </a:cubicBezTo>
                <a:cubicBezTo>
                  <a:pt x="1501140" y="5688676"/>
                  <a:pt x="1503680" y="5634066"/>
                  <a:pt x="1468755" y="5631526"/>
                </a:cubicBezTo>
                <a:close/>
                <a:moveTo>
                  <a:pt x="1626870" y="5520401"/>
                </a:moveTo>
                <a:cubicBezTo>
                  <a:pt x="1648460" y="5521036"/>
                  <a:pt x="1655445" y="5489286"/>
                  <a:pt x="1635760" y="5481031"/>
                </a:cubicBezTo>
                <a:cubicBezTo>
                  <a:pt x="1636395" y="5481031"/>
                  <a:pt x="1637030" y="5481031"/>
                  <a:pt x="1637665" y="5481031"/>
                </a:cubicBezTo>
                <a:lnTo>
                  <a:pt x="1637665" y="5481031"/>
                </a:lnTo>
                <a:cubicBezTo>
                  <a:pt x="1652905" y="5479126"/>
                  <a:pt x="1657985" y="5457536"/>
                  <a:pt x="1645920" y="5448646"/>
                </a:cubicBezTo>
                <a:cubicBezTo>
                  <a:pt x="1666240" y="5414356"/>
                  <a:pt x="1600200" y="5416261"/>
                  <a:pt x="1622425" y="5449281"/>
                </a:cubicBezTo>
                <a:cubicBezTo>
                  <a:pt x="1612900" y="5456901"/>
                  <a:pt x="1614805" y="5474046"/>
                  <a:pt x="1626235" y="5479126"/>
                </a:cubicBezTo>
                <a:cubicBezTo>
                  <a:pt x="1599565" y="5479126"/>
                  <a:pt x="1600835" y="5521036"/>
                  <a:pt x="1626870" y="5520401"/>
                </a:cubicBezTo>
                <a:close/>
                <a:moveTo>
                  <a:pt x="1551305" y="5602951"/>
                </a:moveTo>
                <a:cubicBezTo>
                  <a:pt x="1551305" y="5636606"/>
                  <a:pt x="1604010" y="5635336"/>
                  <a:pt x="1602740" y="5601681"/>
                </a:cubicBezTo>
                <a:cubicBezTo>
                  <a:pt x="1602740" y="5568661"/>
                  <a:pt x="1550035" y="5569296"/>
                  <a:pt x="1551305" y="5602951"/>
                </a:cubicBezTo>
                <a:close/>
                <a:moveTo>
                  <a:pt x="1629410" y="5522306"/>
                </a:moveTo>
                <a:cubicBezTo>
                  <a:pt x="1598930" y="5524211"/>
                  <a:pt x="1603375" y="5571836"/>
                  <a:pt x="1633220" y="5568661"/>
                </a:cubicBezTo>
                <a:cubicBezTo>
                  <a:pt x="1663700" y="5566756"/>
                  <a:pt x="1659890" y="5519131"/>
                  <a:pt x="1629410" y="5522306"/>
                </a:cubicBezTo>
                <a:close/>
                <a:moveTo>
                  <a:pt x="1533525" y="5761701"/>
                </a:moveTo>
                <a:cubicBezTo>
                  <a:pt x="1573530" y="5762971"/>
                  <a:pt x="1574165" y="5700106"/>
                  <a:pt x="1534160" y="5700106"/>
                </a:cubicBezTo>
                <a:cubicBezTo>
                  <a:pt x="1494790" y="5698836"/>
                  <a:pt x="1493520" y="5761701"/>
                  <a:pt x="1533525" y="5761701"/>
                </a:cubicBezTo>
                <a:close/>
                <a:moveTo>
                  <a:pt x="1366520" y="5617556"/>
                </a:moveTo>
                <a:cubicBezTo>
                  <a:pt x="1330325" y="5610571"/>
                  <a:pt x="1320165" y="5667086"/>
                  <a:pt x="1356360" y="5673436"/>
                </a:cubicBezTo>
                <a:cubicBezTo>
                  <a:pt x="1391920" y="5680421"/>
                  <a:pt x="1402715" y="5623906"/>
                  <a:pt x="1366520" y="5617556"/>
                </a:cubicBezTo>
                <a:close/>
                <a:moveTo>
                  <a:pt x="1034415" y="5536911"/>
                </a:moveTo>
                <a:cubicBezTo>
                  <a:pt x="1016635" y="5575011"/>
                  <a:pt x="1080770" y="5592791"/>
                  <a:pt x="1089660" y="5555961"/>
                </a:cubicBezTo>
                <a:cubicBezTo>
                  <a:pt x="1101725" y="5559771"/>
                  <a:pt x="1115695" y="5554056"/>
                  <a:pt x="1120775" y="5541991"/>
                </a:cubicBezTo>
                <a:cubicBezTo>
                  <a:pt x="1118235" y="5571836"/>
                  <a:pt x="1165860" y="5559136"/>
                  <a:pt x="1148715" y="5534371"/>
                </a:cubicBezTo>
                <a:cubicBezTo>
                  <a:pt x="1188720" y="5522306"/>
                  <a:pt x="1146810" y="5468966"/>
                  <a:pt x="1125855" y="5505161"/>
                </a:cubicBezTo>
                <a:cubicBezTo>
                  <a:pt x="1124585" y="5505796"/>
                  <a:pt x="1123950" y="5506431"/>
                  <a:pt x="1122680" y="5507066"/>
                </a:cubicBezTo>
                <a:cubicBezTo>
                  <a:pt x="1118870" y="5489921"/>
                  <a:pt x="1094105" y="5484206"/>
                  <a:pt x="1082675" y="5498176"/>
                </a:cubicBezTo>
                <a:cubicBezTo>
                  <a:pt x="1071245" y="5474681"/>
                  <a:pt x="1033780" y="5493096"/>
                  <a:pt x="1045845" y="5516591"/>
                </a:cubicBezTo>
                <a:cubicBezTo>
                  <a:pt x="1044575" y="5519131"/>
                  <a:pt x="1043940" y="5522306"/>
                  <a:pt x="1043940" y="5525481"/>
                </a:cubicBezTo>
                <a:cubicBezTo>
                  <a:pt x="1040130" y="5528656"/>
                  <a:pt x="1036955" y="5532466"/>
                  <a:pt x="1034415" y="5536911"/>
                </a:cubicBezTo>
                <a:close/>
                <a:moveTo>
                  <a:pt x="1122680" y="5535641"/>
                </a:moveTo>
                <a:cubicBezTo>
                  <a:pt x="1122680" y="5535641"/>
                  <a:pt x="1123315" y="5535641"/>
                  <a:pt x="1122680" y="5535641"/>
                </a:cubicBezTo>
                <a:cubicBezTo>
                  <a:pt x="1122680" y="5536276"/>
                  <a:pt x="1122680" y="5536276"/>
                  <a:pt x="1122680" y="5536276"/>
                </a:cubicBezTo>
                <a:cubicBezTo>
                  <a:pt x="1122680" y="5536276"/>
                  <a:pt x="1122680" y="5536276"/>
                  <a:pt x="1122680" y="5535641"/>
                </a:cubicBezTo>
                <a:close/>
                <a:moveTo>
                  <a:pt x="1571625" y="5635336"/>
                </a:moveTo>
                <a:cubicBezTo>
                  <a:pt x="1534795" y="5635336"/>
                  <a:pt x="1535430" y="5692486"/>
                  <a:pt x="1572260" y="5691851"/>
                </a:cubicBezTo>
                <a:cubicBezTo>
                  <a:pt x="1608455" y="5692486"/>
                  <a:pt x="1608455" y="5634701"/>
                  <a:pt x="1571625" y="5635336"/>
                </a:cubicBezTo>
                <a:close/>
                <a:moveTo>
                  <a:pt x="1172210" y="5651211"/>
                </a:moveTo>
                <a:cubicBezTo>
                  <a:pt x="1156970" y="5688041"/>
                  <a:pt x="1214755" y="5710901"/>
                  <a:pt x="1229360" y="5674071"/>
                </a:cubicBezTo>
                <a:cubicBezTo>
                  <a:pt x="1244600" y="5637241"/>
                  <a:pt x="1186180" y="5613746"/>
                  <a:pt x="1172210" y="5651211"/>
                </a:cubicBezTo>
                <a:close/>
                <a:moveTo>
                  <a:pt x="1170305" y="5543261"/>
                </a:moveTo>
                <a:cubicBezTo>
                  <a:pt x="1166495" y="5548341"/>
                  <a:pt x="1165225" y="5555961"/>
                  <a:pt x="1166495" y="5562311"/>
                </a:cubicBezTo>
                <a:cubicBezTo>
                  <a:pt x="1132840" y="5551516"/>
                  <a:pt x="1115060" y="5604221"/>
                  <a:pt x="1148715" y="5615651"/>
                </a:cubicBezTo>
                <a:cubicBezTo>
                  <a:pt x="1169035" y="5623906"/>
                  <a:pt x="1191895" y="5603586"/>
                  <a:pt x="1186180" y="5582631"/>
                </a:cubicBezTo>
                <a:cubicBezTo>
                  <a:pt x="1209040" y="5588981"/>
                  <a:pt x="1227455" y="5559771"/>
                  <a:pt x="1212215" y="5541991"/>
                </a:cubicBezTo>
                <a:cubicBezTo>
                  <a:pt x="1214120" y="5540086"/>
                  <a:pt x="1214755" y="5537546"/>
                  <a:pt x="1215390" y="5535006"/>
                </a:cubicBezTo>
                <a:cubicBezTo>
                  <a:pt x="1226820" y="5542626"/>
                  <a:pt x="1243965" y="5535006"/>
                  <a:pt x="1246505" y="5521036"/>
                </a:cubicBezTo>
                <a:cubicBezTo>
                  <a:pt x="1246505" y="5526751"/>
                  <a:pt x="1250315" y="5531831"/>
                  <a:pt x="1254760" y="5533736"/>
                </a:cubicBezTo>
                <a:cubicBezTo>
                  <a:pt x="1251585" y="5544531"/>
                  <a:pt x="1257935" y="5556596"/>
                  <a:pt x="1268095" y="5561041"/>
                </a:cubicBezTo>
                <a:cubicBezTo>
                  <a:pt x="1259840" y="5569931"/>
                  <a:pt x="1259840" y="5585806"/>
                  <a:pt x="1267460" y="5594696"/>
                </a:cubicBezTo>
                <a:cubicBezTo>
                  <a:pt x="1232535" y="5583266"/>
                  <a:pt x="1215390" y="5639146"/>
                  <a:pt x="1251585" y="5648671"/>
                </a:cubicBezTo>
                <a:cubicBezTo>
                  <a:pt x="1277620" y="5656926"/>
                  <a:pt x="1299210" y="5622001"/>
                  <a:pt x="1280160" y="5602951"/>
                </a:cubicBezTo>
                <a:cubicBezTo>
                  <a:pt x="1310640" y="5612476"/>
                  <a:pt x="1326515" y="5564216"/>
                  <a:pt x="1295400" y="5554056"/>
                </a:cubicBezTo>
                <a:cubicBezTo>
                  <a:pt x="1298575" y="5549611"/>
                  <a:pt x="1300480" y="5543896"/>
                  <a:pt x="1299845" y="5538181"/>
                </a:cubicBezTo>
                <a:cubicBezTo>
                  <a:pt x="1311275" y="5541991"/>
                  <a:pt x="1323340" y="5534371"/>
                  <a:pt x="1325880" y="5523576"/>
                </a:cubicBezTo>
                <a:cubicBezTo>
                  <a:pt x="1330325" y="5522941"/>
                  <a:pt x="1334135" y="5520401"/>
                  <a:pt x="1336675" y="5516591"/>
                </a:cubicBezTo>
                <a:cubicBezTo>
                  <a:pt x="1340485" y="5520401"/>
                  <a:pt x="1345565" y="5522306"/>
                  <a:pt x="1351280" y="5521671"/>
                </a:cubicBezTo>
                <a:lnTo>
                  <a:pt x="1351280" y="5521671"/>
                </a:lnTo>
                <a:cubicBezTo>
                  <a:pt x="1359535" y="5519766"/>
                  <a:pt x="1363980" y="5515956"/>
                  <a:pt x="1365885" y="5512146"/>
                </a:cubicBezTo>
                <a:cubicBezTo>
                  <a:pt x="1364615" y="5516591"/>
                  <a:pt x="1364615" y="5521036"/>
                  <a:pt x="1366520" y="5524846"/>
                </a:cubicBezTo>
                <a:cubicBezTo>
                  <a:pt x="1331595" y="5522306"/>
                  <a:pt x="1336040" y="5578821"/>
                  <a:pt x="1370330" y="5570566"/>
                </a:cubicBezTo>
                <a:cubicBezTo>
                  <a:pt x="1347470" y="5581996"/>
                  <a:pt x="1356360" y="5620096"/>
                  <a:pt x="1382395" y="5618826"/>
                </a:cubicBezTo>
                <a:cubicBezTo>
                  <a:pt x="1419860" y="5618826"/>
                  <a:pt x="1412240" y="5558501"/>
                  <a:pt x="1376045" y="5568026"/>
                </a:cubicBezTo>
                <a:cubicBezTo>
                  <a:pt x="1386205" y="5562946"/>
                  <a:pt x="1391285" y="5548341"/>
                  <a:pt x="1386205" y="5538181"/>
                </a:cubicBezTo>
                <a:cubicBezTo>
                  <a:pt x="1404620" y="5538816"/>
                  <a:pt x="1414145" y="5513416"/>
                  <a:pt x="1400175" y="5501986"/>
                </a:cubicBezTo>
                <a:cubicBezTo>
                  <a:pt x="1412240" y="5472141"/>
                  <a:pt x="1358900" y="5473411"/>
                  <a:pt x="1372235" y="5502621"/>
                </a:cubicBezTo>
                <a:cubicBezTo>
                  <a:pt x="1370330" y="5504526"/>
                  <a:pt x="1368425" y="5506431"/>
                  <a:pt x="1367790" y="5508971"/>
                </a:cubicBezTo>
                <a:cubicBezTo>
                  <a:pt x="1371600" y="5493096"/>
                  <a:pt x="1348740" y="5471506"/>
                  <a:pt x="1333500" y="5495001"/>
                </a:cubicBezTo>
                <a:cubicBezTo>
                  <a:pt x="1327150" y="5489921"/>
                  <a:pt x="1316355" y="5491191"/>
                  <a:pt x="1311275" y="5498176"/>
                </a:cubicBezTo>
                <a:cubicBezTo>
                  <a:pt x="1305560" y="5496271"/>
                  <a:pt x="1298575" y="5497541"/>
                  <a:pt x="1294130" y="5501351"/>
                </a:cubicBezTo>
                <a:cubicBezTo>
                  <a:pt x="1290955" y="5495001"/>
                  <a:pt x="1283970" y="5491191"/>
                  <a:pt x="1276350" y="5492461"/>
                </a:cubicBezTo>
                <a:cubicBezTo>
                  <a:pt x="1269365" y="5493096"/>
                  <a:pt x="1263015" y="5498176"/>
                  <a:pt x="1260475" y="5504526"/>
                </a:cubicBezTo>
                <a:cubicBezTo>
                  <a:pt x="1253490" y="5504526"/>
                  <a:pt x="1247775" y="5510241"/>
                  <a:pt x="1245870" y="5516591"/>
                </a:cubicBezTo>
                <a:cubicBezTo>
                  <a:pt x="1245870" y="5500716"/>
                  <a:pt x="1226185" y="5490556"/>
                  <a:pt x="1213485" y="5500081"/>
                </a:cubicBezTo>
                <a:cubicBezTo>
                  <a:pt x="1205865" y="5496271"/>
                  <a:pt x="1195705" y="5498811"/>
                  <a:pt x="1191260" y="5505796"/>
                </a:cubicBezTo>
                <a:cubicBezTo>
                  <a:pt x="1171575" y="5502621"/>
                  <a:pt x="1156970" y="5528021"/>
                  <a:pt x="1170305" y="5543261"/>
                </a:cubicBezTo>
                <a:close/>
                <a:moveTo>
                  <a:pt x="1539240" y="5527386"/>
                </a:moveTo>
                <a:cubicBezTo>
                  <a:pt x="1511300" y="5530561"/>
                  <a:pt x="1514475" y="5574376"/>
                  <a:pt x="1542415" y="5573741"/>
                </a:cubicBezTo>
                <a:cubicBezTo>
                  <a:pt x="1567815" y="5574376"/>
                  <a:pt x="1574165" y="5536276"/>
                  <a:pt x="1550035" y="5528656"/>
                </a:cubicBezTo>
                <a:cubicBezTo>
                  <a:pt x="1566545" y="5526751"/>
                  <a:pt x="1572895" y="5503891"/>
                  <a:pt x="1560830" y="5493096"/>
                </a:cubicBezTo>
                <a:cubicBezTo>
                  <a:pt x="1574800" y="5495636"/>
                  <a:pt x="1586230" y="5479761"/>
                  <a:pt x="1579880" y="5467061"/>
                </a:cubicBezTo>
                <a:cubicBezTo>
                  <a:pt x="1609090" y="5442931"/>
                  <a:pt x="1551305" y="5420706"/>
                  <a:pt x="1557020" y="5458171"/>
                </a:cubicBezTo>
                <a:cubicBezTo>
                  <a:pt x="1544955" y="5462616"/>
                  <a:pt x="1541145" y="5479126"/>
                  <a:pt x="1550670" y="5488016"/>
                </a:cubicBezTo>
                <a:cubicBezTo>
                  <a:pt x="1525905" y="5482301"/>
                  <a:pt x="1516380" y="5519131"/>
                  <a:pt x="1539240" y="5527386"/>
                </a:cubicBezTo>
                <a:close/>
                <a:moveTo>
                  <a:pt x="2359025" y="5207346"/>
                </a:moveTo>
                <a:cubicBezTo>
                  <a:pt x="2339340" y="5213696"/>
                  <a:pt x="2350135" y="5244176"/>
                  <a:pt x="2369185" y="5237191"/>
                </a:cubicBezTo>
                <a:cubicBezTo>
                  <a:pt x="2388870" y="5230841"/>
                  <a:pt x="2378075" y="5200361"/>
                  <a:pt x="2359025" y="5207346"/>
                </a:cubicBezTo>
                <a:close/>
                <a:moveTo>
                  <a:pt x="1421130" y="5513416"/>
                </a:moveTo>
                <a:cubicBezTo>
                  <a:pt x="1431290" y="5513416"/>
                  <a:pt x="1439545" y="5504526"/>
                  <a:pt x="1439545" y="5494366"/>
                </a:cubicBezTo>
                <a:cubicBezTo>
                  <a:pt x="1450975" y="5502621"/>
                  <a:pt x="1467485" y="5491191"/>
                  <a:pt x="1463675" y="5477856"/>
                </a:cubicBezTo>
                <a:cubicBezTo>
                  <a:pt x="1460500" y="5460076"/>
                  <a:pt x="1432560" y="5462616"/>
                  <a:pt x="1432560" y="5480396"/>
                </a:cubicBezTo>
                <a:cubicBezTo>
                  <a:pt x="1428750" y="5477221"/>
                  <a:pt x="1424305" y="5475951"/>
                  <a:pt x="1419225" y="5476586"/>
                </a:cubicBezTo>
                <a:cubicBezTo>
                  <a:pt x="1396365" y="5479126"/>
                  <a:pt x="1398905" y="5514051"/>
                  <a:pt x="1421130" y="5513416"/>
                </a:cubicBezTo>
                <a:close/>
                <a:moveTo>
                  <a:pt x="3014980" y="4511386"/>
                </a:moveTo>
                <a:cubicBezTo>
                  <a:pt x="2985770" y="4543136"/>
                  <a:pt x="3036570" y="4588221"/>
                  <a:pt x="3064510" y="4555201"/>
                </a:cubicBezTo>
                <a:cubicBezTo>
                  <a:pt x="3093085" y="4523451"/>
                  <a:pt x="3042285" y="4479001"/>
                  <a:pt x="3014980" y="4511386"/>
                </a:cubicBezTo>
                <a:close/>
                <a:moveTo>
                  <a:pt x="2823845" y="4833331"/>
                </a:moveTo>
                <a:cubicBezTo>
                  <a:pt x="2852420" y="4800946"/>
                  <a:pt x="2800985" y="4757131"/>
                  <a:pt x="2773680" y="4790151"/>
                </a:cubicBezTo>
                <a:cubicBezTo>
                  <a:pt x="2745105" y="4822536"/>
                  <a:pt x="2795905" y="4866351"/>
                  <a:pt x="2823845" y="4833331"/>
                </a:cubicBezTo>
                <a:close/>
                <a:moveTo>
                  <a:pt x="2831465" y="4910166"/>
                </a:moveTo>
                <a:cubicBezTo>
                  <a:pt x="2858135" y="4911436"/>
                  <a:pt x="2872740" y="4875241"/>
                  <a:pt x="2852420" y="4857461"/>
                </a:cubicBezTo>
                <a:cubicBezTo>
                  <a:pt x="2809240" y="4819996"/>
                  <a:pt x="2774315" y="4907626"/>
                  <a:pt x="2831465" y="4910166"/>
                </a:cubicBezTo>
                <a:close/>
                <a:moveTo>
                  <a:pt x="2903855" y="4740621"/>
                </a:moveTo>
                <a:lnTo>
                  <a:pt x="2903855" y="4740621"/>
                </a:lnTo>
                <a:cubicBezTo>
                  <a:pt x="2932430" y="4708236"/>
                  <a:pt x="2880995" y="4664421"/>
                  <a:pt x="2853690" y="4697441"/>
                </a:cubicBezTo>
                <a:cubicBezTo>
                  <a:pt x="2825115" y="4729191"/>
                  <a:pt x="2875915" y="4773641"/>
                  <a:pt x="2903855" y="4740621"/>
                </a:cubicBezTo>
                <a:close/>
                <a:moveTo>
                  <a:pt x="2910205" y="4827616"/>
                </a:moveTo>
                <a:cubicBezTo>
                  <a:pt x="2936875" y="4828886"/>
                  <a:pt x="2951480" y="4792691"/>
                  <a:pt x="2931160" y="4774911"/>
                </a:cubicBezTo>
                <a:cubicBezTo>
                  <a:pt x="2887980" y="4737446"/>
                  <a:pt x="2853055" y="4824441"/>
                  <a:pt x="2910205" y="4827616"/>
                </a:cubicBezTo>
                <a:close/>
                <a:moveTo>
                  <a:pt x="2743835" y="4926676"/>
                </a:moveTo>
                <a:cubicBezTo>
                  <a:pt x="2772410" y="4894291"/>
                  <a:pt x="2720975" y="4850476"/>
                  <a:pt x="2693670" y="4883496"/>
                </a:cubicBezTo>
                <a:cubicBezTo>
                  <a:pt x="2665095" y="4915881"/>
                  <a:pt x="2715895" y="4959696"/>
                  <a:pt x="2743835" y="4926676"/>
                </a:cubicBezTo>
                <a:close/>
                <a:moveTo>
                  <a:pt x="2752090" y="4992716"/>
                </a:moveTo>
                <a:cubicBezTo>
                  <a:pt x="2778760" y="4993351"/>
                  <a:pt x="2793365" y="4957791"/>
                  <a:pt x="2773045" y="4940011"/>
                </a:cubicBezTo>
                <a:cubicBezTo>
                  <a:pt x="2730500" y="4902546"/>
                  <a:pt x="2695575" y="4990176"/>
                  <a:pt x="2752090" y="4992716"/>
                </a:cubicBezTo>
                <a:close/>
                <a:moveTo>
                  <a:pt x="3305810" y="4078951"/>
                </a:moveTo>
                <a:cubicBezTo>
                  <a:pt x="3338830" y="4111336"/>
                  <a:pt x="3388995" y="4059266"/>
                  <a:pt x="3355340" y="4027516"/>
                </a:cubicBezTo>
                <a:cubicBezTo>
                  <a:pt x="3322955" y="3995131"/>
                  <a:pt x="3272155" y="4047201"/>
                  <a:pt x="3305810" y="4078951"/>
                </a:cubicBezTo>
                <a:close/>
                <a:moveTo>
                  <a:pt x="2921635" y="4941916"/>
                </a:moveTo>
                <a:cubicBezTo>
                  <a:pt x="2964180" y="4981286"/>
                  <a:pt x="2990215" y="4889846"/>
                  <a:pt x="2933065" y="4901276"/>
                </a:cubicBezTo>
                <a:cubicBezTo>
                  <a:pt x="2948940" y="4874606"/>
                  <a:pt x="2911475" y="4844761"/>
                  <a:pt x="2889250" y="4866986"/>
                </a:cubicBezTo>
                <a:cubicBezTo>
                  <a:pt x="2866390" y="4886671"/>
                  <a:pt x="2890520" y="4925406"/>
                  <a:pt x="2918460" y="4913976"/>
                </a:cubicBezTo>
                <a:cubicBezTo>
                  <a:pt x="2914015" y="4922866"/>
                  <a:pt x="2914650" y="4933661"/>
                  <a:pt x="2921635" y="4941916"/>
                </a:cubicBezTo>
                <a:close/>
                <a:moveTo>
                  <a:pt x="3046095" y="4610446"/>
                </a:moveTo>
                <a:cubicBezTo>
                  <a:pt x="3018155" y="4638386"/>
                  <a:pt x="3063240" y="4682201"/>
                  <a:pt x="3090545" y="4652991"/>
                </a:cubicBezTo>
                <a:lnTo>
                  <a:pt x="3090545" y="4652991"/>
                </a:lnTo>
                <a:cubicBezTo>
                  <a:pt x="3118485" y="4624416"/>
                  <a:pt x="3073400" y="4581236"/>
                  <a:pt x="3046095" y="4610446"/>
                </a:cubicBezTo>
                <a:close/>
                <a:moveTo>
                  <a:pt x="165735" y="4656166"/>
                </a:moveTo>
                <a:cubicBezTo>
                  <a:pt x="218440" y="4654261"/>
                  <a:pt x="193675" y="4572346"/>
                  <a:pt x="148590" y="4599651"/>
                </a:cubicBezTo>
                <a:cubicBezTo>
                  <a:pt x="123190" y="4615526"/>
                  <a:pt x="136525" y="4657436"/>
                  <a:pt x="165735" y="4656166"/>
                </a:cubicBezTo>
                <a:close/>
                <a:moveTo>
                  <a:pt x="3364230" y="3884006"/>
                </a:moveTo>
                <a:cubicBezTo>
                  <a:pt x="3435350" y="3878926"/>
                  <a:pt x="3392170" y="3772881"/>
                  <a:pt x="3337560" y="3818601"/>
                </a:cubicBezTo>
                <a:cubicBezTo>
                  <a:pt x="3312795" y="3840826"/>
                  <a:pt x="3331210" y="3885276"/>
                  <a:pt x="3364230" y="3884006"/>
                </a:cubicBezTo>
                <a:close/>
                <a:moveTo>
                  <a:pt x="2966720" y="4692996"/>
                </a:moveTo>
                <a:cubicBezTo>
                  <a:pt x="2938780" y="4721571"/>
                  <a:pt x="2983865" y="4764751"/>
                  <a:pt x="3011170" y="4735541"/>
                </a:cubicBezTo>
                <a:cubicBezTo>
                  <a:pt x="3039110" y="4706966"/>
                  <a:pt x="2994025" y="4663786"/>
                  <a:pt x="2966720" y="4692996"/>
                </a:cubicBezTo>
                <a:close/>
                <a:moveTo>
                  <a:pt x="4324985" y="4084666"/>
                </a:moveTo>
                <a:cubicBezTo>
                  <a:pt x="4361815" y="4084031"/>
                  <a:pt x="4349750" y="4025611"/>
                  <a:pt x="4315460" y="4040216"/>
                </a:cubicBezTo>
                <a:cubicBezTo>
                  <a:pt x="4292600" y="4049106"/>
                  <a:pt x="4300855" y="4085301"/>
                  <a:pt x="4324985" y="4084666"/>
                </a:cubicBezTo>
                <a:close/>
                <a:moveTo>
                  <a:pt x="3206115" y="4445981"/>
                </a:moveTo>
                <a:cubicBezTo>
                  <a:pt x="3177540" y="4473921"/>
                  <a:pt x="3221990" y="4517736"/>
                  <a:pt x="3249930" y="4489161"/>
                </a:cubicBezTo>
                <a:cubicBezTo>
                  <a:pt x="3277870" y="4461856"/>
                  <a:pt x="3233420" y="4417406"/>
                  <a:pt x="3206115" y="4445981"/>
                </a:cubicBezTo>
                <a:close/>
                <a:moveTo>
                  <a:pt x="3096260" y="4419311"/>
                </a:moveTo>
                <a:cubicBezTo>
                  <a:pt x="3067050" y="4451061"/>
                  <a:pt x="3117215" y="4496146"/>
                  <a:pt x="3145790" y="4463761"/>
                </a:cubicBezTo>
                <a:cubicBezTo>
                  <a:pt x="3175000" y="4432011"/>
                  <a:pt x="3124835" y="4386926"/>
                  <a:pt x="3096260" y="4419311"/>
                </a:cubicBezTo>
                <a:close/>
                <a:moveTo>
                  <a:pt x="2933700" y="4604096"/>
                </a:moveTo>
                <a:cubicBezTo>
                  <a:pt x="2905125" y="4636481"/>
                  <a:pt x="2955925" y="4680296"/>
                  <a:pt x="2983865" y="4647276"/>
                </a:cubicBezTo>
                <a:cubicBezTo>
                  <a:pt x="3012440" y="4615526"/>
                  <a:pt x="2961640" y="4571076"/>
                  <a:pt x="2933700" y="4604096"/>
                </a:cubicBezTo>
                <a:close/>
                <a:moveTo>
                  <a:pt x="3179445" y="4328506"/>
                </a:moveTo>
                <a:cubicBezTo>
                  <a:pt x="3149600" y="4359621"/>
                  <a:pt x="3199130" y="4405341"/>
                  <a:pt x="3228340" y="4373591"/>
                </a:cubicBezTo>
                <a:cubicBezTo>
                  <a:pt x="3257550" y="4342476"/>
                  <a:pt x="3208020" y="4296121"/>
                  <a:pt x="3179445" y="4328506"/>
                </a:cubicBezTo>
                <a:close/>
                <a:moveTo>
                  <a:pt x="3726180" y="3826221"/>
                </a:moveTo>
                <a:cubicBezTo>
                  <a:pt x="3690620" y="3850986"/>
                  <a:pt x="3729990" y="3905596"/>
                  <a:pt x="3764915" y="3880196"/>
                </a:cubicBezTo>
                <a:cubicBezTo>
                  <a:pt x="3799840" y="3856066"/>
                  <a:pt x="3760470" y="3800821"/>
                  <a:pt x="3726180" y="3826221"/>
                </a:cubicBezTo>
                <a:close/>
                <a:moveTo>
                  <a:pt x="3709035" y="3682711"/>
                </a:moveTo>
                <a:cubicBezTo>
                  <a:pt x="3669665" y="3707476"/>
                  <a:pt x="3709670" y="3768436"/>
                  <a:pt x="3747770" y="3742401"/>
                </a:cubicBezTo>
                <a:cubicBezTo>
                  <a:pt x="3787140" y="3717636"/>
                  <a:pt x="3747770" y="3657311"/>
                  <a:pt x="3709035" y="3682711"/>
                </a:cubicBezTo>
                <a:close/>
                <a:moveTo>
                  <a:pt x="3413125" y="4286596"/>
                </a:moveTo>
                <a:cubicBezTo>
                  <a:pt x="3385820" y="4257386"/>
                  <a:pt x="3340735" y="4300566"/>
                  <a:pt x="3368675" y="4329141"/>
                </a:cubicBezTo>
                <a:cubicBezTo>
                  <a:pt x="3395980" y="4358351"/>
                  <a:pt x="3441065" y="4315171"/>
                  <a:pt x="3413125" y="4286596"/>
                </a:cubicBezTo>
                <a:close/>
                <a:moveTo>
                  <a:pt x="3691890" y="3624926"/>
                </a:moveTo>
                <a:cubicBezTo>
                  <a:pt x="3698240" y="3624926"/>
                  <a:pt x="3705225" y="3623021"/>
                  <a:pt x="3711575" y="3619846"/>
                </a:cubicBezTo>
                <a:lnTo>
                  <a:pt x="3711575" y="3619846"/>
                </a:lnTo>
                <a:cubicBezTo>
                  <a:pt x="3754120" y="3595081"/>
                  <a:pt x="3714750" y="3528406"/>
                  <a:pt x="3672205" y="3554441"/>
                </a:cubicBezTo>
                <a:cubicBezTo>
                  <a:pt x="3639185" y="3572221"/>
                  <a:pt x="3655060" y="3626196"/>
                  <a:pt x="3691890" y="3624926"/>
                </a:cubicBezTo>
                <a:close/>
                <a:moveTo>
                  <a:pt x="3876040" y="3768436"/>
                </a:moveTo>
                <a:cubicBezTo>
                  <a:pt x="3853815" y="3731606"/>
                  <a:pt x="3796665" y="3766531"/>
                  <a:pt x="3819525" y="3803361"/>
                </a:cubicBezTo>
                <a:cubicBezTo>
                  <a:pt x="3841115" y="3840191"/>
                  <a:pt x="3898900" y="3804631"/>
                  <a:pt x="3876040" y="3768436"/>
                </a:cubicBezTo>
                <a:close/>
                <a:moveTo>
                  <a:pt x="3825240" y="3614766"/>
                </a:moveTo>
                <a:cubicBezTo>
                  <a:pt x="3783965" y="3635721"/>
                  <a:pt x="3818255" y="3699856"/>
                  <a:pt x="3858895" y="3677631"/>
                </a:cubicBezTo>
                <a:cubicBezTo>
                  <a:pt x="3899535" y="3656676"/>
                  <a:pt x="3865880" y="3592541"/>
                  <a:pt x="3825240" y="3614766"/>
                </a:cubicBezTo>
                <a:close/>
                <a:moveTo>
                  <a:pt x="3815715" y="3560156"/>
                </a:moveTo>
                <a:cubicBezTo>
                  <a:pt x="3876040" y="3559521"/>
                  <a:pt x="3855720" y="3463636"/>
                  <a:pt x="3800475" y="3487131"/>
                </a:cubicBezTo>
                <a:cubicBezTo>
                  <a:pt x="3763010" y="3503006"/>
                  <a:pt x="3776345" y="3562061"/>
                  <a:pt x="3815715" y="3560156"/>
                </a:cubicBezTo>
                <a:close/>
                <a:moveTo>
                  <a:pt x="3593465" y="3810346"/>
                </a:moveTo>
                <a:cubicBezTo>
                  <a:pt x="3621405" y="3847176"/>
                  <a:pt x="3678555" y="3803361"/>
                  <a:pt x="3649980" y="3767166"/>
                </a:cubicBezTo>
                <a:cubicBezTo>
                  <a:pt x="3622675" y="3730336"/>
                  <a:pt x="3564890" y="3774151"/>
                  <a:pt x="3593465" y="3810346"/>
                </a:cubicBezTo>
                <a:close/>
                <a:moveTo>
                  <a:pt x="3350260" y="4150071"/>
                </a:moveTo>
                <a:cubicBezTo>
                  <a:pt x="3328670" y="4169756"/>
                  <a:pt x="3345180" y="4207856"/>
                  <a:pt x="3373755" y="4206586"/>
                </a:cubicBezTo>
                <a:cubicBezTo>
                  <a:pt x="3435985" y="4202141"/>
                  <a:pt x="3397885" y="4109431"/>
                  <a:pt x="3350260" y="4150071"/>
                </a:cubicBezTo>
                <a:close/>
                <a:moveTo>
                  <a:pt x="3390900" y="4578061"/>
                </a:moveTo>
                <a:cubicBezTo>
                  <a:pt x="3436620" y="4576156"/>
                  <a:pt x="3411855" y="4505036"/>
                  <a:pt x="3374390" y="4532341"/>
                </a:cubicBezTo>
                <a:cubicBezTo>
                  <a:pt x="3355340" y="4546311"/>
                  <a:pt x="3367405" y="4578696"/>
                  <a:pt x="3390900" y="4578061"/>
                </a:cubicBezTo>
                <a:close/>
                <a:moveTo>
                  <a:pt x="3575685" y="3702396"/>
                </a:moveTo>
                <a:cubicBezTo>
                  <a:pt x="3642360" y="3698586"/>
                  <a:pt x="3609340" y="3596986"/>
                  <a:pt x="3552825" y="3633816"/>
                </a:cubicBezTo>
                <a:cubicBezTo>
                  <a:pt x="3523615" y="3653501"/>
                  <a:pt x="3540760" y="3703666"/>
                  <a:pt x="3575685" y="3702396"/>
                </a:cubicBezTo>
                <a:close/>
                <a:moveTo>
                  <a:pt x="2318385" y="5202266"/>
                </a:moveTo>
                <a:cubicBezTo>
                  <a:pt x="2357755" y="5231476"/>
                  <a:pt x="2403475" y="5168611"/>
                  <a:pt x="2362835" y="5140036"/>
                </a:cubicBezTo>
                <a:cubicBezTo>
                  <a:pt x="2323465" y="5111461"/>
                  <a:pt x="2277745" y="5174326"/>
                  <a:pt x="2318385" y="5202266"/>
                </a:cubicBezTo>
                <a:close/>
                <a:moveTo>
                  <a:pt x="3397885" y="3984971"/>
                </a:moveTo>
                <a:cubicBezTo>
                  <a:pt x="3429635" y="4018626"/>
                  <a:pt x="3481705" y="3968461"/>
                  <a:pt x="3449320" y="3935441"/>
                </a:cubicBezTo>
                <a:cubicBezTo>
                  <a:pt x="3418205" y="3901786"/>
                  <a:pt x="3365500" y="3951951"/>
                  <a:pt x="3397885" y="3984971"/>
                </a:cubicBezTo>
                <a:close/>
                <a:moveTo>
                  <a:pt x="3493770" y="3895436"/>
                </a:moveTo>
                <a:cubicBezTo>
                  <a:pt x="3523615" y="3930996"/>
                  <a:pt x="3578225" y="3883371"/>
                  <a:pt x="3547745" y="3848446"/>
                </a:cubicBezTo>
                <a:cubicBezTo>
                  <a:pt x="3517900" y="3813521"/>
                  <a:pt x="3462655" y="3861146"/>
                  <a:pt x="3493770" y="3895436"/>
                </a:cubicBezTo>
                <a:close/>
                <a:moveTo>
                  <a:pt x="3467100" y="3789391"/>
                </a:moveTo>
                <a:cubicBezTo>
                  <a:pt x="3536315" y="3784946"/>
                  <a:pt x="3497580" y="3680806"/>
                  <a:pt x="3442335" y="3722716"/>
                </a:cubicBezTo>
                <a:cubicBezTo>
                  <a:pt x="3415030" y="3744306"/>
                  <a:pt x="3432810" y="3790661"/>
                  <a:pt x="3467100" y="3789391"/>
                </a:cubicBezTo>
                <a:close/>
                <a:moveTo>
                  <a:pt x="3374390" y="4483446"/>
                </a:moveTo>
                <a:cubicBezTo>
                  <a:pt x="3425825" y="4480906"/>
                  <a:pt x="3395980" y="4401531"/>
                  <a:pt x="3355340" y="4433916"/>
                </a:cubicBezTo>
                <a:cubicBezTo>
                  <a:pt x="3335655" y="4451061"/>
                  <a:pt x="3348990" y="4484716"/>
                  <a:pt x="3374390" y="4483446"/>
                </a:cubicBezTo>
                <a:close/>
                <a:moveTo>
                  <a:pt x="2880995" y="4578696"/>
                </a:moveTo>
                <a:cubicBezTo>
                  <a:pt x="2916555" y="4607906"/>
                  <a:pt x="2962275" y="4551391"/>
                  <a:pt x="2925445" y="4522816"/>
                </a:cubicBezTo>
                <a:cubicBezTo>
                  <a:pt x="2889885" y="4493606"/>
                  <a:pt x="2844165" y="4550121"/>
                  <a:pt x="2880995" y="4578696"/>
                </a:cubicBezTo>
                <a:close/>
                <a:moveTo>
                  <a:pt x="2723515" y="4633306"/>
                </a:moveTo>
                <a:cubicBezTo>
                  <a:pt x="2762885" y="4662516"/>
                  <a:pt x="2808605" y="4599651"/>
                  <a:pt x="2767965" y="4571711"/>
                </a:cubicBezTo>
                <a:cubicBezTo>
                  <a:pt x="2727960" y="4541866"/>
                  <a:pt x="2682875" y="4604731"/>
                  <a:pt x="2723515" y="4633306"/>
                </a:cubicBezTo>
                <a:close/>
                <a:moveTo>
                  <a:pt x="2805430" y="4519641"/>
                </a:moveTo>
                <a:cubicBezTo>
                  <a:pt x="2844800" y="4549486"/>
                  <a:pt x="2891155" y="4486621"/>
                  <a:pt x="2850515" y="4458046"/>
                </a:cubicBezTo>
                <a:cubicBezTo>
                  <a:pt x="2811145" y="4428836"/>
                  <a:pt x="2764790" y="4491066"/>
                  <a:pt x="2805430" y="4519641"/>
                </a:cubicBezTo>
                <a:close/>
                <a:moveTo>
                  <a:pt x="2799715" y="4681566"/>
                </a:moveTo>
                <a:cubicBezTo>
                  <a:pt x="2835275" y="4710776"/>
                  <a:pt x="2880360" y="4653626"/>
                  <a:pt x="2843530" y="4625686"/>
                </a:cubicBezTo>
                <a:cubicBezTo>
                  <a:pt x="2807970" y="4596476"/>
                  <a:pt x="2762885" y="4653626"/>
                  <a:pt x="2799715" y="4681566"/>
                </a:cubicBezTo>
                <a:close/>
                <a:moveTo>
                  <a:pt x="2887980" y="4407246"/>
                </a:moveTo>
                <a:cubicBezTo>
                  <a:pt x="2926715" y="4437726"/>
                  <a:pt x="2973705" y="4375496"/>
                  <a:pt x="2933700" y="4346286"/>
                </a:cubicBezTo>
                <a:cubicBezTo>
                  <a:pt x="2894965" y="4316441"/>
                  <a:pt x="2847975" y="4378036"/>
                  <a:pt x="2887980" y="4407246"/>
                </a:cubicBezTo>
                <a:close/>
                <a:moveTo>
                  <a:pt x="3046095" y="4374226"/>
                </a:moveTo>
                <a:cubicBezTo>
                  <a:pt x="3081020" y="4404071"/>
                  <a:pt x="3128010" y="4348826"/>
                  <a:pt x="3091815" y="4319616"/>
                </a:cubicBezTo>
                <a:cubicBezTo>
                  <a:pt x="3056890" y="4289771"/>
                  <a:pt x="3009900" y="4345016"/>
                  <a:pt x="3046095" y="4374226"/>
                </a:cubicBezTo>
                <a:close/>
                <a:moveTo>
                  <a:pt x="2972435" y="4296121"/>
                </a:moveTo>
                <a:cubicBezTo>
                  <a:pt x="3011170" y="4327236"/>
                  <a:pt x="3058795" y="4265641"/>
                  <a:pt x="3019425" y="4235796"/>
                </a:cubicBezTo>
                <a:cubicBezTo>
                  <a:pt x="2980690" y="4204681"/>
                  <a:pt x="2933065" y="4266276"/>
                  <a:pt x="2972435" y="4296121"/>
                </a:cubicBezTo>
                <a:close/>
                <a:moveTo>
                  <a:pt x="2962910" y="4475826"/>
                </a:moveTo>
                <a:cubicBezTo>
                  <a:pt x="2998470" y="4505671"/>
                  <a:pt x="3044190" y="4449156"/>
                  <a:pt x="3007995" y="4420581"/>
                </a:cubicBezTo>
                <a:cubicBezTo>
                  <a:pt x="2972435" y="4390736"/>
                  <a:pt x="2926715" y="4447251"/>
                  <a:pt x="2962910" y="4475826"/>
                </a:cubicBezTo>
                <a:close/>
                <a:moveTo>
                  <a:pt x="2399665" y="5088601"/>
                </a:moveTo>
                <a:cubicBezTo>
                  <a:pt x="2439035" y="5117811"/>
                  <a:pt x="2484755" y="5054311"/>
                  <a:pt x="2443480" y="5026371"/>
                </a:cubicBezTo>
                <a:cubicBezTo>
                  <a:pt x="2404110" y="4997796"/>
                  <a:pt x="2359025" y="5060661"/>
                  <a:pt x="2399665" y="5088601"/>
                </a:cubicBezTo>
                <a:close/>
                <a:moveTo>
                  <a:pt x="2480945" y="4974936"/>
                </a:moveTo>
                <a:cubicBezTo>
                  <a:pt x="2520950" y="5004146"/>
                  <a:pt x="2566035" y="4940646"/>
                  <a:pt x="2524760" y="4912706"/>
                </a:cubicBezTo>
                <a:cubicBezTo>
                  <a:pt x="2484755" y="4883496"/>
                  <a:pt x="2440305" y="4946996"/>
                  <a:pt x="2480945" y="4974936"/>
                </a:cubicBezTo>
                <a:close/>
                <a:moveTo>
                  <a:pt x="2719070" y="4785071"/>
                </a:moveTo>
                <a:cubicBezTo>
                  <a:pt x="2754630" y="4814281"/>
                  <a:pt x="2799715" y="4756496"/>
                  <a:pt x="2762885" y="4729191"/>
                </a:cubicBezTo>
                <a:cubicBezTo>
                  <a:pt x="2726690" y="4699981"/>
                  <a:pt x="2682240" y="4757131"/>
                  <a:pt x="2719070" y="4785071"/>
                </a:cubicBezTo>
                <a:close/>
                <a:moveTo>
                  <a:pt x="2607310" y="4987001"/>
                </a:moveTo>
                <a:cubicBezTo>
                  <a:pt x="2597785" y="5010496"/>
                  <a:pt x="2621915" y="5037166"/>
                  <a:pt x="2646045" y="5030181"/>
                </a:cubicBezTo>
                <a:cubicBezTo>
                  <a:pt x="2628900" y="5060026"/>
                  <a:pt x="2672080" y="5091141"/>
                  <a:pt x="2694940" y="5065741"/>
                </a:cubicBezTo>
                <a:lnTo>
                  <a:pt x="2694940" y="5065741"/>
                </a:lnTo>
                <a:cubicBezTo>
                  <a:pt x="2715895" y="5045421"/>
                  <a:pt x="2694940" y="5007956"/>
                  <a:pt x="2667000" y="5014306"/>
                </a:cubicBezTo>
                <a:cubicBezTo>
                  <a:pt x="2687320" y="4980651"/>
                  <a:pt x="2637155" y="4945726"/>
                  <a:pt x="2613025" y="4976841"/>
                </a:cubicBezTo>
                <a:cubicBezTo>
                  <a:pt x="2630170" y="4895561"/>
                  <a:pt x="2501265" y="4931756"/>
                  <a:pt x="2557780" y="4992716"/>
                </a:cubicBezTo>
                <a:cubicBezTo>
                  <a:pt x="2573020" y="5004146"/>
                  <a:pt x="2594610" y="5002241"/>
                  <a:pt x="2607310" y="4987001"/>
                </a:cubicBezTo>
                <a:close/>
                <a:moveTo>
                  <a:pt x="3004820" y="4835236"/>
                </a:moveTo>
                <a:cubicBezTo>
                  <a:pt x="3032125" y="4810471"/>
                  <a:pt x="2992755" y="4768561"/>
                  <a:pt x="2966085" y="4793961"/>
                </a:cubicBezTo>
                <a:cubicBezTo>
                  <a:pt x="2939415" y="4819361"/>
                  <a:pt x="2978785" y="4861271"/>
                  <a:pt x="3004820" y="4835236"/>
                </a:cubicBezTo>
                <a:close/>
                <a:moveTo>
                  <a:pt x="2642235" y="4746971"/>
                </a:moveTo>
                <a:cubicBezTo>
                  <a:pt x="2681605" y="4776181"/>
                  <a:pt x="2727325" y="4713316"/>
                  <a:pt x="2686685" y="4684741"/>
                </a:cubicBezTo>
                <a:cubicBezTo>
                  <a:pt x="2646680" y="4655531"/>
                  <a:pt x="2601595" y="4719031"/>
                  <a:pt x="2642235" y="4746971"/>
                </a:cubicBezTo>
                <a:close/>
                <a:moveTo>
                  <a:pt x="2638425" y="4889211"/>
                </a:moveTo>
                <a:cubicBezTo>
                  <a:pt x="2674620" y="4917786"/>
                  <a:pt x="2719070" y="4860636"/>
                  <a:pt x="2682240" y="4832696"/>
                </a:cubicBezTo>
                <a:cubicBezTo>
                  <a:pt x="2646045" y="4803486"/>
                  <a:pt x="2601595" y="4861271"/>
                  <a:pt x="2638425" y="4889211"/>
                </a:cubicBezTo>
                <a:close/>
                <a:moveTo>
                  <a:pt x="2561590" y="4860636"/>
                </a:moveTo>
                <a:cubicBezTo>
                  <a:pt x="2601595" y="4889846"/>
                  <a:pt x="2646680" y="4826346"/>
                  <a:pt x="2605405" y="4798406"/>
                </a:cubicBezTo>
                <a:cubicBezTo>
                  <a:pt x="2565400" y="4769196"/>
                  <a:pt x="2520950" y="4832696"/>
                  <a:pt x="2561590" y="4860636"/>
                </a:cubicBezTo>
                <a:close/>
                <a:moveTo>
                  <a:pt x="3058795" y="4186266"/>
                </a:moveTo>
                <a:cubicBezTo>
                  <a:pt x="3096260" y="4218016"/>
                  <a:pt x="3145790" y="4158326"/>
                  <a:pt x="3107055" y="4127211"/>
                </a:cubicBezTo>
                <a:cubicBezTo>
                  <a:pt x="3069590" y="4095461"/>
                  <a:pt x="3020060" y="4155151"/>
                  <a:pt x="3058795" y="4186266"/>
                </a:cubicBezTo>
                <a:close/>
                <a:moveTo>
                  <a:pt x="3130550" y="4273896"/>
                </a:moveTo>
                <a:cubicBezTo>
                  <a:pt x="3164840" y="4305011"/>
                  <a:pt x="3212465" y="4249766"/>
                  <a:pt x="3176905" y="4219921"/>
                </a:cubicBezTo>
                <a:cubicBezTo>
                  <a:pt x="3142615" y="4189441"/>
                  <a:pt x="3094990" y="4244051"/>
                  <a:pt x="3130550" y="4273896"/>
                </a:cubicBezTo>
                <a:close/>
                <a:moveTo>
                  <a:pt x="3217545" y="4626321"/>
                </a:moveTo>
                <a:cubicBezTo>
                  <a:pt x="3269615" y="4623781"/>
                  <a:pt x="3238500" y="4543771"/>
                  <a:pt x="3198495" y="4577426"/>
                </a:cubicBezTo>
                <a:cubicBezTo>
                  <a:pt x="3179445" y="4593936"/>
                  <a:pt x="3192780" y="4626956"/>
                  <a:pt x="3217545" y="4626321"/>
                </a:cubicBezTo>
                <a:close/>
                <a:moveTo>
                  <a:pt x="3140075" y="4698076"/>
                </a:moveTo>
                <a:cubicBezTo>
                  <a:pt x="3192145" y="4695536"/>
                  <a:pt x="3161030" y="4615526"/>
                  <a:pt x="3121025" y="4649181"/>
                </a:cubicBezTo>
                <a:cubicBezTo>
                  <a:pt x="3121025" y="4649181"/>
                  <a:pt x="3121025" y="4649181"/>
                  <a:pt x="3121025" y="4649181"/>
                </a:cubicBezTo>
                <a:cubicBezTo>
                  <a:pt x="3101975" y="4665691"/>
                  <a:pt x="3115310" y="4699346"/>
                  <a:pt x="3140075" y="4698076"/>
                </a:cubicBezTo>
                <a:close/>
                <a:moveTo>
                  <a:pt x="3016250" y="4888576"/>
                </a:moveTo>
                <a:cubicBezTo>
                  <a:pt x="3062605" y="4886671"/>
                  <a:pt x="3036570" y="4814916"/>
                  <a:pt x="2999740" y="4842856"/>
                </a:cubicBezTo>
                <a:cubicBezTo>
                  <a:pt x="2981325" y="4857461"/>
                  <a:pt x="2992755" y="4889846"/>
                  <a:pt x="3016250" y="4888576"/>
                </a:cubicBezTo>
                <a:close/>
                <a:moveTo>
                  <a:pt x="3240405" y="4701886"/>
                </a:moveTo>
                <a:cubicBezTo>
                  <a:pt x="3286760" y="4699981"/>
                  <a:pt x="3260725" y="4628226"/>
                  <a:pt x="3223895" y="4656166"/>
                </a:cubicBezTo>
                <a:cubicBezTo>
                  <a:pt x="3205480" y="4670771"/>
                  <a:pt x="3217545" y="4702521"/>
                  <a:pt x="3240405" y="4701886"/>
                </a:cubicBezTo>
                <a:close/>
                <a:moveTo>
                  <a:pt x="3091180" y="4826346"/>
                </a:moveTo>
                <a:cubicBezTo>
                  <a:pt x="3137535" y="4824441"/>
                  <a:pt x="3111500" y="4752686"/>
                  <a:pt x="3074670" y="4780626"/>
                </a:cubicBezTo>
                <a:cubicBezTo>
                  <a:pt x="3074670" y="4780626"/>
                  <a:pt x="3074670" y="4780626"/>
                  <a:pt x="3074670" y="4780626"/>
                </a:cubicBezTo>
                <a:cubicBezTo>
                  <a:pt x="3055620" y="4795231"/>
                  <a:pt x="3067685" y="4826981"/>
                  <a:pt x="3091180" y="4826346"/>
                </a:cubicBezTo>
                <a:close/>
                <a:moveTo>
                  <a:pt x="3062605" y="4770466"/>
                </a:moveTo>
                <a:cubicBezTo>
                  <a:pt x="3114675" y="4767926"/>
                  <a:pt x="3083560" y="4687916"/>
                  <a:pt x="3043555" y="4721571"/>
                </a:cubicBezTo>
                <a:cubicBezTo>
                  <a:pt x="3024505" y="4738716"/>
                  <a:pt x="3038475" y="4771736"/>
                  <a:pt x="3062605" y="4770466"/>
                </a:cubicBezTo>
                <a:close/>
                <a:moveTo>
                  <a:pt x="3165475" y="4764116"/>
                </a:moveTo>
                <a:cubicBezTo>
                  <a:pt x="3211830" y="4762211"/>
                  <a:pt x="3185795" y="4690456"/>
                  <a:pt x="3148965" y="4718396"/>
                </a:cubicBezTo>
                <a:cubicBezTo>
                  <a:pt x="3130550" y="4733001"/>
                  <a:pt x="3142615" y="4764751"/>
                  <a:pt x="3165475" y="4764116"/>
                </a:cubicBezTo>
                <a:close/>
                <a:moveTo>
                  <a:pt x="3266440" y="3983701"/>
                </a:moveTo>
                <a:cubicBezTo>
                  <a:pt x="3299460" y="3984971"/>
                  <a:pt x="3317875" y="3939886"/>
                  <a:pt x="3292475" y="3917661"/>
                </a:cubicBezTo>
                <a:cubicBezTo>
                  <a:pt x="3237230" y="3873211"/>
                  <a:pt x="3195955" y="3978621"/>
                  <a:pt x="3266440" y="3983701"/>
                </a:cubicBezTo>
                <a:close/>
                <a:moveTo>
                  <a:pt x="3216910" y="4175471"/>
                </a:moveTo>
                <a:cubicBezTo>
                  <a:pt x="3250565" y="4207221"/>
                  <a:pt x="3299460" y="4153246"/>
                  <a:pt x="3265170" y="4122766"/>
                </a:cubicBezTo>
                <a:cubicBezTo>
                  <a:pt x="3231515" y="4091016"/>
                  <a:pt x="3182620" y="4144356"/>
                  <a:pt x="3216910" y="4175471"/>
                </a:cubicBezTo>
                <a:close/>
                <a:moveTo>
                  <a:pt x="3312160" y="4284056"/>
                </a:moveTo>
                <a:cubicBezTo>
                  <a:pt x="3342005" y="4253576"/>
                  <a:pt x="3293745" y="4206586"/>
                  <a:pt x="3264535" y="4238336"/>
                </a:cubicBezTo>
                <a:cubicBezTo>
                  <a:pt x="3234055" y="4268816"/>
                  <a:pt x="3282315" y="4315806"/>
                  <a:pt x="3312160" y="4284056"/>
                </a:cubicBezTo>
                <a:close/>
                <a:moveTo>
                  <a:pt x="3148330" y="4078316"/>
                </a:moveTo>
                <a:cubicBezTo>
                  <a:pt x="3185160" y="4111336"/>
                  <a:pt x="3235960" y="4052281"/>
                  <a:pt x="3197860" y="4020531"/>
                </a:cubicBezTo>
                <a:cubicBezTo>
                  <a:pt x="3161030" y="3988146"/>
                  <a:pt x="3110230" y="4046566"/>
                  <a:pt x="3148330" y="4078316"/>
                </a:cubicBezTo>
                <a:close/>
                <a:moveTo>
                  <a:pt x="3287395" y="4365336"/>
                </a:moveTo>
                <a:cubicBezTo>
                  <a:pt x="3258820" y="4392641"/>
                  <a:pt x="3302635" y="4437091"/>
                  <a:pt x="3330575" y="4409151"/>
                </a:cubicBezTo>
                <a:cubicBezTo>
                  <a:pt x="3359150" y="4381846"/>
                  <a:pt x="3315335" y="4336761"/>
                  <a:pt x="3287395" y="4365336"/>
                </a:cubicBezTo>
                <a:close/>
                <a:moveTo>
                  <a:pt x="3315335" y="4639656"/>
                </a:moveTo>
                <a:cubicBezTo>
                  <a:pt x="3361690" y="4637751"/>
                  <a:pt x="3335655" y="4565996"/>
                  <a:pt x="3298825" y="4593936"/>
                </a:cubicBezTo>
                <a:cubicBezTo>
                  <a:pt x="3280410" y="4608541"/>
                  <a:pt x="3292475" y="4640291"/>
                  <a:pt x="3315335" y="4639656"/>
                </a:cubicBezTo>
                <a:close/>
                <a:moveTo>
                  <a:pt x="3295650" y="4554566"/>
                </a:moveTo>
                <a:cubicBezTo>
                  <a:pt x="3347085" y="4552026"/>
                  <a:pt x="3316605" y="4472651"/>
                  <a:pt x="3276600" y="4505671"/>
                </a:cubicBezTo>
                <a:cubicBezTo>
                  <a:pt x="3257550" y="4522181"/>
                  <a:pt x="3270885" y="4555836"/>
                  <a:pt x="3295650" y="4554566"/>
                </a:cubicBezTo>
                <a:close/>
                <a:moveTo>
                  <a:pt x="3125470" y="4527896"/>
                </a:moveTo>
                <a:cubicBezTo>
                  <a:pt x="3097530" y="4555836"/>
                  <a:pt x="3141980" y="4599651"/>
                  <a:pt x="3169285" y="4570441"/>
                </a:cubicBezTo>
                <a:cubicBezTo>
                  <a:pt x="3197860" y="4542501"/>
                  <a:pt x="3152775" y="4498686"/>
                  <a:pt x="3125470" y="4527896"/>
                </a:cubicBezTo>
                <a:close/>
                <a:moveTo>
                  <a:pt x="3419475" y="4644101"/>
                </a:moveTo>
                <a:cubicBezTo>
                  <a:pt x="3460115" y="4642831"/>
                  <a:pt x="3439795" y="4579331"/>
                  <a:pt x="3405505" y="4602191"/>
                </a:cubicBezTo>
                <a:cubicBezTo>
                  <a:pt x="3387725" y="4614256"/>
                  <a:pt x="3397885" y="4644736"/>
                  <a:pt x="3419475" y="4644101"/>
                </a:cubicBezTo>
                <a:close/>
                <a:moveTo>
                  <a:pt x="3408045" y="4759036"/>
                </a:moveTo>
                <a:cubicBezTo>
                  <a:pt x="3388995" y="4767291"/>
                  <a:pt x="3402965" y="4797136"/>
                  <a:pt x="3421380" y="4787611"/>
                </a:cubicBezTo>
                <a:cubicBezTo>
                  <a:pt x="3440430" y="4779356"/>
                  <a:pt x="3426460" y="4750146"/>
                  <a:pt x="3408045" y="4759036"/>
                </a:cubicBezTo>
                <a:close/>
                <a:moveTo>
                  <a:pt x="3456305" y="4668231"/>
                </a:moveTo>
                <a:cubicBezTo>
                  <a:pt x="3418205" y="4628861"/>
                  <a:pt x="3398520" y="4716491"/>
                  <a:pt x="3449955" y="4696806"/>
                </a:cubicBezTo>
                <a:lnTo>
                  <a:pt x="3449955" y="4696806"/>
                </a:lnTo>
                <a:cubicBezTo>
                  <a:pt x="3459480" y="4690456"/>
                  <a:pt x="3462020" y="4677756"/>
                  <a:pt x="3456305" y="4668231"/>
                </a:cubicBezTo>
                <a:close/>
                <a:moveTo>
                  <a:pt x="3359785" y="4705061"/>
                </a:moveTo>
                <a:cubicBezTo>
                  <a:pt x="3336925" y="4719031"/>
                  <a:pt x="3359785" y="4755226"/>
                  <a:pt x="3382010" y="4739986"/>
                </a:cubicBezTo>
                <a:cubicBezTo>
                  <a:pt x="3404870" y="4726016"/>
                  <a:pt x="3382010" y="4689821"/>
                  <a:pt x="3359785" y="4705061"/>
                </a:cubicBezTo>
                <a:close/>
                <a:moveTo>
                  <a:pt x="3415665" y="4721571"/>
                </a:moveTo>
                <a:cubicBezTo>
                  <a:pt x="3394710" y="4733001"/>
                  <a:pt x="3413125" y="4765386"/>
                  <a:pt x="3433445" y="4753956"/>
                </a:cubicBezTo>
                <a:cubicBezTo>
                  <a:pt x="3454400" y="4742526"/>
                  <a:pt x="3436620" y="4710141"/>
                  <a:pt x="3415665" y="4721571"/>
                </a:cubicBezTo>
                <a:close/>
                <a:moveTo>
                  <a:pt x="3352800" y="4756496"/>
                </a:moveTo>
                <a:cubicBezTo>
                  <a:pt x="3342005" y="4762211"/>
                  <a:pt x="3340100" y="4778086"/>
                  <a:pt x="3349625" y="4786341"/>
                </a:cubicBezTo>
                <a:cubicBezTo>
                  <a:pt x="3335020" y="4793326"/>
                  <a:pt x="3341370" y="4816821"/>
                  <a:pt x="3357245" y="4816186"/>
                </a:cubicBezTo>
                <a:cubicBezTo>
                  <a:pt x="3370580" y="4816821"/>
                  <a:pt x="3378200" y="4799041"/>
                  <a:pt x="3368675" y="4789516"/>
                </a:cubicBezTo>
                <a:cubicBezTo>
                  <a:pt x="3392170" y="4780626"/>
                  <a:pt x="3375025" y="4744431"/>
                  <a:pt x="3352800" y="4756496"/>
                </a:cubicBezTo>
                <a:close/>
                <a:moveTo>
                  <a:pt x="3291840" y="4748241"/>
                </a:moveTo>
                <a:cubicBezTo>
                  <a:pt x="3268980" y="4762846"/>
                  <a:pt x="3291840" y="4797771"/>
                  <a:pt x="3314065" y="4783166"/>
                </a:cubicBezTo>
                <a:cubicBezTo>
                  <a:pt x="3336925" y="4769196"/>
                  <a:pt x="3314065" y="4733636"/>
                  <a:pt x="3291840" y="4748241"/>
                </a:cubicBezTo>
                <a:close/>
                <a:moveTo>
                  <a:pt x="3314700" y="4798406"/>
                </a:moveTo>
                <a:cubicBezTo>
                  <a:pt x="3301365" y="4774911"/>
                  <a:pt x="3267075" y="4800311"/>
                  <a:pt x="3285490" y="4819996"/>
                </a:cubicBezTo>
                <a:cubicBezTo>
                  <a:pt x="3272790" y="4850476"/>
                  <a:pt x="3328035" y="4847936"/>
                  <a:pt x="3312795" y="4818726"/>
                </a:cubicBezTo>
                <a:cubicBezTo>
                  <a:pt x="3317875" y="4813646"/>
                  <a:pt x="3318510" y="4805391"/>
                  <a:pt x="3314700" y="4798406"/>
                </a:cubicBezTo>
                <a:close/>
                <a:moveTo>
                  <a:pt x="1384300" y="5833456"/>
                </a:moveTo>
                <a:cubicBezTo>
                  <a:pt x="1335405" y="5826471"/>
                  <a:pt x="1329690" y="5904576"/>
                  <a:pt x="1379220" y="5904576"/>
                </a:cubicBezTo>
                <a:cubicBezTo>
                  <a:pt x="1421765" y="5905211"/>
                  <a:pt x="1426845" y="5838536"/>
                  <a:pt x="1384300" y="5833456"/>
                </a:cubicBezTo>
                <a:close/>
                <a:moveTo>
                  <a:pt x="3580130" y="4677756"/>
                </a:moveTo>
                <a:cubicBezTo>
                  <a:pt x="3561080" y="4686011"/>
                  <a:pt x="3575050" y="4715221"/>
                  <a:pt x="3593465" y="4706331"/>
                </a:cubicBezTo>
                <a:cubicBezTo>
                  <a:pt x="3612515" y="4698076"/>
                  <a:pt x="3599180" y="4668866"/>
                  <a:pt x="3580130" y="4677756"/>
                </a:cubicBezTo>
                <a:close/>
                <a:moveTo>
                  <a:pt x="3542030" y="4652356"/>
                </a:moveTo>
                <a:cubicBezTo>
                  <a:pt x="3521075" y="4663786"/>
                  <a:pt x="3539490" y="4696171"/>
                  <a:pt x="3559810" y="4684741"/>
                </a:cubicBezTo>
                <a:cubicBezTo>
                  <a:pt x="3580765" y="4673311"/>
                  <a:pt x="3562985" y="4640291"/>
                  <a:pt x="3542030" y="4652356"/>
                </a:cubicBezTo>
                <a:close/>
                <a:moveTo>
                  <a:pt x="3630295" y="4625051"/>
                </a:moveTo>
                <a:cubicBezTo>
                  <a:pt x="3599180" y="4588221"/>
                  <a:pt x="3576955" y="4663786"/>
                  <a:pt x="3623310" y="4649816"/>
                </a:cubicBezTo>
                <a:lnTo>
                  <a:pt x="3623310" y="4649816"/>
                </a:lnTo>
                <a:cubicBezTo>
                  <a:pt x="3631565" y="4645371"/>
                  <a:pt x="3634740" y="4633941"/>
                  <a:pt x="3630295" y="4625051"/>
                </a:cubicBezTo>
                <a:close/>
                <a:moveTo>
                  <a:pt x="3524250" y="4625051"/>
                </a:moveTo>
                <a:cubicBezTo>
                  <a:pt x="3510280" y="4602191"/>
                  <a:pt x="3474085" y="4625051"/>
                  <a:pt x="3489325" y="4647276"/>
                </a:cubicBezTo>
                <a:cubicBezTo>
                  <a:pt x="3503295" y="4670136"/>
                  <a:pt x="3538855" y="4647276"/>
                  <a:pt x="3524250" y="4625051"/>
                </a:cubicBezTo>
                <a:close/>
                <a:moveTo>
                  <a:pt x="3479165" y="4687281"/>
                </a:moveTo>
                <a:cubicBezTo>
                  <a:pt x="3458210" y="4698711"/>
                  <a:pt x="3475990" y="4731096"/>
                  <a:pt x="3496945" y="4719666"/>
                </a:cubicBezTo>
                <a:cubicBezTo>
                  <a:pt x="3517900" y="4708236"/>
                  <a:pt x="3499485" y="4675216"/>
                  <a:pt x="3479165" y="4687281"/>
                </a:cubicBezTo>
                <a:close/>
                <a:moveTo>
                  <a:pt x="3522980" y="4705061"/>
                </a:moveTo>
                <a:cubicBezTo>
                  <a:pt x="3503930" y="4713951"/>
                  <a:pt x="3517900" y="4742526"/>
                  <a:pt x="3536315" y="4733636"/>
                </a:cubicBezTo>
                <a:cubicBezTo>
                  <a:pt x="3555365" y="4725381"/>
                  <a:pt x="3541395" y="4695536"/>
                  <a:pt x="3522980" y="4705061"/>
                </a:cubicBezTo>
                <a:close/>
                <a:moveTo>
                  <a:pt x="3465195" y="4731731"/>
                </a:moveTo>
                <a:cubicBezTo>
                  <a:pt x="3446145" y="4740621"/>
                  <a:pt x="3460115" y="4769196"/>
                  <a:pt x="3478530" y="4760306"/>
                </a:cubicBezTo>
                <a:cubicBezTo>
                  <a:pt x="3497580" y="4752051"/>
                  <a:pt x="3483610" y="4722841"/>
                  <a:pt x="3465195" y="4731731"/>
                </a:cubicBezTo>
                <a:close/>
                <a:moveTo>
                  <a:pt x="2975610" y="4965411"/>
                </a:moveTo>
                <a:cubicBezTo>
                  <a:pt x="2965450" y="4958426"/>
                  <a:pt x="2949575" y="4963506"/>
                  <a:pt x="2945130" y="4975571"/>
                </a:cubicBezTo>
                <a:cubicBezTo>
                  <a:pt x="2942590" y="4977476"/>
                  <a:pt x="2941320" y="4979381"/>
                  <a:pt x="2940050" y="4981921"/>
                </a:cubicBezTo>
                <a:cubicBezTo>
                  <a:pt x="2931160" y="4951441"/>
                  <a:pt x="2883535" y="4969221"/>
                  <a:pt x="2896870" y="4997796"/>
                </a:cubicBezTo>
                <a:cubicBezTo>
                  <a:pt x="2894330" y="4997796"/>
                  <a:pt x="2891790" y="4998431"/>
                  <a:pt x="2889250" y="4999701"/>
                </a:cubicBezTo>
                <a:cubicBezTo>
                  <a:pt x="2900680" y="4980651"/>
                  <a:pt x="2880360" y="4955886"/>
                  <a:pt x="2859405" y="4962871"/>
                </a:cubicBezTo>
                <a:cubicBezTo>
                  <a:pt x="2863215" y="4938106"/>
                  <a:pt x="2830195" y="4920961"/>
                  <a:pt x="2812415" y="4939376"/>
                </a:cubicBezTo>
                <a:cubicBezTo>
                  <a:pt x="2790190" y="4959061"/>
                  <a:pt x="2813685" y="4997161"/>
                  <a:pt x="2840990" y="4986366"/>
                </a:cubicBezTo>
                <a:cubicBezTo>
                  <a:pt x="2839085" y="5007321"/>
                  <a:pt x="2865120" y="5021291"/>
                  <a:pt x="2881630" y="5008591"/>
                </a:cubicBezTo>
                <a:cubicBezTo>
                  <a:pt x="2880995" y="5009861"/>
                  <a:pt x="2880995" y="5011131"/>
                  <a:pt x="2880995" y="5013036"/>
                </a:cubicBezTo>
                <a:cubicBezTo>
                  <a:pt x="2861310" y="5037166"/>
                  <a:pt x="2904490" y="5063201"/>
                  <a:pt x="2916555" y="5033991"/>
                </a:cubicBezTo>
                <a:cubicBezTo>
                  <a:pt x="2933065" y="5039071"/>
                  <a:pt x="2947035" y="5018116"/>
                  <a:pt x="2935605" y="5004781"/>
                </a:cubicBezTo>
                <a:cubicBezTo>
                  <a:pt x="2938145" y="5002241"/>
                  <a:pt x="2940050" y="4999066"/>
                  <a:pt x="2940685" y="4995256"/>
                </a:cubicBezTo>
                <a:cubicBezTo>
                  <a:pt x="2944495" y="5002876"/>
                  <a:pt x="2952750" y="5006051"/>
                  <a:pt x="2960370" y="5003511"/>
                </a:cubicBezTo>
                <a:cubicBezTo>
                  <a:pt x="2966720" y="5004781"/>
                  <a:pt x="2973705" y="5003511"/>
                  <a:pt x="2978785" y="4999066"/>
                </a:cubicBezTo>
                <a:cubicBezTo>
                  <a:pt x="3011170" y="5008591"/>
                  <a:pt x="3007360" y="4950806"/>
                  <a:pt x="2975610" y="4965411"/>
                </a:cubicBezTo>
                <a:close/>
                <a:moveTo>
                  <a:pt x="1673225" y="5839806"/>
                </a:moveTo>
                <a:cubicBezTo>
                  <a:pt x="1637665" y="5761066"/>
                  <a:pt x="1554480" y="5872191"/>
                  <a:pt x="1640205" y="5884256"/>
                </a:cubicBezTo>
                <a:cubicBezTo>
                  <a:pt x="1644015" y="5909656"/>
                  <a:pt x="1673225" y="5923626"/>
                  <a:pt x="1695450" y="5911561"/>
                </a:cubicBezTo>
                <a:cubicBezTo>
                  <a:pt x="1732280" y="5893781"/>
                  <a:pt x="1713230" y="5834091"/>
                  <a:pt x="1673225" y="5839806"/>
                </a:cubicBezTo>
                <a:close/>
                <a:moveTo>
                  <a:pt x="1623060" y="5793451"/>
                </a:moveTo>
                <a:cubicBezTo>
                  <a:pt x="1618615" y="5750906"/>
                  <a:pt x="1551940" y="5757891"/>
                  <a:pt x="1557020" y="5801071"/>
                </a:cubicBezTo>
                <a:cubicBezTo>
                  <a:pt x="1561465" y="5843616"/>
                  <a:pt x="1628775" y="5835996"/>
                  <a:pt x="1623060" y="5793451"/>
                </a:cubicBezTo>
                <a:close/>
                <a:moveTo>
                  <a:pt x="1777365" y="5769956"/>
                </a:moveTo>
                <a:cubicBezTo>
                  <a:pt x="1767205" y="5764241"/>
                  <a:pt x="1753870" y="5764241"/>
                  <a:pt x="1743075" y="5769956"/>
                </a:cubicBezTo>
                <a:cubicBezTo>
                  <a:pt x="1741170" y="5749636"/>
                  <a:pt x="1720850" y="5735666"/>
                  <a:pt x="1701165" y="5741381"/>
                </a:cubicBezTo>
                <a:cubicBezTo>
                  <a:pt x="1655445" y="5754081"/>
                  <a:pt x="1682750" y="5823931"/>
                  <a:pt x="1724660" y="5802976"/>
                </a:cubicBezTo>
                <a:cubicBezTo>
                  <a:pt x="1725295" y="5826471"/>
                  <a:pt x="1751330" y="5842981"/>
                  <a:pt x="1772920" y="5834091"/>
                </a:cubicBezTo>
                <a:cubicBezTo>
                  <a:pt x="1846580" y="5873461"/>
                  <a:pt x="1854835" y="5740746"/>
                  <a:pt x="1777365" y="5769956"/>
                </a:cubicBezTo>
                <a:close/>
                <a:moveTo>
                  <a:pt x="1409700" y="5910926"/>
                </a:moveTo>
                <a:cubicBezTo>
                  <a:pt x="1360170" y="5910291"/>
                  <a:pt x="1360805" y="5988396"/>
                  <a:pt x="1410335" y="5987126"/>
                </a:cubicBezTo>
                <a:cubicBezTo>
                  <a:pt x="1459865" y="5987761"/>
                  <a:pt x="1459230" y="5910291"/>
                  <a:pt x="1409700" y="5910926"/>
                </a:cubicBezTo>
                <a:close/>
                <a:moveTo>
                  <a:pt x="2557780" y="5206711"/>
                </a:moveTo>
                <a:cubicBezTo>
                  <a:pt x="2555240" y="5204806"/>
                  <a:pt x="2552065" y="5204171"/>
                  <a:pt x="2548255" y="5203536"/>
                </a:cubicBezTo>
                <a:cubicBezTo>
                  <a:pt x="2550160" y="5192741"/>
                  <a:pt x="2540635" y="5181311"/>
                  <a:pt x="2529205" y="5182581"/>
                </a:cubicBezTo>
                <a:cubicBezTo>
                  <a:pt x="2522855" y="5178771"/>
                  <a:pt x="2515870" y="5177501"/>
                  <a:pt x="2509520" y="5178136"/>
                </a:cubicBezTo>
                <a:cubicBezTo>
                  <a:pt x="2506345" y="5151466"/>
                  <a:pt x="2468880" y="5140671"/>
                  <a:pt x="2451735" y="5161626"/>
                </a:cubicBezTo>
                <a:cubicBezTo>
                  <a:pt x="2424430" y="5091141"/>
                  <a:pt x="2337435" y="5178771"/>
                  <a:pt x="2408555" y="5205441"/>
                </a:cubicBezTo>
                <a:cubicBezTo>
                  <a:pt x="2413000" y="5224491"/>
                  <a:pt x="2442210" y="5217506"/>
                  <a:pt x="2439670" y="5199091"/>
                </a:cubicBezTo>
                <a:cubicBezTo>
                  <a:pt x="2441575" y="5197186"/>
                  <a:pt x="2443480" y="5195281"/>
                  <a:pt x="2445385" y="5193376"/>
                </a:cubicBezTo>
                <a:cubicBezTo>
                  <a:pt x="2447290" y="5199726"/>
                  <a:pt x="2451735" y="5206711"/>
                  <a:pt x="2457450" y="5210521"/>
                </a:cubicBezTo>
                <a:cubicBezTo>
                  <a:pt x="2457450" y="5210521"/>
                  <a:pt x="2456815" y="5210521"/>
                  <a:pt x="2456815" y="5210521"/>
                </a:cubicBezTo>
                <a:cubicBezTo>
                  <a:pt x="2440940" y="5216236"/>
                  <a:pt x="2442210" y="5241001"/>
                  <a:pt x="2458085" y="5245446"/>
                </a:cubicBezTo>
                <a:cubicBezTo>
                  <a:pt x="2452370" y="5251796"/>
                  <a:pt x="2451100" y="5261956"/>
                  <a:pt x="2456180" y="5269576"/>
                </a:cubicBezTo>
                <a:cubicBezTo>
                  <a:pt x="2456180" y="5269576"/>
                  <a:pt x="2456180" y="5269576"/>
                  <a:pt x="2456180" y="5269576"/>
                </a:cubicBezTo>
                <a:cubicBezTo>
                  <a:pt x="2448560" y="5260051"/>
                  <a:pt x="2435860" y="5257511"/>
                  <a:pt x="2425065" y="5260051"/>
                </a:cubicBezTo>
                <a:cubicBezTo>
                  <a:pt x="2422525" y="5255606"/>
                  <a:pt x="2418715" y="5250526"/>
                  <a:pt x="2414270" y="5247986"/>
                </a:cubicBezTo>
                <a:cubicBezTo>
                  <a:pt x="2409825" y="5232111"/>
                  <a:pt x="2385695" y="5230841"/>
                  <a:pt x="2379980" y="5246716"/>
                </a:cubicBezTo>
                <a:cubicBezTo>
                  <a:pt x="2374900" y="5249256"/>
                  <a:pt x="2370455" y="5253066"/>
                  <a:pt x="2367915" y="5258146"/>
                </a:cubicBezTo>
                <a:cubicBezTo>
                  <a:pt x="2359660" y="5240366"/>
                  <a:pt x="2336800" y="5233381"/>
                  <a:pt x="2320290" y="5242271"/>
                </a:cubicBezTo>
                <a:cubicBezTo>
                  <a:pt x="2310765" y="5203536"/>
                  <a:pt x="2264410" y="5251161"/>
                  <a:pt x="2303780" y="5259416"/>
                </a:cubicBezTo>
                <a:cubicBezTo>
                  <a:pt x="2296795" y="5274656"/>
                  <a:pt x="2301240" y="5294976"/>
                  <a:pt x="2317115" y="5303866"/>
                </a:cubicBezTo>
                <a:cubicBezTo>
                  <a:pt x="2306320" y="5309581"/>
                  <a:pt x="2302510" y="5324186"/>
                  <a:pt x="2309495" y="5333711"/>
                </a:cubicBezTo>
                <a:cubicBezTo>
                  <a:pt x="2298065" y="5334981"/>
                  <a:pt x="2286000" y="5343871"/>
                  <a:pt x="2282190" y="5355301"/>
                </a:cubicBezTo>
                <a:cubicBezTo>
                  <a:pt x="2279650" y="5351491"/>
                  <a:pt x="2275840" y="5347681"/>
                  <a:pt x="2271395" y="5345141"/>
                </a:cubicBezTo>
                <a:cubicBezTo>
                  <a:pt x="2266315" y="5322916"/>
                  <a:pt x="2232660" y="5326091"/>
                  <a:pt x="2230755" y="5348316"/>
                </a:cubicBezTo>
                <a:cubicBezTo>
                  <a:pt x="2220595" y="5356571"/>
                  <a:pt x="2216150" y="5369906"/>
                  <a:pt x="2218690" y="5381971"/>
                </a:cubicBezTo>
                <a:cubicBezTo>
                  <a:pt x="2216785" y="5383876"/>
                  <a:pt x="2214880" y="5386416"/>
                  <a:pt x="2213610" y="5388956"/>
                </a:cubicBezTo>
                <a:cubicBezTo>
                  <a:pt x="2198370" y="5334346"/>
                  <a:pt x="2125345" y="5359111"/>
                  <a:pt x="2140585" y="5410546"/>
                </a:cubicBezTo>
                <a:cubicBezTo>
                  <a:pt x="2124710" y="5418166"/>
                  <a:pt x="2124075" y="5442296"/>
                  <a:pt x="2139315" y="5451186"/>
                </a:cubicBezTo>
                <a:cubicBezTo>
                  <a:pt x="2137410" y="5451821"/>
                  <a:pt x="2135505" y="5451821"/>
                  <a:pt x="2134235" y="5453091"/>
                </a:cubicBezTo>
                <a:cubicBezTo>
                  <a:pt x="2122805" y="5458171"/>
                  <a:pt x="2116455" y="5470236"/>
                  <a:pt x="2118995" y="5482301"/>
                </a:cubicBezTo>
                <a:cubicBezTo>
                  <a:pt x="2110740" y="5474046"/>
                  <a:pt x="2098675" y="5469601"/>
                  <a:pt x="2087880" y="5470871"/>
                </a:cubicBezTo>
                <a:cubicBezTo>
                  <a:pt x="2098040" y="5453726"/>
                  <a:pt x="2079625" y="5430866"/>
                  <a:pt x="2060575" y="5437851"/>
                </a:cubicBezTo>
                <a:cubicBezTo>
                  <a:pt x="2037080" y="5444201"/>
                  <a:pt x="2040255" y="5480396"/>
                  <a:pt x="2063750" y="5482936"/>
                </a:cubicBezTo>
                <a:cubicBezTo>
                  <a:pt x="2062480" y="5484206"/>
                  <a:pt x="2061210" y="5486111"/>
                  <a:pt x="2059940" y="5487381"/>
                </a:cubicBezTo>
                <a:cubicBezTo>
                  <a:pt x="2022475" y="5477221"/>
                  <a:pt x="2015490" y="5540086"/>
                  <a:pt x="2054225" y="5537546"/>
                </a:cubicBezTo>
                <a:cubicBezTo>
                  <a:pt x="2054225" y="5539451"/>
                  <a:pt x="2054225" y="5540721"/>
                  <a:pt x="2054225" y="5542626"/>
                </a:cubicBezTo>
                <a:cubicBezTo>
                  <a:pt x="2043430" y="5550881"/>
                  <a:pt x="2039620" y="5565486"/>
                  <a:pt x="2042795" y="5578186"/>
                </a:cubicBezTo>
                <a:cubicBezTo>
                  <a:pt x="2035810" y="5577551"/>
                  <a:pt x="2028190" y="5578821"/>
                  <a:pt x="2021840" y="5583266"/>
                </a:cubicBezTo>
                <a:cubicBezTo>
                  <a:pt x="2019300" y="5581361"/>
                  <a:pt x="2016125" y="5580091"/>
                  <a:pt x="2013585" y="5579456"/>
                </a:cubicBezTo>
                <a:cubicBezTo>
                  <a:pt x="2011680" y="5564851"/>
                  <a:pt x="1997710" y="5554056"/>
                  <a:pt x="1983740" y="5555326"/>
                </a:cubicBezTo>
                <a:cubicBezTo>
                  <a:pt x="1994535" y="5536276"/>
                  <a:pt x="1974850" y="5511511"/>
                  <a:pt x="1953895" y="5518496"/>
                </a:cubicBezTo>
                <a:cubicBezTo>
                  <a:pt x="1925320" y="5526116"/>
                  <a:pt x="1932940" y="5570566"/>
                  <a:pt x="1961515" y="5568661"/>
                </a:cubicBezTo>
                <a:cubicBezTo>
                  <a:pt x="1955800" y="5577551"/>
                  <a:pt x="1955800" y="5590886"/>
                  <a:pt x="1962785" y="5599776"/>
                </a:cubicBezTo>
                <a:cubicBezTo>
                  <a:pt x="1946910" y="5606761"/>
                  <a:pt x="1940560" y="5626446"/>
                  <a:pt x="1948815" y="5641686"/>
                </a:cubicBezTo>
                <a:cubicBezTo>
                  <a:pt x="1948180" y="5643591"/>
                  <a:pt x="1947545" y="5644861"/>
                  <a:pt x="1946910" y="5646766"/>
                </a:cubicBezTo>
                <a:cubicBezTo>
                  <a:pt x="1927225" y="5639146"/>
                  <a:pt x="1903095" y="5656291"/>
                  <a:pt x="1903730" y="5677246"/>
                </a:cubicBezTo>
                <a:cubicBezTo>
                  <a:pt x="1903095" y="5677246"/>
                  <a:pt x="1901825" y="5677246"/>
                  <a:pt x="1901190" y="5677246"/>
                </a:cubicBezTo>
                <a:cubicBezTo>
                  <a:pt x="1903730" y="5665181"/>
                  <a:pt x="1896745" y="5651211"/>
                  <a:pt x="1885950" y="5645496"/>
                </a:cubicBezTo>
                <a:cubicBezTo>
                  <a:pt x="1925955" y="5645496"/>
                  <a:pt x="1919605" y="5581361"/>
                  <a:pt x="1880235" y="5589616"/>
                </a:cubicBezTo>
                <a:cubicBezTo>
                  <a:pt x="1905000" y="5576281"/>
                  <a:pt x="1889760" y="5535006"/>
                  <a:pt x="1861820" y="5542626"/>
                </a:cubicBezTo>
                <a:cubicBezTo>
                  <a:pt x="1830070" y="5548976"/>
                  <a:pt x="1840230" y="5599141"/>
                  <a:pt x="1871980" y="5593426"/>
                </a:cubicBezTo>
                <a:cubicBezTo>
                  <a:pt x="1853565" y="5602951"/>
                  <a:pt x="1853565" y="5632161"/>
                  <a:pt x="1871980" y="5641686"/>
                </a:cubicBezTo>
                <a:cubicBezTo>
                  <a:pt x="1834515" y="5640416"/>
                  <a:pt x="1830070" y="5697566"/>
                  <a:pt x="1866900" y="5702646"/>
                </a:cubicBezTo>
                <a:cubicBezTo>
                  <a:pt x="1861820" y="5703916"/>
                  <a:pt x="1856105" y="5707091"/>
                  <a:pt x="1852295" y="5710901"/>
                </a:cubicBezTo>
                <a:cubicBezTo>
                  <a:pt x="1783080" y="5662006"/>
                  <a:pt x="1774190" y="5798531"/>
                  <a:pt x="1849120" y="5759161"/>
                </a:cubicBezTo>
                <a:cubicBezTo>
                  <a:pt x="1864360" y="5778846"/>
                  <a:pt x="1898015" y="5775036"/>
                  <a:pt x="1908175" y="5752811"/>
                </a:cubicBezTo>
                <a:cubicBezTo>
                  <a:pt x="1928495" y="5752176"/>
                  <a:pt x="1945640" y="5731221"/>
                  <a:pt x="1942465" y="5710901"/>
                </a:cubicBezTo>
                <a:cubicBezTo>
                  <a:pt x="1953260" y="5709631"/>
                  <a:pt x="1964055" y="5701376"/>
                  <a:pt x="1967865" y="5691216"/>
                </a:cubicBezTo>
                <a:cubicBezTo>
                  <a:pt x="1992630" y="5702646"/>
                  <a:pt x="2023110" y="5677246"/>
                  <a:pt x="2016125" y="5651211"/>
                </a:cubicBezTo>
                <a:cubicBezTo>
                  <a:pt x="2021205" y="5649306"/>
                  <a:pt x="2025650" y="5646766"/>
                  <a:pt x="2029460" y="5642956"/>
                </a:cubicBezTo>
                <a:cubicBezTo>
                  <a:pt x="2052320" y="5652481"/>
                  <a:pt x="2078990" y="5629621"/>
                  <a:pt x="2073275" y="5606126"/>
                </a:cubicBezTo>
                <a:cubicBezTo>
                  <a:pt x="2099310" y="5611841"/>
                  <a:pt x="2122805" y="5581996"/>
                  <a:pt x="2112010" y="5557866"/>
                </a:cubicBezTo>
                <a:cubicBezTo>
                  <a:pt x="2129155" y="5580091"/>
                  <a:pt x="2166620" y="5569296"/>
                  <a:pt x="2170430" y="5541991"/>
                </a:cubicBezTo>
                <a:cubicBezTo>
                  <a:pt x="2177415" y="5542626"/>
                  <a:pt x="2185035" y="5540721"/>
                  <a:pt x="2191385" y="5536911"/>
                </a:cubicBezTo>
                <a:lnTo>
                  <a:pt x="2191385" y="5536911"/>
                </a:lnTo>
                <a:cubicBezTo>
                  <a:pt x="2201545" y="5529926"/>
                  <a:pt x="2205990" y="5517226"/>
                  <a:pt x="2204085" y="5505796"/>
                </a:cubicBezTo>
                <a:cubicBezTo>
                  <a:pt x="2207260" y="5499446"/>
                  <a:pt x="2207895" y="5491191"/>
                  <a:pt x="2205355" y="5484206"/>
                </a:cubicBezTo>
                <a:cubicBezTo>
                  <a:pt x="2205990" y="5482301"/>
                  <a:pt x="2205990" y="5480396"/>
                  <a:pt x="2205990" y="5478491"/>
                </a:cubicBezTo>
                <a:cubicBezTo>
                  <a:pt x="2220595" y="5493731"/>
                  <a:pt x="2246630" y="5491191"/>
                  <a:pt x="2257425" y="5472776"/>
                </a:cubicBezTo>
                <a:cubicBezTo>
                  <a:pt x="2301875" y="5485476"/>
                  <a:pt x="2313305" y="5405466"/>
                  <a:pt x="2265045" y="5411181"/>
                </a:cubicBezTo>
                <a:cubicBezTo>
                  <a:pt x="2275840" y="5408641"/>
                  <a:pt x="2286635" y="5399116"/>
                  <a:pt x="2289810" y="5387686"/>
                </a:cubicBezTo>
                <a:cubicBezTo>
                  <a:pt x="2291080" y="5389591"/>
                  <a:pt x="2292985" y="5391496"/>
                  <a:pt x="2295525" y="5393401"/>
                </a:cubicBezTo>
                <a:cubicBezTo>
                  <a:pt x="2296160" y="5418801"/>
                  <a:pt x="2332355" y="5426421"/>
                  <a:pt x="2343785" y="5404196"/>
                </a:cubicBezTo>
                <a:cubicBezTo>
                  <a:pt x="2404110" y="5428326"/>
                  <a:pt x="2392680" y="5314026"/>
                  <a:pt x="2338070" y="5342601"/>
                </a:cubicBezTo>
                <a:cubicBezTo>
                  <a:pt x="2338070" y="5342601"/>
                  <a:pt x="2338070" y="5342601"/>
                  <a:pt x="2337435" y="5342601"/>
                </a:cubicBezTo>
                <a:cubicBezTo>
                  <a:pt x="2350135" y="5337521"/>
                  <a:pt x="2354580" y="5320376"/>
                  <a:pt x="2345055" y="5310216"/>
                </a:cubicBezTo>
                <a:cubicBezTo>
                  <a:pt x="2354580" y="5308311"/>
                  <a:pt x="2364740" y="5301961"/>
                  <a:pt x="2369185" y="5293071"/>
                </a:cubicBezTo>
                <a:cubicBezTo>
                  <a:pt x="2372360" y="5299421"/>
                  <a:pt x="2378710" y="5305136"/>
                  <a:pt x="2385695" y="5307676"/>
                </a:cubicBezTo>
                <a:cubicBezTo>
                  <a:pt x="2374900" y="5314661"/>
                  <a:pt x="2371090" y="5329901"/>
                  <a:pt x="2379345" y="5340696"/>
                </a:cubicBezTo>
                <a:cubicBezTo>
                  <a:pt x="2375535" y="5376256"/>
                  <a:pt x="2432685" y="5377526"/>
                  <a:pt x="2430780" y="5341966"/>
                </a:cubicBezTo>
                <a:cubicBezTo>
                  <a:pt x="2451735" y="5351491"/>
                  <a:pt x="2475865" y="5329266"/>
                  <a:pt x="2468245" y="5308311"/>
                </a:cubicBezTo>
                <a:cubicBezTo>
                  <a:pt x="2496820" y="5336886"/>
                  <a:pt x="2533650" y="5283546"/>
                  <a:pt x="2496820" y="5267036"/>
                </a:cubicBezTo>
                <a:cubicBezTo>
                  <a:pt x="2497455" y="5265766"/>
                  <a:pt x="2497455" y="5263861"/>
                  <a:pt x="2497455" y="5262591"/>
                </a:cubicBezTo>
                <a:cubicBezTo>
                  <a:pt x="2506980" y="5280371"/>
                  <a:pt x="2534285" y="5281641"/>
                  <a:pt x="2545080" y="5263861"/>
                </a:cubicBezTo>
                <a:cubicBezTo>
                  <a:pt x="2553335" y="5267036"/>
                  <a:pt x="2562860" y="5265766"/>
                  <a:pt x="2569210" y="5259416"/>
                </a:cubicBezTo>
                <a:cubicBezTo>
                  <a:pt x="2600960" y="5252431"/>
                  <a:pt x="2591435" y="5199091"/>
                  <a:pt x="2557780" y="5206711"/>
                </a:cubicBezTo>
                <a:close/>
                <a:moveTo>
                  <a:pt x="2141855" y="5503256"/>
                </a:moveTo>
                <a:cubicBezTo>
                  <a:pt x="2137410" y="5502621"/>
                  <a:pt x="2133600" y="5502621"/>
                  <a:pt x="2129155" y="5503256"/>
                </a:cubicBezTo>
                <a:cubicBezTo>
                  <a:pt x="2128520" y="5500716"/>
                  <a:pt x="2128520" y="5498811"/>
                  <a:pt x="2127250" y="5496271"/>
                </a:cubicBezTo>
                <a:cubicBezTo>
                  <a:pt x="2131695" y="5499446"/>
                  <a:pt x="2136775" y="5501986"/>
                  <a:pt x="2141855" y="5501986"/>
                </a:cubicBezTo>
                <a:cubicBezTo>
                  <a:pt x="2141855" y="5502621"/>
                  <a:pt x="2141855" y="5502621"/>
                  <a:pt x="2141855" y="5503256"/>
                </a:cubicBezTo>
                <a:close/>
                <a:moveTo>
                  <a:pt x="2207895" y="5426421"/>
                </a:moveTo>
                <a:cubicBezTo>
                  <a:pt x="2199640" y="5432136"/>
                  <a:pt x="2194560" y="5441661"/>
                  <a:pt x="2193925" y="5451186"/>
                </a:cubicBezTo>
                <a:cubicBezTo>
                  <a:pt x="2188210" y="5444836"/>
                  <a:pt x="2179955" y="5441026"/>
                  <a:pt x="2172335" y="5439756"/>
                </a:cubicBezTo>
                <a:cubicBezTo>
                  <a:pt x="2172970" y="5438486"/>
                  <a:pt x="2173605" y="5436581"/>
                  <a:pt x="2173605" y="5435311"/>
                </a:cubicBezTo>
                <a:cubicBezTo>
                  <a:pt x="2190115" y="5437216"/>
                  <a:pt x="2207895" y="5425151"/>
                  <a:pt x="2212340" y="5408641"/>
                </a:cubicBezTo>
                <a:cubicBezTo>
                  <a:pt x="2213610" y="5411181"/>
                  <a:pt x="2214880" y="5413086"/>
                  <a:pt x="2216785" y="5414991"/>
                </a:cubicBezTo>
                <a:cubicBezTo>
                  <a:pt x="2212340" y="5418166"/>
                  <a:pt x="2209800" y="5421976"/>
                  <a:pt x="2207895" y="5426421"/>
                </a:cubicBezTo>
                <a:close/>
                <a:moveTo>
                  <a:pt x="2255520" y="5411816"/>
                </a:moveTo>
                <a:cubicBezTo>
                  <a:pt x="2254250" y="5411816"/>
                  <a:pt x="2253615" y="5412451"/>
                  <a:pt x="2252980" y="5412451"/>
                </a:cubicBezTo>
                <a:cubicBezTo>
                  <a:pt x="2253615" y="5411816"/>
                  <a:pt x="2253615" y="5411181"/>
                  <a:pt x="2254250" y="5410546"/>
                </a:cubicBezTo>
                <a:cubicBezTo>
                  <a:pt x="2256155" y="5410546"/>
                  <a:pt x="2258695" y="5410546"/>
                  <a:pt x="2260600" y="5409911"/>
                </a:cubicBezTo>
                <a:cubicBezTo>
                  <a:pt x="2258060" y="5410546"/>
                  <a:pt x="2256790" y="5411181"/>
                  <a:pt x="2255520" y="5411816"/>
                </a:cubicBezTo>
                <a:close/>
                <a:moveTo>
                  <a:pt x="2491105" y="5246716"/>
                </a:moveTo>
                <a:cubicBezTo>
                  <a:pt x="2487930" y="5242271"/>
                  <a:pt x="2483485" y="5239731"/>
                  <a:pt x="2478405" y="5238461"/>
                </a:cubicBezTo>
                <a:cubicBezTo>
                  <a:pt x="2482850" y="5232111"/>
                  <a:pt x="2483485" y="5222586"/>
                  <a:pt x="2478405" y="5216871"/>
                </a:cubicBezTo>
                <a:cubicBezTo>
                  <a:pt x="2480310" y="5216871"/>
                  <a:pt x="2482215" y="5216871"/>
                  <a:pt x="2484120" y="5216236"/>
                </a:cubicBezTo>
                <a:cubicBezTo>
                  <a:pt x="2485390" y="5222586"/>
                  <a:pt x="2489200" y="5228936"/>
                  <a:pt x="2494915" y="5232746"/>
                </a:cubicBezTo>
                <a:cubicBezTo>
                  <a:pt x="2492375" y="5236556"/>
                  <a:pt x="2491105" y="5241636"/>
                  <a:pt x="2491105" y="5246716"/>
                </a:cubicBezTo>
                <a:close/>
                <a:moveTo>
                  <a:pt x="1539240" y="5892511"/>
                </a:moveTo>
                <a:cubicBezTo>
                  <a:pt x="1556385" y="5869016"/>
                  <a:pt x="1536065" y="5833456"/>
                  <a:pt x="1506855" y="5837266"/>
                </a:cubicBezTo>
                <a:cubicBezTo>
                  <a:pt x="1457960" y="5841076"/>
                  <a:pt x="1468755" y="5917911"/>
                  <a:pt x="1517015" y="5907751"/>
                </a:cubicBezTo>
                <a:cubicBezTo>
                  <a:pt x="1495425" y="5935056"/>
                  <a:pt x="1525270" y="5977601"/>
                  <a:pt x="1558290" y="5966806"/>
                </a:cubicBezTo>
                <a:cubicBezTo>
                  <a:pt x="1605280" y="5954106"/>
                  <a:pt x="1586230" y="5880446"/>
                  <a:pt x="1539240" y="5892511"/>
                </a:cubicBezTo>
                <a:close/>
                <a:moveTo>
                  <a:pt x="1501140" y="5802341"/>
                </a:moveTo>
                <a:cubicBezTo>
                  <a:pt x="1504315" y="5759161"/>
                  <a:pt x="1437005" y="5755351"/>
                  <a:pt x="1435100" y="5798531"/>
                </a:cubicBezTo>
                <a:cubicBezTo>
                  <a:pt x="1431290" y="5841076"/>
                  <a:pt x="1499235" y="5844886"/>
                  <a:pt x="1501140" y="5802341"/>
                </a:cubicBezTo>
                <a:close/>
                <a:moveTo>
                  <a:pt x="3637915" y="4651086"/>
                </a:moveTo>
                <a:cubicBezTo>
                  <a:pt x="3618865" y="4659341"/>
                  <a:pt x="3632835" y="4689186"/>
                  <a:pt x="3651250" y="4679661"/>
                </a:cubicBezTo>
                <a:cubicBezTo>
                  <a:pt x="3670300" y="4671406"/>
                  <a:pt x="3656330" y="4642196"/>
                  <a:pt x="3637915" y="4651086"/>
                </a:cubicBezTo>
                <a:close/>
                <a:moveTo>
                  <a:pt x="3187065" y="4865716"/>
                </a:moveTo>
                <a:cubicBezTo>
                  <a:pt x="3186430" y="4865081"/>
                  <a:pt x="3185795" y="4864446"/>
                  <a:pt x="3185160" y="4863811"/>
                </a:cubicBezTo>
                <a:cubicBezTo>
                  <a:pt x="3197860" y="4845396"/>
                  <a:pt x="3173095" y="4821901"/>
                  <a:pt x="3155315" y="4835871"/>
                </a:cubicBezTo>
                <a:cubicBezTo>
                  <a:pt x="3160395" y="4816186"/>
                  <a:pt x="3134995" y="4799041"/>
                  <a:pt x="3119120" y="4812376"/>
                </a:cubicBezTo>
                <a:cubicBezTo>
                  <a:pt x="3094355" y="4830156"/>
                  <a:pt x="3123565" y="4868891"/>
                  <a:pt x="3147060" y="4849206"/>
                </a:cubicBezTo>
                <a:cubicBezTo>
                  <a:pt x="3145790" y="4856826"/>
                  <a:pt x="3148965" y="4865716"/>
                  <a:pt x="3155950" y="4870161"/>
                </a:cubicBezTo>
                <a:cubicBezTo>
                  <a:pt x="3149600" y="4882861"/>
                  <a:pt x="3162935" y="4899371"/>
                  <a:pt x="3176905" y="4895561"/>
                </a:cubicBezTo>
                <a:cubicBezTo>
                  <a:pt x="3198495" y="4906991"/>
                  <a:pt x="3211195" y="4869526"/>
                  <a:pt x="3187065" y="4865716"/>
                </a:cubicBezTo>
                <a:close/>
                <a:moveTo>
                  <a:pt x="3246120" y="4826981"/>
                </a:moveTo>
                <a:cubicBezTo>
                  <a:pt x="3271520" y="4812376"/>
                  <a:pt x="3244850" y="4774276"/>
                  <a:pt x="3222625" y="4793326"/>
                </a:cubicBezTo>
                <a:cubicBezTo>
                  <a:pt x="3240405" y="4773641"/>
                  <a:pt x="3212465" y="4743161"/>
                  <a:pt x="3190875" y="4759671"/>
                </a:cubicBezTo>
                <a:cubicBezTo>
                  <a:pt x="3165475" y="4778086"/>
                  <a:pt x="3196590" y="4816821"/>
                  <a:pt x="3219450" y="4795866"/>
                </a:cubicBezTo>
                <a:cubicBezTo>
                  <a:pt x="3211195" y="4805391"/>
                  <a:pt x="3213735" y="4821266"/>
                  <a:pt x="3225165" y="4826981"/>
                </a:cubicBezTo>
                <a:cubicBezTo>
                  <a:pt x="3214370" y="4833966"/>
                  <a:pt x="3215005" y="4851746"/>
                  <a:pt x="3227070" y="4858096"/>
                </a:cubicBezTo>
                <a:cubicBezTo>
                  <a:pt x="3234055" y="4882861"/>
                  <a:pt x="3270885" y="4863176"/>
                  <a:pt x="3254375" y="4843491"/>
                </a:cubicBezTo>
                <a:cubicBezTo>
                  <a:pt x="3255010" y="4837776"/>
                  <a:pt x="3251200" y="4830791"/>
                  <a:pt x="3246120" y="4826981"/>
                </a:cubicBezTo>
                <a:close/>
                <a:moveTo>
                  <a:pt x="3120390" y="4893656"/>
                </a:moveTo>
                <a:cubicBezTo>
                  <a:pt x="3119120" y="4876511"/>
                  <a:pt x="3095625" y="4868256"/>
                  <a:pt x="3084195" y="4882226"/>
                </a:cubicBezTo>
                <a:cubicBezTo>
                  <a:pt x="3083560" y="4864446"/>
                  <a:pt x="3061335" y="4853651"/>
                  <a:pt x="3047365" y="4864446"/>
                </a:cubicBezTo>
                <a:cubicBezTo>
                  <a:pt x="3019425" y="4884766"/>
                  <a:pt x="3058160" y="4924771"/>
                  <a:pt x="3079115" y="4897466"/>
                </a:cubicBezTo>
                <a:cubicBezTo>
                  <a:pt x="3079750" y="4905086"/>
                  <a:pt x="3084830" y="4912071"/>
                  <a:pt x="3091815" y="4914611"/>
                </a:cubicBezTo>
                <a:cubicBezTo>
                  <a:pt x="3093720" y="4929851"/>
                  <a:pt x="3114675" y="4934931"/>
                  <a:pt x="3124200" y="4922866"/>
                </a:cubicBezTo>
                <a:cubicBezTo>
                  <a:pt x="3151505" y="4928581"/>
                  <a:pt x="3146425" y="4882861"/>
                  <a:pt x="3120390" y="4893656"/>
                </a:cubicBezTo>
                <a:close/>
                <a:moveTo>
                  <a:pt x="3063240" y="4920961"/>
                </a:moveTo>
                <a:cubicBezTo>
                  <a:pt x="3058795" y="4922866"/>
                  <a:pt x="3056255" y="4926676"/>
                  <a:pt x="3054985" y="4930486"/>
                </a:cubicBezTo>
                <a:cubicBezTo>
                  <a:pt x="3053715" y="4929851"/>
                  <a:pt x="3051810" y="4929216"/>
                  <a:pt x="3050540" y="4929216"/>
                </a:cubicBezTo>
                <a:cubicBezTo>
                  <a:pt x="3042285" y="4913976"/>
                  <a:pt x="3017520" y="4917151"/>
                  <a:pt x="3013075" y="4933661"/>
                </a:cubicBezTo>
                <a:cubicBezTo>
                  <a:pt x="3011170" y="4916516"/>
                  <a:pt x="2990215" y="4907626"/>
                  <a:pt x="2976245" y="4917786"/>
                </a:cubicBezTo>
                <a:cubicBezTo>
                  <a:pt x="2954655" y="4932391"/>
                  <a:pt x="2973070" y="4967316"/>
                  <a:pt x="2997200" y="4958426"/>
                </a:cubicBezTo>
                <a:cubicBezTo>
                  <a:pt x="2992120" y="4982556"/>
                  <a:pt x="3031490" y="4983826"/>
                  <a:pt x="3028315" y="4959696"/>
                </a:cubicBezTo>
                <a:cubicBezTo>
                  <a:pt x="3030220" y="4960331"/>
                  <a:pt x="3032760" y="4960331"/>
                  <a:pt x="3034665" y="4960331"/>
                </a:cubicBezTo>
                <a:cubicBezTo>
                  <a:pt x="3044825" y="4970491"/>
                  <a:pt x="3063240" y="4964141"/>
                  <a:pt x="3065145" y="4950171"/>
                </a:cubicBezTo>
                <a:cubicBezTo>
                  <a:pt x="3093085" y="4958426"/>
                  <a:pt x="3090545" y="4909531"/>
                  <a:pt x="3063240" y="4920961"/>
                </a:cubicBezTo>
                <a:close/>
                <a:moveTo>
                  <a:pt x="3010535" y="4946361"/>
                </a:moveTo>
                <a:cubicBezTo>
                  <a:pt x="3011170" y="4945091"/>
                  <a:pt x="3011170" y="4944456"/>
                  <a:pt x="3011805" y="4943186"/>
                </a:cubicBezTo>
                <a:cubicBezTo>
                  <a:pt x="3011805" y="4944456"/>
                  <a:pt x="3012440" y="4945091"/>
                  <a:pt x="3012440" y="4946361"/>
                </a:cubicBezTo>
                <a:cubicBezTo>
                  <a:pt x="3011805" y="4946361"/>
                  <a:pt x="3011170" y="4946361"/>
                  <a:pt x="3010535" y="4946361"/>
                </a:cubicBezTo>
                <a:close/>
                <a:moveTo>
                  <a:pt x="2543175" y="5173056"/>
                </a:moveTo>
                <a:cubicBezTo>
                  <a:pt x="2567940" y="5173056"/>
                  <a:pt x="2560320" y="5133686"/>
                  <a:pt x="2537460" y="5142576"/>
                </a:cubicBezTo>
                <a:cubicBezTo>
                  <a:pt x="2521585" y="5148291"/>
                  <a:pt x="2526030" y="5173691"/>
                  <a:pt x="2543175" y="5173056"/>
                </a:cubicBezTo>
                <a:close/>
                <a:moveTo>
                  <a:pt x="2868295" y="5034626"/>
                </a:moveTo>
                <a:cubicBezTo>
                  <a:pt x="2860675" y="5004781"/>
                  <a:pt x="2812415" y="5019386"/>
                  <a:pt x="2823845" y="5047961"/>
                </a:cubicBezTo>
                <a:cubicBezTo>
                  <a:pt x="2821305" y="5048596"/>
                  <a:pt x="2818765" y="5049231"/>
                  <a:pt x="2816860" y="5051136"/>
                </a:cubicBezTo>
                <a:cubicBezTo>
                  <a:pt x="2818765" y="5032721"/>
                  <a:pt x="2797810" y="5018116"/>
                  <a:pt x="2781300" y="5025736"/>
                </a:cubicBezTo>
                <a:cubicBezTo>
                  <a:pt x="2777490" y="5004781"/>
                  <a:pt x="2749550" y="4996526"/>
                  <a:pt x="2734945" y="5011131"/>
                </a:cubicBezTo>
                <a:cubicBezTo>
                  <a:pt x="2712085" y="5031451"/>
                  <a:pt x="2736850" y="5070186"/>
                  <a:pt x="2764790" y="5058121"/>
                </a:cubicBezTo>
                <a:cubicBezTo>
                  <a:pt x="2763520" y="5061931"/>
                  <a:pt x="2763520" y="5067646"/>
                  <a:pt x="2766060" y="5071456"/>
                </a:cubicBezTo>
                <a:cubicBezTo>
                  <a:pt x="2757170" y="5073996"/>
                  <a:pt x="2751455" y="5082886"/>
                  <a:pt x="2750820" y="5091776"/>
                </a:cubicBezTo>
                <a:cubicBezTo>
                  <a:pt x="2746375" y="5093681"/>
                  <a:pt x="2743200" y="5096856"/>
                  <a:pt x="2741295" y="5100666"/>
                </a:cubicBezTo>
                <a:cubicBezTo>
                  <a:pt x="2738755" y="5098761"/>
                  <a:pt x="2737485" y="5096856"/>
                  <a:pt x="2735580" y="5094316"/>
                </a:cubicBezTo>
                <a:cubicBezTo>
                  <a:pt x="2745740" y="5070821"/>
                  <a:pt x="2705100" y="5062566"/>
                  <a:pt x="2705100" y="5087966"/>
                </a:cubicBezTo>
                <a:cubicBezTo>
                  <a:pt x="2703830" y="5088601"/>
                  <a:pt x="2702560" y="5089236"/>
                  <a:pt x="2701290" y="5090506"/>
                </a:cubicBezTo>
                <a:cubicBezTo>
                  <a:pt x="2679065" y="5049231"/>
                  <a:pt x="2623185" y="5102571"/>
                  <a:pt x="2656205" y="5126066"/>
                </a:cubicBezTo>
                <a:cubicBezTo>
                  <a:pt x="2647315" y="5129241"/>
                  <a:pt x="2642870" y="5138766"/>
                  <a:pt x="2644775" y="5147021"/>
                </a:cubicBezTo>
                <a:cubicBezTo>
                  <a:pt x="2635885" y="5145116"/>
                  <a:pt x="2625090" y="5148926"/>
                  <a:pt x="2620010" y="5157181"/>
                </a:cubicBezTo>
                <a:cubicBezTo>
                  <a:pt x="2618105" y="5154641"/>
                  <a:pt x="2615565" y="5152736"/>
                  <a:pt x="2613025" y="5150831"/>
                </a:cubicBezTo>
                <a:cubicBezTo>
                  <a:pt x="2637790" y="5133686"/>
                  <a:pt x="2620645" y="5091776"/>
                  <a:pt x="2591435" y="5096221"/>
                </a:cubicBezTo>
                <a:cubicBezTo>
                  <a:pt x="2597785" y="5065741"/>
                  <a:pt x="2556510" y="5044151"/>
                  <a:pt x="2535555" y="5067646"/>
                </a:cubicBezTo>
                <a:cubicBezTo>
                  <a:pt x="2536825" y="5035261"/>
                  <a:pt x="2491740" y="5018751"/>
                  <a:pt x="2472055" y="5045421"/>
                </a:cubicBezTo>
                <a:cubicBezTo>
                  <a:pt x="2444115" y="5079711"/>
                  <a:pt x="2496185" y="5124796"/>
                  <a:pt x="2526030" y="5091776"/>
                </a:cubicBezTo>
                <a:cubicBezTo>
                  <a:pt x="2526030" y="5110826"/>
                  <a:pt x="2545715" y="5127336"/>
                  <a:pt x="2564130" y="5123526"/>
                </a:cubicBezTo>
                <a:cubicBezTo>
                  <a:pt x="2562860" y="5135591"/>
                  <a:pt x="2569210" y="5148291"/>
                  <a:pt x="2580640" y="5154006"/>
                </a:cubicBezTo>
                <a:cubicBezTo>
                  <a:pt x="2558415" y="5171786"/>
                  <a:pt x="2578100" y="5209886"/>
                  <a:pt x="2605405" y="5202901"/>
                </a:cubicBezTo>
                <a:cubicBezTo>
                  <a:pt x="2616835" y="5222586"/>
                  <a:pt x="2647950" y="5220681"/>
                  <a:pt x="2651125" y="5196551"/>
                </a:cubicBezTo>
                <a:cubicBezTo>
                  <a:pt x="2665095" y="5191471"/>
                  <a:pt x="2670810" y="5174326"/>
                  <a:pt x="2664460" y="5161626"/>
                </a:cubicBezTo>
                <a:cubicBezTo>
                  <a:pt x="2667000" y="5161626"/>
                  <a:pt x="2669540" y="5160991"/>
                  <a:pt x="2672080" y="5159721"/>
                </a:cubicBezTo>
                <a:cubicBezTo>
                  <a:pt x="2677160" y="5170516"/>
                  <a:pt x="2691765" y="5174326"/>
                  <a:pt x="2701290" y="5167976"/>
                </a:cubicBezTo>
                <a:cubicBezTo>
                  <a:pt x="2717165" y="5169246"/>
                  <a:pt x="2729865" y="5150831"/>
                  <a:pt x="2723515" y="5136226"/>
                </a:cubicBezTo>
                <a:cubicBezTo>
                  <a:pt x="2730500" y="5133051"/>
                  <a:pt x="2739390" y="5129876"/>
                  <a:pt x="2743835" y="5122891"/>
                </a:cubicBezTo>
                <a:cubicBezTo>
                  <a:pt x="2753360" y="5136226"/>
                  <a:pt x="2776220" y="5131781"/>
                  <a:pt x="2780030" y="5115906"/>
                </a:cubicBezTo>
                <a:cubicBezTo>
                  <a:pt x="2787650" y="5114001"/>
                  <a:pt x="2794635" y="5107651"/>
                  <a:pt x="2796540" y="5100031"/>
                </a:cubicBezTo>
                <a:cubicBezTo>
                  <a:pt x="2806065" y="5098761"/>
                  <a:pt x="2812415" y="5089236"/>
                  <a:pt x="2811145" y="5080346"/>
                </a:cubicBezTo>
                <a:cubicBezTo>
                  <a:pt x="2822575" y="5099396"/>
                  <a:pt x="2853055" y="5087331"/>
                  <a:pt x="2849245" y="5066376"/>
                </a:cubicBezTo>
                <a:cubicBezTo>
                  <a:pt x="2867660" y="5075901"/>
                  <a:pt x="2885440" y="5047326"/>
                  <a:pt x="2868295" y="5034626"/>
                </a:cubicBezTo>
                <a:close/>
                <a:moveTo>
                  <a:pt x="2677795" y="5133051"/>
                </a:moveTo>
                <a:cubicBezTo>
                  <a:pt x="2677795" y="5133051"/>
                  <a:pt x="2677160" y="5132416"/>
                  <a:pt x="2677160" y="5132416"/>
                </a:cubicBezTo>
                <a:cubicBezTo>
                  <a:pt x="2677795" y="5132416"/>
                  <a:pt x="2678430" y="5132416"/>
                  <a:pt x="2679700" y="5132416"/>
                </a:cubicBezTo>
                <a:cubicBezTo>
                  <a:pt x="2678430" y="5131781"/>
                  <a:pt x="2678430" y="5132416"/>
                  <a:pt x="2677795" y="5133051"/>
                </a:cubicBezTo>
                <a:close/>
                <a:moveTo>
                  <a:pt x="2806700" y="5070186"/>
                </a:moveTo>
                <a:cubicBezTo>
                  <a:pt x="2806700" y="5070186"/>
                  <a:pt x="2807335" y="5069551"/>
                  <a:pt x="2807335" y="5069551"/>
                </a:cubicBezTo>
                <a:cubicBezTo>
                  <a:pt x="2807335" y="5070186"/>
                  <a:pt x="2807335" y="5070821"/>
                  <a:pt x="2807335" y="5071456"/>
                </a:cubicBezTo>
                <a:cubicBezTo>
                  <a:pt x="2807335" y="5070821"/>
                  <a:pt x="2807335" y="5070186"/>
                  <a:pt x="2806700" y="5070186"/>
                </a:cubicBezTo>
                <a:close/>
                <a:moveTo>
                  <a:pt x="3295015" y="4712046"/>
                </a:moveTo>
                <a:cubicBezTo>
                  <a:pt x="3277235" y="4687281"/>
                  <a:pt x="3239135" y="4715856"/>
                  <a:pt x="3257550" y="4739351"/>
                </a:cubicBezTo>
                <a:cubicBezTo>
                  <a:pt x="3274695" y="4764116"/>
                  <a:pt x="3312795" y="4736176"/>
                  <a:pt x="3295015" y="4712046"/>
                </a:cubicBezTo>
                <a:close/>
                <a:moveTo>
                  <a:pt x="3361690" y="4691726"/>
                </a:moveTo>
                <a:cubicBezTo>
                  <a:pt x="3386455" y="4673946"/>
                  <a:pt x="3358515" y="4635846"/>
                  <a:pt x="3334385" y="4654261"/>
                </a:cubicBezTo>
                <a:cubicBezTo>
                  <a:pt x="3308985" y="4672041"/>
                  <a:pt x="3337560" y="4710141"/>
                  <a:pt x="3361690" y="4691726"/>
                </a:cubicBezTo>
                <a:close/>
                <a:moveTo>
                  <a:pt x="4043045" y="4467571"/>
                </a:moveTo>
                <a:cubicBezTo>
                  <a:pt x="4023995" y="4475826"/>
                  <a:pt x="4037330" y="4505036"/>
                  <a:pt x="4055745" y="4496781"/>
                </a:cubicBezTo>
                <a:cubicBezTo>
                  <a:pt x="4074795" y="4488526"/>
                  <a:pt x="4062095" y="4459316"/>
                  <a:pt x="4043045" y="4467571"/>
                </a:cubicBezTo>
                <a:close/>
                <a:moveTo>
                  <a:pt x="4048760" y="4288501"/>
                </a:moveTo>
                <a:cubicBezTo>
                  <a:pt x="4024630" y="4301201"/>
                  <a:pt x="4044950" y="4338031"/>
                  <a:pt x="4068445" y="4325331"/>
                </a:cubicBezTo>
                <a:cubicBezTo>
                  <a:pt x="4092575" y="4312631"/>
                  <a:pt x="4072890" y="4275166"/>
                  <a:pt x="4048760" y="4288501"/>
                </a:cubicBezTo>
                <a:close/>
                <a:moveTo>
                  <a:pt x="4051935" y="4383751"/>
                </a:moveTo>
                <a:cubicBezTo>
                  <a:pt x="4030345" y="4393911"/>
                  <a:pt x="4046855" y="4427566"/>
                  <a:pt x="4068445" y="4416771"/>
                </a:cubicBezTo>
                <a:cubicBezTo>
                  <a:pt x="4090035" y="4406611"/>
                  <a:pt x="4073525" y="4372956"/>
                  <a:pt x="4051935" y="4383751"/>
                </a:cubicBezTo>
                <a:close/>
                <a:moveTo>
                  <a:pt x="4101465" y="4442171"/>
                </a:moveTo>
                <a:cubicBezTo>
                  <a:pt x="4082415" y="4449791"/>
                  <a:pt x="4095115" y="4479636"/>
                  <a:pt x="4114165" y="4471381"/>
                </a:cubicBezTo>
                <a:cubicBezTo>
                  <a:pt x="4133215" y="4463761"/>
                  <a:pt x="4120515" y="4433916"/>
                  <a:pt x="4101465" y="4442171"/>
                </a:cubicBezTo>
                <a:close/>
                <a:moveTo>
                  <a:pt x="4107180" y="4169121"/>
                </a:moveTo>
                <a:cubicBezTo>
                  <a:pt x="4093210" y="4142451"/>
                  <a:pt x="4051300" y="4165311"/>
                  <a:pt x="4066540" y="4191981"/>
                </a:cubicBezTo>
                <a:cubicBezTo>
                  <a:pt x="4081145" y="4218651"/>
                  <a:pt x="4122420" y="4195156"/>
                  <a:pt x="4107180" y="4169121"/>
                </a:cubicBezTo>
                <a:close/>
                <a:moveTo>
                  <a:pt x="3984625" y="4492971"/>
                </a:moveTo>
                <a:cubicBezTo>
                  <a:pt x="3965575" y="4501226"/>
                  <a:pt x="3978910" y="4530436"/>
                  <a:pt x="3997325" y="4522181"/>
                </a:cubicBezTo>
                <a:cubicBezTo>
                  <a:pt x="4016375" y="4513926"/>
                  <a:pt x="4003675" y="4484716"/>
                  <a:pt x="3984625" y="4492971"/>
                </a:cubicBezTo>
                <a:close/>
                <a:moveTo>
                  <a:pt x="3987800" y="4416136"/>
                </a:moveTo>
                <a:cubicBezTo>
                  <a:pt x="3966210" y="4426296"/>
                  <a:pt x="3983355" y="4459951"/>
                  <a:pt x="4004310" y="4449156"/>
                </a:cubicBezTo>
                <a:cubicBezTo>
                  <a:pt x="4025265" y="4438361"/>
                  <a:pt x="4008755" y="4405341"/>
                  <a:pt x="3987800" y="4416136"/>
                </a:cubicBezTo>
                <a:close/>
                <a:moveTo>
                  <a:pt x="3997960" y="4204681"/>
                </a:moveTo>
                <a:cubicBezTo>
                  <a:pt x="3971290" y="4219921"/>
                  <a:pt x="3996055" y="4260561"/>
                  <a:pt x="4021455" y="4244686"/>
                </a:cubicBezTo>
                <a:cubicBezTo>
                  <a:pt x="4048125" y="4230081"/>
                  <a:pt x="4023995" y="4188806"/>
                  <a:pt x="3997960" y="4204681"/>
                </a:cubicBezTo>
                <a:close/>
                <a:moveTo>
                  <a:pt x="4159885" y="4417406"/>
                </a:moveTo>
                <a:cubicBezTo>
                  <a:pt x="4140835" y="4425026"/>
                  <a:pt x="4153535" y="4454871"/>
                  <a:pt x="4171950" y="4446616"/>
                </a:cubicBezTo>
                <a:cubicBezTo>
                  <a:pt x="4191635" y="4438996"/>
                  <a:pt x="4178935" y="4409151"/>
                  <a:pt x="4159885" y="4417406"/>
                </a:cubicBezTo>
                <a:close/>
                <a:moveTo>
                  <a:pt x="4272280" y="4301201"/>
                </a:moveTo>
                <a:cubicBezTo>
                  <a:pt x="4262755" y="4278976"/>
                  <a:pt x="4229100" y="4294851"/>
                  <a:pt x="4238625" y="4316441"/>
                </a:cubicBezTo>
                <a:cubicBezTo>
                  <a:pt x="4248150" y="4338031"/>
                  <a:pt x="4282440" y="4322791"/>
                  <a:pt x="4272280" y="4301201"/>
                </a:cubicBezTo>
                <a:close/>
                <a:moveTo>
                  <a:pt x="4218940" y="4393276"/>
                </a:moveTo>
                <a:cubicBezTo>
                  <a:pt x="4199890" y="4400896"/>
                  <a:pt x="4212590" y="4430741"/>
                  <a:pt x="4231005" y="4422486"/>
                </a:cubicBezTo>
                <a:cubicBezTo>
                  <a:pt x="4250055" y="4414866"/>
                  <a:pt x="4237355" y="4385021"/>
                  <a:pt x="4218940" y="4393276"/>
                </a:cubicBezTo>
                <a:close/>
                <a:moveTo>
                  <a:pt x="4277995" y="4369146"/>
                </a:moveTo>
                <a:cubicBezTo>
                  <a:pt x="4258945" y="4376766"/>
                  <a:pt x="4271010" y="4406611"/>
                  <a:pt x="4290060" y="4398356"/>
                </a:cubicBezTo>
                <a:cubicBezTo>
                  <a:pt x="4309110" y="4391371"/>
                  <a:pt x="4297045" y="4361526"/>
                  <a:pt x="4277995" y="4369146"/>
                </a:cubicBezTo>
                <a:close/>
                <a:moveTo>
                  <a:pt x="4148455" y="4259291"/>
                </a:moveTo>
                <a:cubicBezTo>
                  <a:pt x="4136390" y="4235161"/>
                  <a:pt x="4098925" y="4254846"/>
                  <a:pt x="4111625" y="4278341"/>
                </a:cubicBezTo>
                <a:cubicBezTo>
                  <a:pt x="4123690" y="4303106"/>
                  <a:pt x="4161155" y="4283421"/>
                  <a:pt x="4148455" y="4259291"/>
                </a:cubicBezTo>
                <a:close/>
                <a:moveTo>
                  <a:pt x="4182110" y="4321521"/>
                </a:moveTo>
                <a:cubicBezTo>
                  <a:pt x="4160520" y="4331046"/>
                  <a:pt x="4176395" y="4365336"/>
                  <a:pt x="4197350" y="4354541"/>
                </a:cubicBezTo>
                <a:cubicBezTo>
                  <a:pt x="4219575" y="4345651"/>
                  <a:pt x="4203700" y="4311361"/>
                  <a:pt x="4182110" y="4321521"/>
                </a:cubicBezTo>
                <a:close/>
                <a:moveTo>
                  <a:pt x="4116705" y="4352636"/>
                </a:moveTo>
                <a:cubicBezTo>
                  <a:pt x="4095115" y="4362796"/>
                  <a:pt x="4111625" y="4396451"/>
                  <a:pt x="4132580" y="4385656"/>
                </a:cubicBezTo>
                <a:cubicBezTo>
                  <a:pt x="4154170" y="4375496"/>
                  <a:pt x="4138295" y="4341841"/>
                  <a:pt x="4116705" y="4352636"/>
                </a:cubicBezTo>
                <a:close/>
                <a:moveTo>
                  <a:pt x="3998595" y="4363431"/>
                </a:moveTo>
                <a:cubicBezTo>
                  <a:pt x="4022090" y="4350731"/>
                  <a:pt x="4001770" y="4313266"/>
                  <a:pt x="3978275" y="4327236"/>
                </a:cubicBezTo>
                <a:cubicBezTo>
                  <a:pt x="3954145" y="4339936"/>
                  <a:pt x="3975100" y="4376766"/>
                  <a:pt x="3998595" y="4363431"/>
                </a:cubicBezTo>
                <a:close/>
                <a:moveTo>
                  <a:pt x="3928745" y="4402801"/>
                </a:moveTo>
                <a:cubicBezTo>
                  <a:pt x="3952240" y="4389466"/>
                  <a:pt x="3931285" y="4352636"/>
                  <a:pt x="3907790" y="4366606"/>
                </a:cubicBezTo>
                <a:cubicBezTo>
                  <a:pt x="3884295" y="4379941"/>
                  <a:pt x="3905885" y="4416771"/>
                  <a:pt x="3928745" y="4402801"/>
                </a:cubicBezTo>
                <a:close/>
                <a:moveTo>
                  <a:pt x="3867150" y="4414866"/>
                </a:moveTo>
                <a:cubicBezTo>
                  <a:pt x="3853815" y="4391371"/>
                  <a:pt x="3816985" y="4412961"/>
                  <a:pt x="3831590" y="4435821"/>
                </a:cubicBezTo>
                <a:cubicBezTo>
                  <a:pt x="3844290" y="4459316"/>
                  <a:pt x="3881120" y="4437726"/>
                  <a:pt x="3867150" y="4414866"/>
                </a:cubicBezTo>
                <a:close/>
                <a:moveTo>
                  <a:pt x="3810635" y="4571076"/>
                </a:moveTo>
                <a:cubicBezTo>
                  <a:pt x="3791585" y="4579331"/>
                  <a:pt x="3805555" y="4608541"/>
                  <a:pt x="3823970" y="4599651"/>
                </a:cubicBezTo>
                <a:cubicBezTo>
                  <a:pt x="3843020" y="4592031"/>
                  <a:pt x="3829685" y="4562186"/>
                  <a:pt x="3810635" y="4571076"/>
                </a:cubicBezTo>
                <a:close/>
                <a:moveTo>
                  <a:pt x="3797935" y="4455506"/>
                </a:moveTo>
                <a:cubicBezTo>
                  <a:pt x="3784600" y="4432011"/>
                  <a:pt x="3747770" y="4454236"/>
                  <a:pt x="3762375" y="4477096"/>
                </a:cubicBezTo>
                <a:cubicBezTo>
                  <a:pt x="3775710" y="4500591"/>
                  <a:pt x="3811905" y="4479001"/>
                  <a:pt x="3797935" y="4455506"/>
                </a:cubicBezTo>
                <a:close/>
                <a:moveTo>
                  <a:pt x="3812540" y="4547581"/>
                </a:moveTo>
                <a:cubicBezTo>
                  <a:pt x="3833495" y="4536786"/>
                  <a:pt x="3816350" y="4503766"/>
                  <a:pt x="3795395" y="4515196"/>
                </a:cubicBezTo>
                <a:cubicBezTo>
                  <a:pt x="3774440" y="4525991"/>
                  <a:pt x="3792220" y="4559646"/>
                  <a:pt x="3812540" y="4547581"/>
                </a:cubicBezTo>
                <a:close/>
                <a:moveTo>
                  <a:pt x="3695700" y="4624416"/>
                </a:moveTo>
                <a:cubicBezTo>
                  <a:pt x="3676650" y="4632671"/>
                  <a:pt x="3690620" y="4662516"/>
                  <a:pt x="3709035" y="4652991"/>
                </a:cubicBezTo>
                <a:cubicBezTo>
                  <a:pt x="3727450" y="4644736"/>
                  <a:pt x="3714115" y="4615526"/>
                  <a:pt x="3695700" y="4624416"/>
                </a:cubicBezTo>
                <a:close/>
                <a:moveTo>
                  <a:pt x="3752850" y="4597746"/>
                </a:moveTo>
                <a:cubicBezTo>
                  <a:pt x="3733800" y="4606001"/>
                  <a:pt x="3747770" y="4635846"/>
                  <a:pt x="3766185" y="4626321"/>
                </a:cubicBezTo>
                <a:cubicBezTo>
                  <a:pt x="3785235" y="4618066"/>
                  <a:pt x="3771900" y="4588856"/>
                  <a:pt x="3752850" y="4597746"/>
                </a:cubicBezTo>
                <a:close/>
                <a:moveTo>
                  <a:pt x="3756660" y="4556471"/>
                </a:moveTo>
                <a:cubicBezTo>
                  <a:pt x="3745865" y="4535516"/>
                  <a:pt x="3712845" y="4552661"/>
                  <a:pt x="3724275" y="4573616"/>
                </a:cubicBezTo>
                <a:cubicBezTo>
                  <a:pt x="3735705" y="4595206"/>
                  <a:pt x="3768090" y="4577426"/>
                  <a:pt x="3756660" y="4556471"/>
                </a:cubicBezTo>
                <a:close/>
                <a:moveTo>
                  <a:pt x="3921125" y="4250401"/>
                </a:moveTo>
                <a:cubicBezTo>
                  <a:pt x="3895090" y="4265641"/>
                  <a:pt x="3920490" y="4306281"/>
                  <a:pt x="3945890" y="4289771"/>
                </a:cubicBezTo>
                <a:cubicBezTo>
                  <a:pt x="3971925" y="4274531"/>
                  <a:pt x="3947160" y="4234526"/>
                  <a:pt x="3921125" y="4250401"/>
                </a:cubicBezTo>
                <a:close/>
                <a:moveTo>
                  <a:pt x="3923030" y="4448521"/>
                </a:moveTo>
                <a:cubicBezTo>
                  <a:pt x="3901440" y="4459316"/>
                  <a:pt x="3919220" y="4492336"/>
                  <a:pt x="3939540" y="4480906"/>
                </a:cubicBezTo>
                <a:lnTo>
                  <a:pt x="3939540" y="4480906"/>
                </a:lnTo>
                <a:cubicBezTo>
                  <a:pt x="3961130" y="4470746"/>
                  <a:pt x="3944620" y="4437726"/>
                  <a:pt x="3923030" y="4448521"/>
                </a:cubicBezTo>
                <a:close/>
                <a:moveTo>
                  <a:pt x="3924300" y="4124671"/>
                </a:moveTo>
                <a:cubicBezTo>
                  <a:pt x="3895725" y="4142451"/>
                  <a:pt x="3924300" y="4186266"/>
                  <a:pt x="3952240" y="4167851"/>
                </a:cubicBezTo>
                <a:lnTo>
                  <a:pt x="3952240" y="4167851"/>
                </a:lnTo>
                <a:cubicBezTo>
                  <a:pt x="3980180" y="4150706"/>
                  <a:pt x="3952240" y="4106256"/>
                  <a:pt x="3924300" y="4124671"/>
                </a:cubicBezTo>
                <a:close/>
                <a:moveTo>
                  <a:pt x="3876040" y="4514561"/>
                </a:moveTo>
                <a:cubicBezTo>
                  <a:pt x="3896995" y="4503766"/>
                  <a:pt x="3879850" y="4470746"/>
                  <a:pt x="3858895" y="4482176"/>
                </a:cubicBezTo>
                <a:cubicBezTo>
                  <a:pt x="3837940" y="4492336"/>
                  <a:pt x="3855720" y="4525991"/>
                  <a:pt x="3876040" y="4514561"/>
                </a:cubicBezTo>
                <a:close/>
                <a:moveTo>
                  <a:pt x="3926840" y="4519006"/>
                </a:moveTo>
                <a:cubicBezTo>
                  <a:pt x="3907790" y="4527261"/>
                  <a:pt x="3921125" y="4556471"/>
                  <a:pt x="3939540" y="4548216"/>
                </a:cubicBezTo>
                <a:cubicBezTo>
                  <a:pt x="3958590" y="4539961"/>
                  <a:pt x="3945255" y="4510116"/>
                  <a:pt x="3926840" y="4519006"/>
                </a:cubicBezTo>
                <a:close/>
                <a:moveTo>
                  <a:pt x="3869055" y="4545041"/>
                </a:moveTo>
                <a:cubicBezTo>
                  <a:pt x="3850005" y="4553296"/>
                  <a:pt x="3863975" y="4582506"/>
                  <a:pt x="3882390" y="4574251"/>
                </a:cubicBezTo>
                <a:cubicBezTo>
                  <a:pt x="3900805" y="4565361"/>
                  <a:pt x="3887470" y="4536151"/>
                  <a:pt x="3869055" y="4545041"/>
                </a:cubicBezTo>
                <a:close/>
                <a:moveTo>
                  <a:pt x="3853180" y="4035136"/>
                </a:moveTo>
                <a:cubicBezTo>
                  <a:pt x="3822700" y="4055456"/>
                  <a:pt x="3855085" y="4103081"/>
                  <a:pt x="3884930" y="4081491"/>
                </a:cubicBezTo>
                <a:cubicBezTo>
                  <a:pt x="3915410" y="4061806"/>
                  <a:pt x="3883025" y="4014181"/>
                  <a:pt x="3853180" y="4035136"/>
                </a:cubicBezTo>
                <a:close/>
                <a:moveTo>
                  <a:pt x="3693160" y="4590761"/>
                </a:moveTo>
                <a:cubicBezTo>
                  <a:pt x="3682365" y="4569806"/>
                  <a:pt x="3649345" y="4587586"/>
                  <a:pt x="3660775" y="4608541"/>
                </a:cubicBezTo>
                <a:cubicBezTo>
                  <a:pt x="3672205" y="4629496"/>
                  <a:pt x="3704590" y="4611716"/>
                  <a:pt x="3693160" y="4590761"/>
                </a:cubicBezTo>
                <a:close/>
                <a:moveTo>
                  <a:pt x="603885" y="5328631"/>
                </a:moveTo>
                <a:cubicBezTo>
                  <a:pt x="576580" y="5315931"/>
                  <a:pt x="556895" y="5359111"/>
                  <a:pt x="584835" y="5371176"/>
                </a:cubicBezTo>
                <a:cubicBezTo>
                  <a:pt x="612140" y="5383876"/>
                  <a:pt x="631825" y="5340696"/>
                  <a:pt x="603885" y="5328631"/>
                </a:cubicBezTo>
                <a:close/>
                <a:moveTo>
                  <a:pt x="210185" y="4952076"/>
                </a:moveTo>
                <a:cubicBezTo>
                  <a:pt x="173355" y="4922866"/>
                  <a:pt x="146685" y="4995256"/>
                  <a:pt x="193040" y="4997161"/>
                </a:cubicBezTo>
                <a:cubicBezTo>
                  <a:pt x="215900" y="4998431"/>
                  <a:pt x="227965" y="4967316"/>
                  <a:pt x="210185" y="4952076"/>
                </a:cubicBezTo>
                <a:close/>
                <a:moveTo>
                  <a:pt x="198120" y="4821901"/>
                </a:moveTo>
                <a:cubicBezTo>
                  <a:pt x="226060" y="4798406"/>
                  <a:pt x="189230" y="4754591"/>
                  <a:pt x="161290" y="4778721"/>
                </a:cubicBezTo>
                <a:cubicBezTo>
                  <a:pt x="133350" y="4802216"/>
                  <a:pt x="170815" y="4846031"/>
                  <a:pt x="198120" y="4821901"/>
                </a:cubicBezTo>
                <a:close/>
                <a:moveTo>
                  <a:pt x="182245" y="5128606"/>
                </a:moveTo>
                <a:cubicBezTo>
                  <a:pt x="166370" y="5154006"/>
                  <a:pt x="207010" y="5178771"/>
                  <a:pt x="222250" y="5152736"/>
                </a:cubicBezTo>
                <a:cubicBezTo>
                  <a:pt x="238125" y="5126701"/>
                  <a:pt x="197485" y="5102571"/>
                  <a:pt x="182245" y="5128606"/>
                </a:cubicBezTo>
                <a:close/>
                <a:moveTo>
                  <a:pt x="137160" y="5261321"/>
                </a:moveTo>
                <a:cubicBezTo>
                  <a:pt x="111760" y="5251796"/>
                  <a:pt x="97155" y="5291166"/>
                  <a:pt x="123190" y="5300691"/>
                </a:cubicBezTo>
                <a:cubicBezTo>
                  <a:pt x="147320" y="5310216"/>
                  <a:pt x="162560" y="5270211"/>
                  <a:pt x="137160" y="5261321"/>
                </a:cubicBezTo>
                <a:close/>
                <a:moveTo>
                  <a:pt x="132715" y="5451186"/>
                </a:moveTo>
                <a:cubicBezTo>
                  <a:pt x="109220" y="5447376"/>
                  <a:pt x="103505" y="5484206"/>
                  <a:pt x="127000" y="5487381"/>
                </a:cubicBezTo>
                <a:cubicBezTo>
                  <a:pt x="150495" y="5491191"/>
                  <a:pt x="156845" y="5454361"/>
                  <a:pt x="132715" y="5451186"/>
                </a:cubicBezTo>
                <a:close/>
                <a:moveTo>
                  <a:pt x="190500" y="5641686"/>
                </a:moveTo>
                <a:cubicBezTo>
                  <a:pt x="170180" y="5642321"/>
                  <a:pt x="171450" y="5674706"/>
                  <a:pt x="192405" y="5673436"/>
                </a:cubicBezTo>
                <a:cubicBezTo>
                  <a:pt x="212090" y="5672166"/>
                  <a:pt x="210820" y="5640416"/>
                  <a:pt x="190500" y="5641686"/>
                </a:cubicBezTo>
                <a:close/>
                <a:moveTo>
                  <a:pt x="316865" y="5633431"/>
                </a:moveTo>
                <a:cubicBezTo>
                  <a:pt x="295910" y="5634701"/>
                  <a:pt x="298450" y="5667086"/>
                  <a:pt x="319405" y="5665181"/>
                </a:cubicBezTo>
                <a:cubicBezTo>
                  <a:pt x="339725" y="5663911"/>
                  <a:pt x="337185" y="5631526"/>
                  <a:pt x="316865" y="5633431"/>
                </a:cubicBezTo>
                <a:close/>
                <a:moveTo>
                  <a:pt x="127000" y="5644226"/>
                </a:moveTo>
                <a:cubicBezTo>
                  <a:pt x="106045" y="5644861"/>
                  <a:pt x="107950" y="5677246"/>
                  <a:pt x="128270" y="5675976"/>
                </a:cubicBezTo>
                <a:cubicBezTo>
                  <a:pt x="148590" y="5675341"/>
                  <a:pt x="147320" y="5642956"/>
                  <a:pt x="127000" y="5644226"/>
                </a:cubicBezTo>
                <a:close/>
                <a:moveTo>
                  <a:pt x="139065" y="4924771"/>
                </a:moveTo>
                <a:cubicBezTo>
                  <a:pt x="161290" y="4900006"/>
                  <a:pt x="121285" y="4865716"/>
                  <a:pt x="100330" y="4891116"/>
                </a:cubicBezTo>
                <a:cubicBezTo>
                  <a:pt x="77470" y="4915881"/>
                  <a:pt x="117475" y="4950171"/>
                  <a:pt x="139065" y="4924771"/>
                </a:cubicBezTo>
                <a:close/>
                <a:moveTo>
                  <a:pt x="288290" y="5315931"/>
                </a:moveTo>
                <a:cubicBezTo>
                  <a:pt x="262890" y="5307041"/>
                  <a:pt x="248920" y="5347046"/>
                  <a:pt x="274955" y="5355301"/>
                </a:cubicBezTo>
                <a:cubicBezTo>
                  <a:pt x="299720" y="5364191"/>
                  <a:pt x="313690" y="5324186"/>
                  <a:pt x="288290" y="5315931"/>
                </a:cubicBezTo>
                <a:close/>
                <a:moveTo>
                  <a:pt x="290195" y="5166071"/>
                </a:moveTo>
                <a:cubicBezTo>
                  <a:pt x="264160" y="5150196"/>
                  <a:pt x="240665" y="5191471"/>
                  <a:pt x="266700" y="5206076"/>
                </a:cubicBezTo>
                <a:cubicBezTo>
                  <a:pt x="292735" y="5221951"/>
                  <a:pt x="316865" y="5180676"/>
                  <a:pt x="290195" y="5166071"/>
                </a:cubicBezTo>
                <a:close/>
                <a:moveTo>
                  <a:pt x="1379220" y="5790276"/>
                </a:moveTo>
                <a:cubicBezTo>
                  <a:pt x="1389380" y="5748366"/>
                  <a:pt x="1323975" y="5733126"/>
                  <a:pt x="1314450" y="5775671"/>
                </a:cubicBezTo>
                <a:cubicBezTo>
                  <a:pt x="1304290" y="5816946"/>
                  <a:pt x="1369695" y="5832186"/>
                  <a:pt x="1379220" y="5790276"/>
                </a:cubicBezTo>
                <a:close/>
                <a:moveTo>
                  <a:pt x="212725" y="5289261"/>
                </a:moveTo>
                <a:cubicBezTo>
                  <a:pt x="187325" y="5279736"/>
                  <a:pt x="173355" y="5319741"/>
                  <a:pt x="198755" y="5328631"/>
                </a:cubicBezTo>
                <a:cubicBezTo>
                  <a:pt x="223520" y="5338156"/>
                  <a:pt x="238125" y="5298151"/>
                  <a:pt x="212725" y="5289261"/>
                </a:cubicBezTo>
                <a:close/>
                <a:moveTo>
                  <a:pt x="203835" y="5461346"/>
                </a:moveTo>
                <a:cubicBezTo>
                  <a:pt x="180340" y="5457536"/>
                  <a:pt x="175260" y="5494366"/>
                  <a:pt x="198755" y="5497541"/>
                </a:cubicBezTo>
                <a:cubicBezTo>
                  <a:pt x="222250" y="5501351"/>
                  <a:pt x="227330" y="5464521"/>
                  <a:pt x="203835" y="5461346"/>
                </a:cubicBezTo>
                <a:close/>
                <a:moveTo>
                  <a:pt x="253365" y="5637876"/>
                </a:moveTo>
                <a:cubicBezTo>
                  <a:pt x="233045" y="5639146"/>
                  <a:pt x="234950" y="5671531"/>
                  <a:pt x="255270" y="5669626"/>
                </a:cubicBezTo>
                <a:cubicBezTo>
                  <a:pt x="276225" y="5668356"/>
                  <a:pt x="274320" y="5635971"/>
                  <a:pt x="253365" y="5637876"/>
                </a:cubicBezTo>
                <a:close/>
                <a:moveTo>
                  <a:pt x="267970" y="4901911"/>
                </a:moveTo>
                <a:cubicBezTo>
                  <a:pt x="295910" y="4878416"/>
                  <a:pt x="258445" y="4834601"/>
                  <a:pt x="231140" y="4859366"/>
                </a:cubicBezTo>
                <a:cubicBezTo>
                  <a:pt x="202565" y="4882861"/>
                  <a:pt x="240665" y="4926676"/>
                  <a:pt x="267970" y="4901911"/>
                </a:cubicBezTo>
                <a:close/>
                <a:moveTo>
                  <a:pt x="114300" y="5114636"/>
                </a:moveTo>
                <a:cubicBezTo>
                  <a:pt x="139700" y="5130511"/>
                  <a:pt x="164465" y="5089871"/>
                  <a:pt x="138430" y="5074631"/>
                </a:cubicBezTo>
                <a:cubicBezTo>
                  <a:pt x="112395" y="5058756"/>
                  <a:pt x="88265" y="5099396"/>
                  <a:pt x="114300" y="5114636"/>
                </a:cubicBezTo>
                <a:close/>
                <a:moveTo>
                  <a:pt x="1270" y="3791931"/>
                </a:moveTo>
                <a:cubicBezTo>
                  <a:pt x="635" y="3791931"/>
                  <a:pt x="0" y="3792566"/>
                  <a:pt x="0" y="3792566"/>
                </a:cubicBezTo>
                <a:lnTo>
                  <a:pt x="0" y="3859241"/>
                </a:lnTo>
                <a:cubicBezTo>
                  <a:pt x="5080" y="3862416"/>
                  <a:pt x="11430" y="3864321"/>
                  <a:pt x="18415" y="3863686"/>
                </a:cubicBezTo>
                <a:cubicBezTo>
                  <a:pt x="80645" y="3861781"/>
                  <a:pt x="58420" y="3766531"/>
                  <a:pt x="1270" y="3791931"/>
                </a:cubicBezTo>
                <a:close/>
                <a:moveTo>
                  <a:pt x="5715" y="3999576"/>
                </a:moveTo>
                <a:cubicBezTo>
                  <a:pt x="3810" y="4000846"/>
                  <a:pt x="1905" y="4002116"/>
                  <a:pt x="0" y="4003386"/>
                </a:cubicBezTo>
                <a:lnTo>
                  <a:pt x="0" y="4056726"/>
                </a:lnTo>
                <a:cubicBezTo>
                  <a:pt x="5715" y="4062441"/>
                  <a:pt x="13970" y="4066251"/>
                  <a:pt x="23495" y="4065616"/>
                </a:cubicBezTo>
                <a:cubicBezTo>
                  <a:pt x="83185" y="4064346"/>
                  <a:pt x="57785" y="3971001"/>
                  <a:pt x="5715" y="3999576"/>
                </a:cubicBezTo>
                <a:close/>
                <a:moveTo>
                  <a:pt x="53340" y="4461856"/>
                </a:moveTo>
                <a:cubicBezTo>
                  <a:pt x="83820" y="4436456"/>
                  <a:pt x="43815" y="4388831"/>
                  <a:pt x="13335" y="4414866"/>
                </a:cubicBezTo>
                <a:cubicBezTo>
                  <a:pt x="-17145" y="4440266"/>
                  <a:pt x="23495" y="4487891"/>
                  <a:pt x="53340" y="4461856"/>
                </a:cubicBezTo>
                <a:close/>
                <a:moveTo>
                  <a:pt x="28575" y="4267546"/>
                </a:moveTo>
                <a:cubicBezTo>
                  <a:pt x="85725" y="4265641"/>
                  <a:pt x="57785" y="4176106"/>
                  <a:pt x="9525" y="4207221"/>
                </a:cubicBezTo>
                <a:cubicBezTo>
                  <a:pt x="5080" y="4209761"/>
                  <a:pt x="1905" y="4213571"/>
                  <a:pt x="0" y="4217381"/>
                </a:cubicBezTo>
                <a:lnTo>
                  <a:pt x="0" y="4250401"/>
                </a:lnTo>
                <a:cubicBezTo>
                  <a:pt x="5080" y="4260561"/>
                  <a:pt x="15240" y="4268181"/>
                  <a:pt x="28575" y="4267546"/>
                </a:cubicBezTo>
                <a:close/>
                <a:moveTo>
                  <a:pt x="37465" y="3969096"/>
                </a:moveTo>
                <a:cubicBezTo>
                  <a:pt x="54610" y="4015451"/>
                  <a:pt x="127000" y="3987511"/>
                  <a:pt x="108585" y="3941791"/>
                </a:cubicBezTo>
                <a:cubicBezTo>
                  <a:pt x="91440" y="3895436"/>
                  <a:pt x="19050" y="3923376"/>
                  <a:pt x="37465" y="3969096"/>
                </a:cubicBezTo>
                <a:close/>
                <a:moveTo>
                  <a:pt x="133350" y="4231351"/>
                </a:moveTo>
                <a:cubicBezTo>
                  <a:pt x="133350" y="4231986"/>
                  <a:pt x="133985" y="4231986"/>
                  <a:pt x="133985" y="4232621"/>
                </a:cubicBezTo>
                <a:cubicBezTo>
                  <a:pt x="109855" y="4233256"/>
                  <a:pt x="92710" y="4259926"/>
                  <a:pt x="102870" y="4282151"/>
                </a:cubicBezTo>
                <a:cubicBezTo>
                  <a:pt x="120015" y="4323426"/>
                  <a:pt x="184150" y="4297391"/>
                  <a:pt x="168910" y="4256116"/>
                </a:cubicBezTo>
                <a:cubicBezTo>
                  <a:pt x="194310" y="4256751"/>
                  <a:pt x="213995" y="4229446"/>
                  <a:pt x="204470" y="4205316"/>
                </a:cubicBezTo>
                <a:cubicBezTo>
                  <a:pt x="189230" y="4158961"/>
                  <a:pt x="116205" y="4184996"/>
                  <a:pt x="133350" y="4231351"/>
                </a:cubicBezTo>
                <a:close/>
                <a:moveTo>
                  <a:pt x="85725" y="4099906"/>
                </a:moveTo>
                <a:cubicBezTo>
                  <a:pt x="88265" y="4106256"/>
                  <a:pt x="92075" y="4111336"/>
                  <a:pt x="96520" y="4115781"/>
                </a:cubicBezTo>
                <a:cubicBezTo>
                  <a:pt x="67945" y="4101811"/>
                  <a:pt x="34925" y="4134196"/>
                  <a:pt x="49530" y="4163406"/>
                </a:cubicBezTo>
                <a:cubicBezTo>
                  <a:pt x="74295" y="4214206"/>
                  <a:pt x="147320" y="4159596"/>
                  <a:pt x="105410" y="4122131"/>
                </a:cubicBezTo>
                <a:cubicBezTo>
                  <a:pt x="134620" y="4136736"/>
                  <a:pt x="168910" y="4104986"/>
                  <a:pt x="156845" y="4074506"/>
                </a:cubicBezTo>
                <a:cubicBezTo>
                  <a:pt x="141605" y="4026881"/>
                  <a:pt x="68580" y="4053551"/>
                  <a:pt x="85725" y="4099906"/>
                </a:cubicBezTo>
                <a:close/>
                <a:moveTo>
                  <a:pt x="63500" y="5646131"/>
                </a:moveTo>
                <a:cubicBezTo>
                  <a:pt x="43180" y="5646131"/>
                  <a:pt x="43815" y="5678516"/>
                  <a:pt x="64135" y="5677881"/>
                </a:cubicBezTo>
                <a:cubicBezTo>
                  <a:pt x="85090" y="5677881"/>
                  <a:pt x="83820" y="5645496"/>
                  <a:pt x="63500" y="5646131"/>
                </a:cubicBezTo>
                <a:close/>
                <a:moveTo>
                  <a:pt x="129540" y="4741256"/>
                </a:moveTo>
                <a:cubicBezTo>
                  <a:pt x="157480" y="4717761"/>
                  <a:pt x="119380" y="4673946"/>
                  <a:pt x="92075" y="4698711"/>
                </a:cubicBezTo>
                <a:cubicBezTo>
                  <a:pt x="64770" y="4722206"/>
                  <a:pt x="102235" y="4765386"/>
                  <a:pt x="129540" y="4741256"/>
                </a:cubicBezTo>
                <a:close/>
                <a:moveTo>
                  <a:pt x="84455" y="4505036"/>
                </a:moveTo>
                <a:cubicBezTo>
                  <a:pt x="59690" y="4520911"/>
                  <a:pt x="73025" y="4562186"/>
                  <a:pt x="101600" y="4560916"/>
                </a:cubicBezTo>
                <a:cubicBezTo>
                  <a:pt x="154940" y="4559646"/>
                  <a:pt x="128905" y="4476461"/>
                  <a:pt x="84455" y="4505036"/>
                </a:cubicBezTo>
                <a:close/>
                <a:moveTo>
                  <a:pt x="61595" y="5440391"/>
                </a:moveTo>
                <a:cubicBezTo>
                  <a:pt x="36195" y="5436581"/>
                  <a:pt x="33655" y="5477221"/>
                  <a:pt x="59055" y="5476586"/>
                </a:cubicBezTo>
                <a:cubicBezTo>
                  <a:pt x="80645" y="5477221"/>
                  <a:pt x="83820" y="5442931"/>
                  <a:pt x="61595" y="5440391"/>
                </a:cubicBezTo>
                <a:close/>
                <a:moveTo>
                  <a:pt x="60325" y="5234651"/>
                </a:moveTo>
                <a:cubicBezTo>
                  <a:pt x="30480" y="5225126"/>
                  <a:pt x="22860" y="5275291"/>
                  <a:pt x="53975" y="5275291"/>
                </a:cubicBezTo>
                <a:cubicBezTo>
                  <a:pt x="76835" y="5275926"/>
                  <a:pt x="82550" y="5241001"/>
                  <a:pt x="60325" y="5234651"/>
                </a:cubicBezTo>
                <a:close/>
                <a:moveTo>
                  <a:pt x="28575" y="4866986"/>
                </a:moveTo>
                <a:cubicBezTo>
                  <a:pt x="55245" y="4886671"/>
                  <a:pt x="86360" y="4844126"/>
                  <a:pt x="58420" y="4825076"/>
                </a:cubicBezTo>
                <a:cubicBezTo>
                  <a:pt x="31750" y="4805391"/>
                  <a:pt x="1270" y="4847936"/>
                  <a:pt x="28575" y="4866986"/>
                </a:cubicBezTo>
                <a:lnTo>
                  <a:pt x="28575" y="4866986"/>
                </a:lnTo>
                <a:close/>
                <a:moveTo>
                  <a:pt x="59690" y="5029546"/>
                </a:moveTo>
                <a:cubicBezTo>
                  <a:pt x="25400" y="5013036"/>
                  <a:pt x="11430" y="5072726"/>
                  <a:pt x="48895" y="5073361"/>
                </a:cubicBezTo>
                <a:cubicBezTo>
                  <a:pt x="72390" y="5074631"/>
                  <a:pt x="81280" y="5039706"/>
                  <a:pt x="59690" y="5029546"/>
                </a:cubicBezTo>
                <a:close/>
                <a:moveTo>
                  <a:pt x="57785" y="4621876"/>
                </a:moveTo>
                <a:cubicBezTo>
                  <a:pt x="17780" y="4588221"/>
                  <a:pt x="-13335" y="4668231"/>
                  <a:pt x="38735" y="4670771"/>
                </a:cubicBezTo>
                <a:cubicBezTo>
                  <a:pt x="63500" y="4671406"/>
                  <a:pt x="76835" y="4638386"/>
                  <a:pt x="57785" y="4621876"/>
                </a:cubicBezTo>
                <a:close/>
                <a:moveTo>
                  <a:pt x="274955" y="5471506"/>
                </a:moveTo>
                <a:cubicBezTo>
                  <a:pt x="251460" y="5468331"/>
                  <a:pt x="246380" y="5505161"/>
                  <a:pt x="270510" y="5507701"/>
                </a:cubicBezTo>
                <a:cubicBezTo>
                  <a:pt x="293370" y="5510876"/>
                  <a:pt x="298450" y="5474046"/>
                  <a:pt x="274955" y="5471506"/>
                </a:cubicBezTo>
                <a:close/>
                <a:moveTo>
                  <a:pt x="1003935" y="5736301"/>
                </a:moveTo>
                <a:cubicBezTo>
                  <a:pt x="1040130" y="5764876"/>
                  <a:pt x="1084580" y="5707726"/>
                  <a:pt x="1047750" y="5679786"/>
                </a:cubicBezTo>
                <a:cubicBezTo>
                  <a:pt x="1010920" y="5651211"/>
                  <a:pt x="966470" y="5708361"/>
                  <a:pt x="1003935" y="5736301"/>
                </a:cubicBezTo>
                <a:close/>
                <a:moveTo>
                  <a:pt x="996950" y="5653751"/>
                </a:moveTo>
                <a:cubicBezTo>
                  <a:pt x="1031240" y="5679151"/>
                  <a:pt x="1071245" y="5624541"/>
                  <a:pt x="1035685" y="5599776"/>
                </a:cubicBezTo>
                <a:cubicBezTo>
                  <a:pt x="1000760" y="5574376"/>
                  <a:pt x="961390" y="5629621"/>
                  <a:pt x="996950" y="5653751"/>
                </a:cubicBezTo>
                <a:close/>
                <a:moveTo>
                  <a:pt x="1019810" y="5579456"/>
                </a:moveTo>
                <a:cubicBezTo>
                  <a:pt x="1036320" y="5566756"/>
                  <a:pt x="1028700" y="5535641"/>
                  <a:pt x="1009015" y="5529291"/>
                </a:cubicBezTo>
                <a:cubicBezTo>
                  <a:pt x="1009015" y="5528021"/>
                  <a:pt x="1009015" y="5526751"/>
                  <a:pt x="1009015" y="5525481"/>
                </a:cubicBezTo>
                <a:cubicBezTo>
                  <a:pt x="1059815" y="5512781"/>
                  <a:pt x="1034415" y="5449281"/>
                  <a:pt x="989330" y="5480396"/>
                </a:cubicBezTo>
                <a:cubicBezTo>
                  <a:pt x="987425" y="5479761"/>
                  <a:pt x="985520" y="5479761"/>
                  <a:pt x="983615" y="5479761"/>
                </a:cubicBezTo>
                <a:cubicBezTo>
                  <a:pt x="974090" y="5472141"/>
                  <a:pt x="960755" y="5472141"/>
                  <a:pt x="950595" y="5478491"/>
                </a:cubicBezTo>
                <a:cubicBezTo>
                  <a:pt x="953135" y="5468331"/>
                  <a:pt x="948055" y="5457536"/>
                  <a:pt x="939165" y="5452456"/>
                </a:cubicBezTo>
                <a:cubicBezTo>
                  <a:pt x="936625" y="5446741"/>
                  <a:pt x="932180" y="5441661"/>
                  <a:pt x="925830" y="5439121"/>
                </a:cubicBezTo>
                <a:cubicBezTo>
                  <a:pt x="917575" y="5435946"/>
                  <a:pt x="908685" y="5436581"/>
                  <a:pt x="901700" y="5441026"/>
                </a:cubicBezTo>
                <a:cubicBezTo>
                  <a:pt x="899795" y="5434041"/>
                  <a:pt x="895985" y="5428326"/>
                  <a:pt x="889635" y="5424516"/>
                </a:cubicBezTo>
                <a:cubicBezTo>
                  <a:pt x="889635" y="5424516"/>
                  <a:pt x="889635" y="5424516"/>
                  <a:pt x="889635" y="5424516"/>
                </a:cubicBezTo>
                <a:cubicBezTo>
                  <a:pt x="878840" y="5417531"/>
                  <a:pt x="864870" y="5419436"/>
                  <a:pt x="855980" y="5427691"/>
                </a:cubicBezTo>
                <a:cubicBezTo>
                  <a:pt x="855345" y="5427056"/>
                  <a:pt x="854075" y="5426421"/>
                  <a:pt x="852805" y="5425786"/>
                </a:cubicBezTo>
                <a:cubicBezTo>
                  <a:pt x="857250" y="5404196"/>
                  <a:pt x="833120" y="5392131"/>
                  <a:pt x="814705" y="5390861"/>
                </a:cubicBezTo>
                <a:cubicBezTo>
                  <a:pt x="816610" y="5371176"/>
                  <a:pt x="793115" y="5354666"/>
                  <a:pt x="775335" y="5363556"/>
                </a:cubicBezTo>
                <a:cubicBezTo>
                  <a:pt x="772160" y="5357206"/>
                  <a:pt x="766445" y="5351491"/>
                  <a:pt x="760095" y="5348316"/>
                </a:cubicBezTo>
                <a:cubicBezTo>
                  <a:pt x="763270" y="5329901"/>
                  <a:pt x="746125" y="5310851"/>
                  <a:pt x="727075" y="5313391"/>
                </a:cubicBezTo>
                <a:cubicBezTo>
                  <a:pt x="723265" y="5303866"/>
                  <a:pt x="712470" y="5296881"/>
                  <a:pt x="702310" y="5297516"/>
                </a:cubicBezTo>
                <a:cubicBezTo>
                  <a:pt x="701040" y="5295611"/>
                  <a:pt x="699770" y="5294341"/>
                  <a:pt x="697865" y="5293071"/>
                </a:cubicBezTo>
                <a:cubicBezTo>
                  <a:pt x="702945" y="5277831"/>
                  <a:pt x="693420" y="5258146"/>
                  <a:pt x="677545" y="5253066"/>
                </a:cubicBezTo>
                <a:cubicBezTo>
                  <a:pt x="673100" y="5238461"/>
                  <a:pt x="655320" y="5228936"/>
                  <a:pt x="641350" y="5233381"/>
                </a:cubicBezTo>
                <a:cubicBezTo>
                  <a:pt x="640080" y="5229571"/>
                  <a:pt x="637540" y="5226396"/>
                  <a:pt x="635000" y="5223221"/>
                </a:cubicBezTo>
                <a:cubicBezTo>
                  <a:pt x="641350" y="5209251"/>
                  <a:pt x="636270" y="5190836"/>
                  <a:pt x="623570" y="5181946"/>
                </a:cubicBezTo>
                <a:cubicBezTo>
                  <a:pt x="621665" y="5165436"/>
                  <a:pt x="605155" y="5152101"/>
                  <a:pt x="588645" y="5153371"/>
                </a:cubicBezTo>
                <a:cubicBezTo>
                  <a:pt x="582930" y="5149561"/>
                  <a:pt x="576580" y="5147656"/>
                  <a:pt x="570230" y="5148291"/>
                </a:cubicBezTo>
                <a:cubicBezTo>
                  <a:pt x="581025" y="5134956"/>
                  <a:pt x="581025" y="5113366"/>
                  <a:pt x="568960" y="5099396"/>
                </a:cubicBezTo>
                <a:cubicBezTo>
                  <a:pt x="570230" y="5068916"/>
                  <a:pt x="523875" y="5039706"/>
                  <a:pt x="498475" y="5060661"/>
                </a:cubicBezTo>
                <a:cubicBezTo>
                  <a:pt x="483870" y="5059391"/>
                  <a:pt x="468630" y="5071456"/>
                  <a:pt x="466725" y="5086696"/>
                </a:cubicBezTo>
                <a:cubicBezTo>
                  <a:pt x="396240" y="5090506"/>
                  <a:pt x="461645" y="5185756"/>
                  <a:pt x="490855" y="5121621"/>
                </a:cubicBezTo>
                <a:cubicBezTo>
                  <a:pt x="494665" y="5122256"/>
                  <a:pt x="498475" y="5122256"/>
                  <a:pt x="502285" y="5121621"/>
                </a:cubicBezTo>
                <a:cubicBezTo>
                  <a:pt x="500380" y="5139401"/>
                  <a:pt x="513715" y="5157816"/>
                  <a:pt x="530225" y="5161626"/>
                </a:cubicBezTo>
                <a:cubicBezTo>
                  <a:pt x="487045" y="5177501"/>
                  <a:pt x="527685" y="5240366"/>
                  <a:pt x="560070" y="5207346"/>
                </a:cubicBezTo>
                <a:cubicBezTo>
                  <a:pt x="561975" y="5207981"/>
                  <a:pt x="563880" y="5208616"/>
                  <a:pt x="565785" y="5208616"/>
                </a:cubicBezTo>
                <a:cubicBezTo>
                  <a:pt x="565785" y="5215601"/>
                  <a:pt x="567690" y="5223856"/>
                  <a:pt x="572135" y="5230206"/>
                </a:cubicBezTo>
                <a:cubicBezTo>
                  <a:pt x="568960" y="5235921"/>
                  <a:pt x="567690" y="5242271"/>
                  <a:pt x="567690" y="5248621"/>
                </a:cubicBezTo>
                <a:cubicBezTo>
                  <a:pt x="521970" y="5264496"/>
                  <a:pt x="572135" y="5326726"/>
                  <a:pt x="597535" y="5285451"/>
                </a:cubicBezTo>
                <a:cubicBezTo>
                  <a:pt x="607060" y="5286721"/>
                  <a:pt x="617855" y="5287356"/>
                  <a:pt x="627380" y="5285451"/>
                </a:cubicBezTo>
                <a:cubicBezTo>
                  <a:pt x="629285" y="5287356"/>
                  <a:pt x="631190" y="5288626"/>
                  <a:pt x="633095" y="5289896"/>
                </a:cubicBezTo>
                <a:cubicBezTo>
                  <a:pt x="634365" y="5295611"/>
                  <a:pt x="636270" y="5301326"/>
                  <a:pt x="640715" y="5306406"/>
                </a:cubicBezTo>
                <a:cubicBezTo>
                  <a:pt x="626745" y="5317201"/>
                  <a:pt x="628650" y="5340696"/>
                  <a:pt x="644525" y="5348951"/>
                </a:cubicBezTo>
                <a:cubicBezTo>
                  <a:pt x="612775" y="5395941"/>
                  <a:pt x="694055" y="5436581"/>
                  <a:pt x="712470" y="5382606"/>
                </a:cubicBezTo>
                <a:cubicBezTo>
                  <a:pt x="713105" y="5390861"/>
                  <a:pt x="717550" y="5399751"/>
                  <a:pt x="724535" y="5404831"/>
                </a:cubicBezTo>
                <a:cubicBezTo>
                  <a:pt x="713105" y="5418801"/>
                  <a:pt x="714375" y="5441661"/>
                  <a:pt x="728345" y="5453726"/>
                </a:cubicBezTo>
                <a:cubicBezTo>
                  <a:pt x="727075" y="5455631"/>
                  <a:pt x="725805" y="5458171"/>
                  <a:pt x="725805" y="5460711"/>
                </a:cubicBezTo>
                <a:cubicBezTo>
                  <a:pt x="699135" y="5484206"/>
                  <a:pt x="721995" y="5531831"/>
                  <a:pt x="756285" y="5526116"/>
                </a:cubicBezTo>
                <a:cubicBezTo>
                  <a:pt x="755015" y="5571201"/>
                  <a:pt x="819150" y="5536276"/>
                  <a:pt x="781050" y="5512781"/>
                </a:cubicBezTo>
                <a:cubicBezTo>
                  <a:pt x="795655" y="5496271"/>
                  <a:pt x="791845" y="5467696"/>
                  <a:pt x="772160" y="5456266"/>
                </a:cubicBezTo>
                <a:cubicBezTo>
                  <a:pt x="779780" y="5451186"/>
                  <a:pt x="784225" y="5442931"/>
                  <a:pt x="786130" y="5435311"/>
                </a:cubicBezTo>
                <a:cubicBezTo>
                  <a:pt x="788670" y="5441661"/>
                  <a:pt x="795020" y="5448011"/>
                  <a:pt x="801370" y="5450551"/>
                </a:cubicBezTo>
                <a:cubicBezTo>
                  <a:pt x="789940" y="5466426"/>
                  <a:pt x="796290" y="5491191"/>
                  <a:pt x="815340" y="5499446"/>
                </a:cubicBezTo>
                <a:cubicBezTo>
                  <a:pt x="788670" y="5515321"/>
                  <a:pt x="797560" y="5558501"/>
                  <a:pt x="827405" y="5564216"/>
                </a:cubicBezTo>
                <a:cubicBezTo>
                  <a:pt x="800100" y="5568661"/>
                  <a:pt x="786130" y="5603586"/>
                  <a:pt x="804545" y="5625176"/>
                </a:cubicBezTo>
                <a:cubicBezTo>
                  <a:pt x="827405" y="5655656"/>
                  <a:pt x="878840" y="5632796"/>
                  <a:pt x="871855" y="5595966"/>
                </a:cubicBezTo>
                <a:cubicBezTo>
                  <a:pt x="882650" y="5613111"/>
                  <a:pt x="909320" y="5596601"/>
                  <a:pt x="898525" y="5579456"/>
                </a:cubicBezTo>
                <a:cubicBezTo>
                  <a:pt x="908685" y="5587076"/>
                  <a:pt x="921385" y="5588346"/>
                  <a:pt x="932815" y="5583266"/>
                </a:cubicBezTo>
                <a:cubicBezTo>
                  <a:pt x="934720" y="5587711"/>
                  <a:pt x="937260" y="5590251"/>
                  <a:pt x="939800" y="5592156"/>
                </a:cubicBezTo>
                <a:cubicBezTo>
                  <a:pt x="893445" y="5569296"/>
                  <a:pt x="863600" y="5655656"/>
                  <a:pt x="925195" y="5660101"/>
                </a:cubicBezTo>
                <a:cubicBezTo>
                  <a:pt x="955675" y="5661371"/>
                  <a:pt x="973455" y="5619461"/>
                  <a:pt x="949960" y="5598506"/>
                </a:cubicBezTo>
                <a:cubicBezTo>
                  <a:pt x="947420" y="5595966"/>
                  <a:pt x="944880" y="5594696"/>
                  <a:pt x="941705" y="5592791"/>
                </a:cubicBezTo>
                <a:cubicBezTo>
                  <a:pt x="957580" y="5599776"/>
                  <a:pt x="977265" y="5569931"/>
                  <a:pt x="949960" y="5562311"/>
                </a:cubicBezTo>
                <a:cubicBezTo>
                  <a:pt x="954405" y="5548341"/>
                  <a:pt x="948055" y="5531196"/>
                  <a:pt x="934085" y="5524211"/>
                </a:cubicBezTo>
                <a:cubicBezTo>
                  <a:pt x="932180" y="5520401"/>
                  <a:pt x="929640" y="5517226"/>
                  <a:pt x="925830" y="5515321"/>
                </a:cubicBezTo>
                <a:cubicBezTo>
                  <a:pt x="930275" y="5510241"/>
                  <a:pt x="932815" y="5503256"/>
                  <a:pt x="933450" y="5496906"/>
                </a:cubicBezTo>
                <a:cubicBezTo>
                  <a:pt x="934720" y="5496271"/>
                  <a:pt x="936625" y="5495636"/>
                  <a:pt x="937895" y="5495001"/>
                </a:cubicBezTo>
                <a:cubicBezTo>
                  <a:pt x="930910" y="5514686"/>
                  <a:pt x="950595" y="5536911"/>
                  <a:pt x="971550" y="5531196"/>
                </a:cubicBezTo>
                <a:cubicBezTo>
                  <a:pt x="971550" y="5534371"/>
                  <a:pt x="972820" y="5537546"/>
                  <a:pt x="974090" y="5539451"/>
                </a:cubicBezTo>
                <a:cubicBezTo>
                  <a:pt x="948690" y="5565486"/>
                  <a:pt x="993140" y="5607396"/>
                  <a:pt x="1019810" y="5579456"/>
                </a:cubicBezTo>
                <a:close/>
                <a:moveTo>
                  <a:pt x="901065" y="5523576"/>
                </a:moveTo>
                <a:cubicBezTo>
                  <a:pt x="885190" y="5533736"/>
                  <a:pt x="882015" y="5557231"/>
                  <a:pt x="894080" y="5571836"/>
                </a:cubicBezTo>
                <a:cubicBezTo>
                  <a:pt x="884555" y="5565486"/>
                  <a:pt x="870585" y="5573741"/>
                  <a:pt x="870585" y="5585171"/>
                </a:cubicBezTo>
                <a:cubicBezTo>
                  <a:pt x="866140" y="5573741"/>
                  <a:pt x="854710" y="5564851"/>
                  <a:pt x="842645" y="5562311"/>
                </a:cubicBezTo>
                <a:cubicBezTo>
                  <a:pt x="876935" y="5557231"/>
                  <a:pt x="882015" y="5506431"/>
                  <a:pt x="848995" y="5494366"/>
                </a:cubicBezTo>
                <a:cubicBezTo>
                  <a:pt x="855980" y="5489286"/>
                  <a:pt x="861060" y="5481666"/>
                  <a:pt x="862330" y="5473411"/>
                </a:cubicBezTo>
                <a:cubicBezTo>
                  <a:pt x="867410" y="5475951"/>
                  <a:pt x="873125" y="5476586"/>
                  <a:pt x="878205" y="5475951"/>
                </a:cubicBezTo>
                <a:cubicBezTo>
                  <a:pt x="865505" y="5494366"/>
                  <a:pt x="878840" y="5522306"/>
                  <a:pt x="901065" y="5522941"/>
                </a:cubicBezTo>
                <a:cubicBezTo>
                  <a:pt x="901065" y="5523576"/>
                  <a:pt x="901065" y="5523576"/>
                  <a:pt x="901065" y="5523576"/>
                </a:cubicBezTo>
                <a:close/>
                <a:moveTo>
                  <a:pt x="1123950" y="5628986"/>
                </a:moveTo>
                <a:cubicBezTo>
                  <a:pt x="1143000" y="5594061"/>
                  <a:pt x="1087120" y="5564851"/>
                  <a:pt x="1069340" y="5600411"/>
                </a:cubicBezTo>
                <a:cubicBezTo>
                  <a:pt x="1050925" y="5635971"/>
                  <a:pt x="1106170" y="5664546"/>
                  <a:pt x="1123950" y="5628986"/>
                </a:cubicBezTo>
                <a:close/>
                <a:moveTo>
                  <a:pt x="1053465" y="5769956"/>
                </a:moveTo>
                <a:cubicBezTo>
                  <a:pt x="1015365" y="5738206"/>
                  <a:pt x="966470" y="5798531"/>
                  <a:pt x="1005840" y="5829011"/>
                </a:cubicBezTo>
                <a:cubicBezTo>
                  <a:pt x="1043305" y="5860761"/>
                  <a:pt x="1092200" y="5800436"/>
                  <a:pt x="1053465" y="5769956"/>
                </a:cubicBezTo>
                <a:close/>
                <a:moveTo>
                  <a:pt x="703580" y="5507701"/>
                </a:moveTo>
                <a:cubicBezTo>
                  <a:pt x="679450" y="5506431"/>
                  <a:pt x="678180" y="5543896"/>
                  <a:pt x="702310" y="5544531"/>
                </a:cubicBezTo>
                <a:cubicBezTo>
                  <a:pt x="725805" y="5545801"/>
                  <a:pt x="727075" y="5508336"/>
                  <a:pt x="703580" y="5507701"/>
                </a:cubicBezTo>
                <a:close/>
                <a:moveTo>
                  <a:pt x="758190" y="5587711"/>
                </a:moveTo>
                <a:cubicBezTo>
                  <a:pt x="737870" y="5590251"/>
                  <a:pt x="742315" y="5622001"/>
                  <a:pt x="762635" y="5619461"/>
                </a:cubicBezTo>
                <a:cubicBezTo>
                  <a:pt x="782955" y="5616921"/>
                  <a:pt x="778510" y="5584536"/>
                  <a:pt x="758190" y="5587711"/>
                </a:cubicBezTo>
                <a:close/>
                <a:moveTo>
                  <a:pt x="695325" y="5595966"/>
                </a:moveTo>
                <a:cubicBezTo>
                  <a:pt x="675005" y="5598506"/>
                  <a:pt x="678815" y="5630256"/>
                  <a:pt x="699135" y="5627716"/>
                </a:cubicBezTo>
                <a:cubicBezTo>
                  <a:pt x="719455" y="5625176"/>
                  <a:pt x="715645" y="5592791"/>
                  <a:pt x="695325" y="5595966"/>
                </a:cubicBezTo>
                <a:close/>
                <a:moveTo>
                  <a:pt x="900430" y="5677246"/>
                </a:moveTo>
                <a:cubicBezTo>
                  <a:pt x="864235" y="5710901"/>
                  <a:pt x="918210" y="5766781"/>
                  <a:pt x="953135" y="5732491"/>
                </a:cubicBezTo>
                <a:cubicBezTo>
                  <a:pt x="989330" y="5698836"/>
                  <a:pt x="935355" y="5642956"/>
                  <a:pt x="900430" y="5677246"/>
                </a:cubicBezTo>
                <a:close/>
                <a:moveTo>
                  <a:pt x="1282700" y="5893781"/>
                </a:moveTo>
                <a:cubicBezTo>
                  <a:pt x="1235075" y="5879811"/>
                  <a:pt x="1214755" y="5954741"/>
                  <a:pt x="1262380" y="5967441"/>
                </a:cubicBezTo>
                <a:cubicBezTo>
                  <a:pt x="1310005" y="5981411"/>
                  <a:pt x="1330960" y="5906481"/>
                  <a:pt x="1282700" y="5893781"/>
                </a:cubicBezTo>
                <a:close/>
                <a:moveTo>
                  <a:pt x="1316990" y="5668991"/>
                </a:moveTo>
                <a:cubicBezTo>
                  <a:pt x="1278890" y="5657561"/>
                  <a:pt x="1262380" y="5718521"/>
                  <a:pt x="1301115" y="5728046"/>
                </a:cubicBezTo>
                <a:cubicBezTo>
                  <a:pt x="1338580" y="5739476"/>
                  <a:pt x="1355725" y="5679151"/>
                  <a:pt x="1316990" y="5668991"/>
                </a:cubicBezTo>
                <a:close/>
                <a:moveTo>
                  <a:pt x="1136015" y="5663911"/>
                </a:moveTo>
                <a:cubicBezTo>
                  <a:pt x="1087755" y="5637876"/>
                  <a:pt x="1064895" y="5724871"/>
                  <a:pt x="1119505" y="5726141"/>
                </a:cubicBezTo>
                <a:cubicBezTo>
                  <a:pt x="1152525" y="5727411"/>
                  <a:pt x="1165225" y="5679151"/>
                  <a:pt x="1136015" y="5663911"/>
                </a:cubicBezTo>
                <a:close/>
                <a:moveTo>
                  <a:pt x="1264920" y="5802976"/>
                </a:moveTo>
                <a:cubicBezTo>
                  <a:pt x="1213485" y="5784561"/>
                  <a:pt x="1198245" y="5871556"/>
                  <a:pt x="1252855" y="5872191"/>
                </a:cubicBezTo>
                <a:cubicBezTo>
                  <a:pt x="1290955" y="5873461"/>
                  <a:pt x="1301750" y="5815041"/>
                  <a:pt x="1264920" y="5802976"/>
                </a:cubicBezTo>
                <a:close/>
                <a:moveTo>
                  <a:pt x="1116330" y="5811866"/>
                </a:moveTo>
                <a:cubicBezTo>
                  <a:pt x="1155700" y="5835361"/>
                  <a:pt x="1192530" y="5772496"/>
                  <a:pt x="1151890" y="5750271"/>
                </a:cubicBezTo>
                <a:cubicBezTo>
                  <a:pt x="1112520" y="5726776"/>
                  <a:pt x="1075690" y="5789641"/>
                  <a:pt x="1116330" y="5811866"/>
                </a:cubicBezTo>
                <a:close/>
                <a:moveTo>
                  <a:pt x="1162685" y="5844251"/>
                </a:moveTo>
                <a:cubicBezTo>
                  <a:pt x="1119505" y="5819486"/>
                  <a:pt x="1082040" y="5888066"/>
                  <a:pt x="1125855" y="5910926"/>
                </a:cubicBezTo>
                <a:cubicBezTo>
                  <a:pt x="1169035" y="5935691"/>
                  <a:pt x="1206500" y="5867746"/>
                  <a:pt x="1162685" y="5844251"/>
                </a:cubicBezTo>
                <a:close/>
                <a:moveTo>
                  <a:pt x="1242060" y="5715346"/>
                </a:moveTo>
                <a:cubicBezTo>
                  <a:pt x="1193800" y="5696931"/>
                  <a:pt x="1177925" y="5778846"/>
                  <a:pt x="1229995" y="5779481"/>
                </a:cubicBezTo>
                <a:cubicBezTo>
                  <a:pt x="1264920" y="5780116"/>
                  <a:pt x="1275715" y="5727411"/>
                  <a:pt x="1242060" y="5715346"/>
                </a:cubicBezTo>
                <a:close/>
                <a:moveTo>
                  <a:pt x="647065" y="5441661"/>
                </a:moveTo>
                <a:cubicBezTo>
                  <a:pt x="640715" y="5467696"/>
                  <a:pt x="681990" y="5477221"/>
                  <a:pt x="687705" y="5450551"/>
                </a:cubicBezTo>
                <a:cubicBezTo>
                  <a:pt x="694055" y="5424516"/>
                  <a:pt x="652780" y="5415626"/>
                  <a:pt x="647065" y="5441661"/>
                </a:cubicBezTo>
                <a:close/>
                <a:moveTo>
                  <a:pt x="480695" y="5237826"/>
                </a:moveTo>
                <a:cubicBezTo>
                  <a:pt x="507365" y="5257511"/>
                  <a:pt x="538480" y="5215601"/>
                  <a:pt x="511175" y="5195916"/>
                </a:cubicBezTo>
                <a:cubicBezTo>
                  <a:pt x="484505" y="5176231"/>
                  <a:pt x="453390" y="5218776"/>
                  <a:pt x="480695" y="5237826"/>
                </a:cubicBezTo>
                <a:close/>
                <a:moveTo>
                  <a:pt x="506095" y="5616921"/>
                </a:moveTo>
                <a:cubicBezTo>
                  <a:pt x="485775" y="5618826"/>
                  <a:pt x="488950" y="5650576"/>
                  <a:pt x="509270" y="5648671"/>
                </a:cubicBezTo>
                <a:cubicBezTo>
                  <a:pt x="530225" y="5646766"/>
                  <a:pt x="527050" y="5615016"/>
                  <a:pt x="506095" y="5616921"/>
                </a:cubicBezTo>
                <a:close/>
                <a:moveTo>
                  <a:pt x="505460" y="5514686"/>
                </a:moveTo>
                <a:cubicBezTo>
                  <a:pt x="508000" y="5491191"/>
                  <a:pt x="470535" y="5488016"/>
                  <a:pt x="468630" y="5511511"/>
                </a:cubicBezTo>
                <a:cubicBezTo>
                  <a:pt x="466725" y="5535006"/>
                  <a:pt x="503555" y="5538181"/>
                  <a:pt x="505460" y="5514686"/>
                </a:cubicBezTo>
                <a:close/>
                <a:moveTo>
                  <a:pt x="379730" y="5628351"/>
                </a:moveTo>
                <a:cubicBezTo>
                  <a:pt x="359410" y="5629621"/>
                  <a:pt x="361950" y="5662006"/>
                  <a:pt x="382270" y="5660101"/>
                </a:cubicBezTo>
                <a:cubicBezTo>
                  <a:pt x="403225" y="5658831"/>
                  <a:pt x="400685" y="5626446"/>
                  <a:pt x="379730" y="5628351"/>
                </a:cubicBezTo>
                <a:close/>
                <a:moveTo>
                  <a:pt x="516890" y="5387051"/>
                </a:moveTo>
                <a:cubicBezTo>
                  <a:pt x="490855" y="5379431"/>
                  <a:pt x="479425" y="5420071"/>
                  <a:pt x="506095" y="5427056"/>
                </a:cubicBezTo>
                <a:cubicBezTo>
                  <a:pt x="531495" y="5435311"/>
                  <a:pt x="543560" y="5394036"/>
                  <a:pt x="516890" y="5387051"/>
                </a:cubicBezTo>
                <a:close/>
                <a:moveTo>
                  <a:pt x="417195" y="5488016"/>
                </a:moveTo>
                <a:cubicBezTo>
                  <a:pt x="393700" y="5485476"/>
                  <a:pt x="389890" y="5522306"/>
                  <a:pt x="413385" y="5524846"/>
                </a:cubicBezTo>
                <a:cubicBezTo>
                  <a:pt x="437515" y="5527386"/>
                  <a:pt x="441325" y="5489921"/>
                  <a:pt x="417195" y="5488016"/>
                </a:cubicBezTo>
                <a:close/>
                <a:moveTo>
                  <a:pt x="443230" y="5623271"/>
                </a:moveTo>
                <a:cubicBezTo>
                  <a:pt x="422910" y="5624541"/>
                  <a:pt x="425450" y="5656926"/>
                  <a:pt x="445770" y="5655021"/>
                </a:cubicBezTo>
                <a:cubicBezTo>
                  <a:pt x="466725" y="5653116"/>
                  <a:pt x="463550" y="5620731"/>
                  <a:pt x="443230" y="5623271"/>
                </a:cubicBezTo>
                <a:close/>
                <a:moveTo>
                  <a:pt x="523875" y="5291166"/>
                </a:moveTo>
                <a:cubicBezTo>
                  <a:pt x="497205" y="5277831"/>
                  <a:pt x="476250" y="5320376"/>
                  <a:pt x="503555" y="5333076"/>
                </a:cubicBezTo>
                <a:cubicBezTo>
                  <a:pt x="530225" y="5347046"/>
                  <a:pt x="551180" y="5304501"/>
                  <a:pt x="523875" y="5291166"/>
                </a:cubicBezTo>
                <a:close/>
                <a:moveTo>
                  <a:pt x="631825" y="5504526"/>
                </a:moveTo>
                <a:cubicBezTo>
                  <a:pt x="607695" y="5502621"/>
                  <a:pt x="606425" y="5541356"/>
                  <a:pt x="631190" y="5541356"/>
                </a:cubicBezTo>
                <a:cubicBezTo>
                  <a:pt x="654050" y="5541356"/>
                  <a:pt x="654685" y="5505161"/>
                  <a:pt x="631825" y="5504526"/>
                </a:cubicBezTo>
                <a:close/>
                <a:moveTo>
                  <a:pt x="346075" y="5480396"/>
                </a:moveTo>
                <a:cubicBezTo>
                  <a:pt x="322580" y="5477221"/>
                  <a:pt x="318135" y="5514686"/>
                  <a:pt x="341630" y="5516591"/>
                </a:cubicBezTo>
                <a:cubicBezTo>
                  <a:pt x="365125" y="5519766"/>
                  <a:pt x="370205" y="5482301"/>
                  <a:pt x="346075" y="5480396"/>
                </a:cubicBezTo>
                <a:close/>
                <a:moveTo>
                  <a:pt x="179070" y="4354541"/>
                </a:moveTo>
                <a:cubicBezTo>
                  <a:pt x="100965" y="4390101"/>
                  <a:pt x="212090" y="4472651"/>
                  <a:pt x="223520" y="4387561"/>
                </a:cubicBezTo>
                <a:cubicBezTo>
                  <a:pt x="246380" y="4383751"/>
                  <a:pt x="260985" y="4358986"/>
                  <a:pt x="252730" y="4336761"/>
                </a:cubicBezTo>
                <a:cubicBezTo>
                  <a:pt x="238760" y="4294851"/>
                  <a:pt x="173355" y="4311361"/>
                  <a:pt x="179070" y="4354541"/>
                </a:cubicBezTo>
                <a:close/>
                <a:moveTo>
                  <a:pt x="632460" y="5603586"/>
                </a:moveTo>
                <a:cubicBezTo>
                  <a:pt x="612140" y="5605491"/>
                  <a:pt x="615950" y="5637876"/>
                  <a:pt x="636270" y="5635336"/>
                </a:cubicBezTo>
                <a:cubicBezTo>
                  <a:pt x="656590" y="5632796"/>
                  <a:pt x="652780" y="5600411"/>
                  <a:pt x="632460" y="5603586"/>
                </a:cubicBezTo>
                <a:close/>
                <a:moveTo>
                  <a:pt x="560070" y="5500081"/>
                </a:moveTo>
                <a:cubicBezTo>
                  <a:pt x="535305" y="5498176"/>
                  <a:pt x="534035" y="5536911"/>
                  <a:pt x="558800" y="5536911"/>
                </a:cubicBezTo>
                <a:cubicBezTo>
                  <a:pt x="581660" y="5537546"/>
                  <a:pt x="583565" y="5501351"/>
                  <a:pt x="560070" y="5500081"/>
                </a:cubicBezTo>
                <a:close/>
                <a:moveTo>
                  <a:pt x="569595" y="5610571"/>
                </a:moveTo>
                <a:cubicBezTo>
                  <a:pt x="548640" y="5612476"/>
                  <a:pt x="552450" y="5644861"/>
                  <a:pt x="572770" y="5642321"/>
                </a:cubicBezTo>
                <a:cubicBezTo>
                  <a:pt x="593090" y="5640416"/>
                  <a:pt x="589915" y="5608031"/>
                  <a:pt x="569595" y="5610571"/>
                </a:cubicBezTo>
                <a:close/>
                <a:moveTo>
                  <a:pt x="594360" y="5407371"/>
                </a:moveTo>
                <a:cubicBezTo>
                  <a:pt x="568325" y="5400386"/>
                  <a:pt x="558165" y="5441661"/>
                  <a:pt x="584200" y="5448011"/>
                </a:cubicBezTo>
                <a:cubicBezTo>
                  <a:pt x="610235" y="5454996"/>
                  <a:pt x="621030" y="5413721"/>
                  <a:pt x="594360" y="5407371"/>
                </a:cubicBezTo>
                <a:close/>
              </a:path>
            </a:pathLst>
          </a:custGeom>
          <a:gradFill>
            <a:gsLst>
              <a:gs pos="0">
                <a:schemeClr val="accent1"/>
              </a:gs>
              <a:gs pos="100000">
                <a:schemeClr val="accent2"/>
              </a:gs>
            </a:gsLst>
            <a:lin ang="10800025"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 name="Google Shape;11;p2"/>
          <p:cNvSpPr txBox="1">
            <a:spLocks noGrp="1"/>
          </p:cNvSpPr>
          <p:nvPr>
            <p:ph type="ctrTitle"/>
          </p:nvPr>
        </p:nvSpPr>
        <p:spPr>
          <a:xfrm>
            <a:off x="1037875" y="1662450"/>
            <a:ext cx="7068300" cy="18186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Clr>
                <a:schemeClr val="lt1"/>
              </a:buClr>
              <a:buSzPts val="6800"/>
              <a:buNone/>
              <a:defRPr sz="6800">
                <a:solidFill>
                  <a:schemeClr val="lt1"/>
                </a:solidFill>
              </a:defRPr>
            </a:lvl1pPr>
            <a:lvl2pPr lvl="1" rtl="0">
              <a:lnSpc>
                <a:spcPct val="100000"/>
              </a:lnSpc>
              <a:spcBef>
                <a:spcPts val="0"/>
              </a:spcBef>
              <a:spcAft>
                <a:spcPts val="0"/>
              </a:spcAft>
              <a:buClr>
                <a:schemeClr val="lt1"/>
              </a:buClr>
              <a:buSzPts val="6800"/>
              <a:buNone/>
              <a:defRPr sz="6800">
                <a:solidFill>
                  <a:schemeClr val="lt1"/>
                </a:solidFill>
              </a:defRPr>
            </a:lvl2pPr>
            <a:lvl3pPr lvl="2" rtl="0">
              <a:lnSpc>
                <a:spcPct val="100000"/>
              </a:lnSpc>
              <a:spcBef>
                <a:spcPts val="0"/>
              </a:spcBef>
              <a:spcAft>
                <a:spcPts val="0"/>
              </a:spcAft>
              <a:buClr>
                <a:schemeClr val="lt1"/>
              </a:buClr>
              <a:buSzPts val="6800"/>
              <a:buNone/>
              <a:defRPr sz="6800">
                <a:solidFill>
                  <a:schemeClr val="lt1"/>
                </a:solidFill>
              </a:defRPr>
            </a:lvl3pPr>
            <a:lvl4pPr lvl="3" rtl="0">
              <a:lnSpc>
                <a:spcPct val="100000"/>
              </a:lnSpc>
              <a:spcBef>
                <a:spcPts val="0"/>
              </a:spcBef>
              <a:spcAft>
                <a:spcPts val="0"/>
              </a:spcAft>
              <a:buClr>
                <a:schemeClr val="lt1"/>
              </a:buClr>
              <a:buSzPts val="6800"/>
              <a:buNone/>
              <a:defRPr sz="6800">
                <a:solidFill>
                  <a:schemeClr val="lt1"/>
                </a:solidFill>
              </a:defRPr>
            </a:lvl4pPr>
            <a:lvl5pPr lvl="4" rtl="0">
              <a:lnSpc>
                <a:spcPct val="100000"/>
              </a:lnSpc>
              <a:spcBef>
                <a:spcPts val="0"/>
              </a:spcBef>
              <a:spcAft>
                <a:spcPts val="0"/>
              </a:spcAft>
              <a:buClr>
                <a:schemeClr val="lt1"/>
              </a:buClr>
              <a:buSzPts val="6800"/>
              <a:buNone/>
              <a:defRPr sz="6800">
                <a:solidFill>
                  <a:schemeClr val="lt1"/>
                </a:solidFill>
              </a:defRPr>
            </a:lvl5pPr>
            <a:lvl6pPr lvl="5" rtl="0">
              <a:lnSpc>
                <a:spcPct val="100000"/>
              </a:lnSpc>
              <a:spcBef>
                <a:spcPts val="0"/>
              </a:spcBef>
              <a:spcAft>
                <a:spcPts val="0"/>
              </a:spcAft>
              <a:buClr>
                <a:schemeClr val="lt1"/>
              </a:buClr>
              <a:buSzPts val="6800"/>
              <a:buNone/>
              <a:defRPr sz="6800">
                <a:solidFill>
                  <a:schemeClr val="lt1"/>
                </a:solidFill>
              </a:defRPr>
            </a:lvl6pPr>
            <a:lvl7pPr lvl="6" rtl="0">
              <a:lnSpc>
                <a:spcPct val="100000"/>
              </a:lnSpc>
              <a:spcBef>
                <a:spcPts val="0"/>
              </a:spcBef>
              <a:spcAft>
                <a:spcPts val="0"/>
              </a:spcAft>
              <a:buClr>
                <a:schemeClr val="lt1"/>
              </a:buClr>
              <a:buSzPts val="6800"/>
              <a:buNone/>
              <a:defRPr sz="6800">
                <a:solidFill>
                  <a:schemeClr val="lt1"/>
                </a:solidFill>
              </a:defRPr>
            </a:lvl7pPr>
            <a:lvl8pPr lvl="7" rtl="0">
              <a:lnSpc>
                <a:spcPct val="100000"/>
              </a:lnSpc>
              <a:spcBef>
                <a:spcPts val="0"/>
              </a:spcBef>
              <a:spcAft>
                <a:spcPts val="0"/>
              </a:spcAft>
              <a:buClr>
                <a:schemeClr val="lt1"/>
              </a:buClr>
              <a:buSzPts val="6800"/>
              <a:buNone/>
              <a:defRPr sz="6800">
                <a:solidFill>
                  <a:schemeClr val="lt1"/>
                </a:solidFill>
              </a:defRPr>
            </a:lvl8pPr>
            <a:lvl9pPr lvl="8" rtl="0">
              <a:lnSpc>
                <a:spcPct val="100000"/>
              </a:lnSpc>
              <a:spcBef>
                <a:spcPts val="0"/>
              </a:spcBef>
              <a:spcAft>
                <a:spcPts val="0"/>
              </a:spcAft>
              <a:buClr>
                <a:schemeClr val="lt1"/>
              </a:buClr>
              <a:buSzPts val="6800"/>
              <a:buNone/>
              <a:defRPr sz="6800">
                <a:solidFill>
                  <a:schemeClr val="lt1"/>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DB182-059E-41F6-8C9E-978A4E1390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F23911-67AA-F5AB-E42E-77099AF3039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95309A-1078-E0C1-948F-723C1614F6A5}"/>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D125D7EA-91D3-C34B-EB74-65D95AD2E9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BEED39-FBFD-1671-E937-F005FCB3639B}"/>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5758048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3AE9D-BCAC-6DA8-DC6A-F94F32EEC077}"/>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DE305C9-6424-F523-F13C-DBF2DC505B95}"/>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30E3ED-F691-13E9-D37A-091D4B0D0A6D}"/>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82A88664-4C82-145C-D427-C3D34F9FAF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62F8E-31E9-27E8-7810-7740D7D3338C}"/>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20344194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C8D8A-0EC0-4D66-2495-0C2034F5FF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5B0A72-2D50-9481-572E-6BAD0D4F913F}"/>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B94297-21C8-5BDD-83C8-0605C88ECFF8}"/>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54EB35D-B686-513B-C18C-B6F81D5F9FA4}"/>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6" name="Footer Placeholder 5">
            <a:extLst>
              <a:ext uri="{FF2B5EF4-FFF2-40B4-BE49-F238E27FC236}">
                <a16:creationId xmlns:a16="http://schemas.microsoft.com/office/drawing/2014/main" id="{3404D739-7DC4-DB74-C4D5-F817AF423D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A8C74C-CD9B-9679-7A13-32D28642705F}"/>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38820318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E2867-5BD6-FD41-118E-EAFAAC00B8FD}"/>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5669E2-44FC-CA6F-2523-9E92D28FF54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2514B8AA-F299-6BE3-64CA-F66AD8EB5491}"/>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AA66FAE-AC64-8127-B535-41328C72F4F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0A30964-12A1-E8D1-CA3F-0F7ECFE7BAA5}"/>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343623-A317-3748-C578-58D07D95F865}"/>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8" name="Footer Placeholder 7">
            <a:extLst>
              <a:ext uri="{FF2B5EF4-FFF2-40B4-BE49-F238E27FC236}">
                <a16:creationId xmlns:a16="http://schemas.microsoft.com/office/drawing/2014/main" id="{679A93AB-5201-5DB8-00CD-24A4B8AD245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3B07D2-8BA8-B31F-6A82-E287DA277647}"/>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1806821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83A76-33DC-C8C3-B95E-F1A42A4EF4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A913FAA-0534-D8ED-95E1-46BA2DE60C39}"/>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4" name="Footer Placeholder 3">
            <a:extLst>
              <a:ext uri="{FF2B5EF4-FFF2-40B4-BE49-F238E27FC236}">
                <a16:creationId xmlns:a16="http://schemas.microsoft.com/office/drawing/2014/main" id="{44993DD0-54E6-5B95-19B8-14404719C6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681B072-1CE1-A008-86D2-15BB36858EF7}"/>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24254023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4DE6F1-60DF-9543-2990-9AEC9F1832F3}"/>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3" name="Footer Placeholder 2">
            <a:extLst>
              <a:ext uri="{FF2B5EF4-FFF2-40B4-BE49-F238E27FC236}">
                <a16:creationId xmlns:a16="http://schemas.microsoft.com/office/drawing/2014/main" id="{F819B194-8F4F-DD8F-48AE-6AB9D70EE8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7BA0F1-104C-98E5-DD30-93AAA130E938}"/>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20420657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27F8F-266A-43BF-A50C-407840BEFC6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92645FB8-D949-1489-3B3A-3AAFD7AE8352}"/>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62068C-21B5-C654-B8A7-623837B3217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2A98FE5-BBB3-1F1F-62F6-1C78523E51C3}"/>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6" name="Footer Placeholder 5">
            <a:extLst>
              <a:ext uri="{FF2B5EF4-FFF2-40B4-BE49-F238E27FC236}">
                <a16:creationId xmlns:a16="http://schemas.microsoft.com/office/drawing/2014/main" id="{379A0F6D-EAF0-59DD-0186-108B3DE79F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D17D78-75AF-C4D0-FB28-9E65891934A8}"/>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1025770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3DAF4-DED3-11C0-D0F6-003F831758D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2225390-6190-14FA-A031-6F46DF98FE4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50FD0F7B-B3F6-BCDC-B358-8519D230E3D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2977114D-9FED-4266-EE48-E1D6449CD793}"/>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6" name="Footer Placeholder 5">
            <a:extLst>
              <a:ext uri="{FF2B5EF4-FFF2-40B4-BE49-F238E27FC236}">
                <a16:creationId xmlns:a16="http://schemas.microsoft.com/office/drawing/2014/main" id="{1D4725DE-9001-A21A-7032-432725B714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2A3828-2955-CBEF-B8A8-45D76E514A39}"/>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2414069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69345-F7B5-0212-79FA-8AFA7BC7A3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1711B7-943D-334E-D595-76CD03BA463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4C5FD8-7FDD-6A8A-8E6F-0CB8F38BECF9}"/>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E440F88D-A28E-F131-483E-1644EAFC23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D31D3E-EF30-6C7A-D477-EB0E4B8E349F}"/>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14350308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AB61DB-FDD9-6817-370D-611693CB4266}"/>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4F0375-1F34-C52F-944E-9D15D5860819}"/>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61C7A4-6579-B1C5-D508-7A34F9F233D2}"/>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95E207A3-8816-BDD7-B194-9946BB701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9F9DF8-ADB4-C412-57F5-8CFA6842A141}"/>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832559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 Light" type="blank">
  <p:cSld name="BLANK">
    <p:spTree>
      <p:nvGrpSpPr>
        <p:cNvPr id="1" name="Shape 47"/>
        <p:cNvGrpSpPr/>
        <p:nvPr/>
      </p:nvGrpSpPr>
      <p:grpSpPr>
        <a:xfrm>
          <a:off x="0" y="0"/>
          <a:ext cx="0" cy="0"/>
          <a:chOff x="0" y="0"/>
          <a:chExt cx="0" cy="0"/>
        </a:xfrm>
      </p:grpSpPr>
      <p:sp>
        <p:nvSpPr>
          <p:cNvPr id="48" name="Google Shape;48;p10"/>
          <p:cNvSpPr/>
          <p:nvPr/>
        </p:nvSpPr>
        <p:spPr>
          <a:xfrm>
            <a:off x="0" y="1455585"/>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solidFill>
            <a:srgbClr val="0072D1">
              <a:alpha val="15639"/>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 name="Google Shape;49;p10"/>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4"/>
            <a:ext cx="7772400" cy="43858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10191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5"/>
            <a:ext cx="7688057" cy="298223"/>
          </a:xfrm>
        </p:spPr>
        <p:txBody>
          <a:bodyPr lIns="0" tIns="0" rIns="0" bIns="0"/>
          <a:lstStyle>
            <a:lvl1pPr>
              <a:defRPr sz="1938" b="1"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980519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5"/>
            <a:ext cx="7688057" cy="298223"/>
          </a:xfrm>
        </p:spPr>
        <p:txBody>
          <a:bodyPr lIns="0" tIns="0" rIns="0" bIns="0"/>
          <a:lstStyle>
            <a:lvl1pPr>
              <a:defRPr sz="1938"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57200" y="1183005"/>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784472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5"/>
            <a:ext cx="7688057" cy="298223"/>
          </a:xfrm>
        </p:spPr>
        <p:txBody>
          <a:bodyPr lIns="0" tIns="0" rIns="0" bIns="0"/>
          <a:lstStyle>
            <a:lvl1pPr>
              <a:defRPr sz="1938" b="1" i="0">
                <a:solidFill>
                  <a:schemeClr val="bg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645051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23966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43858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696117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6"/>
            <a:ext cx="7688058" cy="281316"/>
          </a:xfrm>
        </p:spPr>
        <p:txBody>
          <a:bodyPr lIns="0" tIns="0" rIns="0" bIns="0"/>
          <a:lstStyle>
            <a:lvl1pPr>
              <a:defRPr sz="1828" b="1"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020359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6"/>
            <a:ext cx="7688058" cy="281316"/>
          </a:xfrm>
        </p:spPr>
        <p:txBody>
          <a:bodyPr lIns="0" tIns="0" rIns="0" bIns="0"/>
          <a:lstStyle>
            <a:lvl1pPr>
              <a:defRPr sz="1828"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57200" y="1183006"/>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6"/>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57745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27971" y="343236"/>
            <a:ext cx="7688058" cy="281316"/>
          </a:xfrm>
        </p:spPr>
        <p:txBody>
          <a:bodyPr lIns="0" tIns="0" rIns="0" bIns="0"/>
          <a:lstStyle>
            <a:lvl1pPr>
              <a:defRPr sz="1828" b="1" i="0">
                <a:solidFill>
                  <a:schemeClr val="bg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80760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5643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 Dark">
  <p:cSld name="BLANK_1">
    <p:spTree>
      <p:nvGrpSpPr>
        <p:cNvPr id="1" name="Shape 50"/>
        <p:cNvGrpSpPr/>
        <p:nvPr/>
      </p:nvGrpSpPr>
      <p:grpSpPr>
        <a:xfrm>
          <a:off x="0" y="0"/>
          <a:ext cx="0" cy="0"/>
          <a:chOff x="0" y="0"/>
          <a:chExt cx="0" cy="0"/>
        </a:xfrm>
      </p:grpSpPr>
      <p:sp>
        <p:nvSpPr>
          <p:cNvPr id="51" name="Google Shape;51;p11"/>
          <p:cNvSpPr/>
          <p:nvPr/>
        </p:nvSpPr>
        <p:spPr>
          <a:xfrm>
            <a:off x="0" y="1455585"/>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solidFill>
            <a:srgbClr val="FFFFFF">
              <a:alpha val="2346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2" name="Google Shape;52;p11"/>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38" b="1"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3C7B01F2-8D8A-453D-A7F0-DCC5EB325382}" type="datetime1">
              <a:rPr lang="en-US" smtClean="0"/>
              <a:t>10/20/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5604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21"/>
        <p:cNvGrpSpPr/>
        <p:nvPr/>
      </p:nvGrpSpPr>
      <p:grpSpPr>
        <a:xfrm>
          <a:off x="0" y="0"/>
          <a:ext cx="0" cy="0"/>
          <a:chOff x="0" y="0"/>
          <a:chExt cx="0" cy="0"/>
        </a:xfrm>
      </p:grpSpPr>
      <p:sp>
        <p:nvSpPr>
          <p:cNvPr id="22" name="Google Shape;22;p5"/>
          <p:cNvSpPr/>
          <p:nvPr/>
        </p:nvSpPr>
        <p:spPr>
          <a:xfrm>
            <a:off x="0" y="2625825"/>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gradFill>
            <a:gsLst>
              <a:gs pos="0">
                <a:schemeClr val="accent1"/>
              </a:gs>
              <a:gs pos="22000">
                <a:schemeClr val="lt2"/>
              </a:gs>
              <a:gs pos="63000">
                <a:schemeClr val="lt2"/>
              </a:gs>
              <a:gs pos="85000">
                <a:schemeClr val="accent1"/>
              </a:gs>
              <a:gs pos="100000">
                <a:schemeClr val="accent2"/>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3" name="Google Shape;23;p5"/>
          <p:cNvSpPr txBox="1">
            <a:spLocks noGrp="1"/>
          </p:cNvSpPr>
          <p:nvPr>
            <p:ph type="title"/>
          </p:nvPr>
        </p:nvSpPr>
        <p:spPr>
          <a:xfrm>
            <a:off x="1037875" y="836000"/>
            <a:ext cx="7068300" cy="396300"/>
          </a:xfrm>
          <a:prstGeom prst="rect">
            <a:avLst/>
          </a:prstGeom>
        </p:spPr>
        <p:txBody>
          <a:bodyPr spcFirstLastPara="1" wrap="square" lIns="0" tIns="0" rIns="0" bIns="0"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4" name="Google Shape;24;p5"/>
          <p:cNvSpPr txBox="1">
            <a:spLocks noGrp="1"/>
          </p:cNvSpPr>
          <p:nvPr>
            <p:ph type="body" idx="1"/>
          </p:nvPr>
        </p:nvSpPr>
        <p:spPr>
          <a:xfrm>
            <a:off x="1037875" y="1353948"/>
            <a:ext cx="7068300" cy="3033900"/>
          </a:xfrm>
          <a:prstGeom prst="rect">
            <a:avLst/>
          </a:prstGeom>
        </p:spPr>
        <p:txBody>
          <a:bodyPr spcFirstLastPara="1" wrap="square" lIns="0" tIns="0" rIns="0" bIns="0" anchor="t" anchorCtr="0">
            <a:noAutofit/>
          </a:bodyPr>
          <a:lstStyle>
            <a:lvl1pPr marL="457189" lvl="0" indent="-380990" rtl="0">
              <a:spcBef>
                <a:spcPts val="600"/>
              </a:spcBef>
              <a:spcAft>
                <a:spcPts val="0"/>
              </a:spcAft>
              <a:buSzPts val="2400"/>
              <a:buChar char="●"/>
              <a:defRPr/>
            </a:lvl1pPr>
            <a:lvl2pPr marL="914378" lvl="1" indent="-380990" rtl="0">
              <a:spcBef>
                <a:spcPts val="0"/>
              </a:spcBef>
              <a:spcAft>
                <a:spcPts val="0"/>
              </a:spcAft>
              <a:buSzPts val="2400"/>
              <a:buChar char="○"/>
              <a:defRPr/>
            </a:lvl2pPr>
            <a:lvl3pPr marL="1371566" lvl="2" indent="-380990" rtl="0">
              <a:spcBef>
                <a:spcPts val="0"/>
              </a:spcBef>
              <a:spcAft>
                <a:spcPts val="0"/>
              </a:spcAft>
              <a:buSzPts val="2400"/>
              <a:buChar char="■"/>
              <a:defRPr/>
            </a:lvl3pPr>
            <a:lvl4pPr marL="1828754" lvl="3" indent="-380990" rtl="0">
              <a:spcBef>
                <a:spcPts val="0"/>
              </a:spcBef>
              <a:spcAft>
                <a:spcPts val="0"/>
              </a:spcAft>
              <a:buSzPts val="2400"/>
              <a:buChar char="●"/>
              <a:defRPr/>
            </a:lvl4pPr>
            <a:lvl5pPr marL="2285943" lvl="4" indent="-380990" rtl="0">
              <a:spcBef>
                <a:spcPts val="0"/>
              </a:spcBef>
              <a:spcAft>
                <a:spcPts val="0"/>
              </a:spcAft>
              <a:buSzPts val="2400"/>
              <a:buChar char="○"/>
              <a:defRPr/>
            </a:lvl5pPr>
            <a:lvl6pPr marL="2743132" lvl="5" indent="-380990" rtl="0">
              <a:spcBef>
                <a:spcPts val="0"/>
              </a:spcBef>
              <a:spcAft>
                <a:spcPts val="0"/>
              </a:spcAft>
              <a:buSzPts val="2400"/>
              <a:buChar char="■"/>
              <a:defRPr/>
            </a:lvl6pPr>
            <a:lvl7pPr marL="3200320" lvl="6" indent="-380990" rtl="0">
              <a:spcBef>
                <a:spcPts val="0"/>
              </a:spcBef>
              <a:spcAft>
                <a:spcPts val="0"/>
              </a:spcAft>
              <a:buSzPts val="2400"/>
              <a:buChar char="●"/>
              <a:defRPr/>
            </a:lvl7pPr>
            <a:lvl8pPr marL="3657509" lvl="7" indent="-380990" rtl="0">
              <a:spcBef>
                <a:spcPts val="0"/>
              </a:spcBef>
              <a:spcAft>
                <a:spcPts val="0"/>
              </a:spcAft>
              <a:buSzPts val="2400"/>
              <a:buChar char="○"/>
              <a:defRPr/>
            </a:lvl8pPr>
            <a:lvl9pPr marL="4114697" lvl="8" indent="-380990" rtl="0">
              <a:spcBef>
                <a:spcPts val="0"/>
              </a:spcBef>
              <a:spcAft>
                <a:spcPts val="0"/>
              </a:spcAft>
              <a:buSzPts val="2400"/>
              <a:buChar char="■"/>
              <a:defRPr/>
            </a:lvl9pPr>
          </a:lstStyle>
          <a:p>
            <a:endParaRPr/>
          </a:p>
        </p:txBody>
      </p:sp>
      <p:sp>
        <p:nvSpPr>
          <p:cNvPr id="25" name="Google Shape;25;p5"/>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03513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DB0D2AE-66A6-488E-A8BB-4DCE30902289}" type="datetime1">
              <a:rPr lang="en-US" smtClean="0"/>
              <a:t>10/20/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31437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8C87213E-76CA-5F4C-F7AA-2B9E72F1B782}"/>
              </a:ext>
            </a:extLst>
          </p:cNvPr>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8C87213E-76CA-5F4C-F7AA-2B9E72F1B7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Object 2" hidden="1">
            <a:extLst>
              <a:ext uri="{FF2B5EF4-FFF2-40B4-BE49-F238E27FC236}">
                <a16:creationId xmlns:a16="http://schemas.microsoft.com/office/drawing/2014/main" id="{DD19FB03-5301-A4E2-EACA-5E534EE8790D}"/>
              </a:ext>
            </a:extLst>
          </p:cNvPr>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DD19FB03-5301-A4E2-EACA-5E534EE879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a:extLst>
              <a:ext uri="{FF2B5EF4-FFF2-40B4-BE49-F238E27FC236}">
                <a16:creationId xmlns:a16="http://schemas.microsoft.com/office/drawing/2014/main" id="{3B296CF6-2BA2-A769-F54A-D3D89B484961}"/>
              </a:ext>
            </a:extLst>
          </p:cNvPr>
          <p:cNvCxnSpPr/>
          <p:nvPr/>
        </p:nvCxnSpPr>
        <p:spPr>
          <a:xfrm>
            <a:off x="457200" y="285750"/>
            <a:ext cx="82296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5" name="Picture 5" descr="Logo&#10;&#10;Description automatically generated">
            <a:extLst>
              <a:ext uri="{FF2B5EF4-FFF2-40B4-BE49-F238E27FC236}">
                <a16:creationId xmlns:a16="http://schemas.microsoft.com/office/drawing/2014/main" id="{A80A99C5-8261-153E-BC67-DFA6D99DD9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4723210"/>
            <a:ext cx="414338" cy="13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a:extLst>
              <a:ext uri="{FF2B5EF4-FFF2-40B4-BE49-F238E27FC236}">
                <a16:creationId xmlns:a16="http://schemas.microsoft.com/office/drawing/2014/main" id="{8050FB8C-1544-D1A1-8B7A-95ED7A100A41}"/>
              </a:ext>
            </a:extLst>
          </p:cNvPr>
          <p:cNvSpPr>
            <a:spLocks noChangeArrowheads="1"/>
          </p:cNvSpPr>
          <p:nvPr/>
        </p:nvSpPr>
        <p:spPr bwMode="auto">
          <a:xfrm>
            <a:off x="7118748" y="131542"/>
            <a:ext cx="1331119" cy="93487"/>
          </a:xfrm>
          <a:prstGeom prst="rect">
            <a:avLst/>
          </a:prstGeom>
          <a:noFill/>
          <a:ln>
            <a:noFill/>
          </a:ln>
        </p:spPr>
        <p:txBody>
          <a:bodyPr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fontAlgn="auto" hangingPunct="1">
              <a:lnSpc>
                <a:spcPct val="90000"/>
              </a:lnSpc>
              <a:spcBef>
                <a:spcPts val="0"/>
              </a:spcBef>
              <a:spcAft>
                <a:spcPts val="0"/>
              </a:spcAft>
              <a:defRPr/>
            </a:pPr>
            <a:r>
              <a:rPr lang="en-US" altLang="en-US" sz="675" b="1">
                <a:latin typeface="Visa Dialect Semibold" pitchFamily="2" charset="77"/>
              </a:rPr>
              <a:t>Visa Consulting &amp; Analytics</a:t>
            </a:r>
          </a:p>
        </p:txBody>
      </p:sp>
      <p:pic>
        <p:nvPicPr>
          <p:cNvPr id="7" name="Graphic 8">
            <a:extLst>
              <a:ext uri="{FF2B5EF4-FFF2-40B4-BE49-F238E27FC236}">
                <a16:creationId xmlns:a16="http://schemas.microsoft.com/office/drawing/2014/main" id="{D0F02328-B1BB-DB11-1DFC-131416D86E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2963" y="45244"/>
            <a:ext cx="236935" cy="236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a:extLst>
              <a:ext uri="{FF2B5EF4-FFF2-40B4-BE49-F238E27FC236}">
                <a16:creationId xmlns:a16="http://schemas.microsoft.com/office/drawing/2014/main" id="{A47681AF-EA72-C306-FAEB-3B70C8EC3735}"/>
              </a:ext>
            </a:extLst>
          </p:cNvPr>
          <p:cNvSpPr txBox="1">
            <a:spLocks noChangeArrowheads="1"/>
          </p:cNvSpPr>
          <p:nvPr/>
        </p:nvSpPr>
        <p:spPr bwMode="auto">
          <a:xfrm>
            <a:off x="8395098" y="4794648"/>
            <a:ext cx="291703" cy="138499"/>
          </a:xfrm>
          <a:prstGeom prst="rect">
            <a:avLst/>
          </a:prstGeom>
          <a:noFill/>
          <a:ln>
            <a:noFill/>
          </a:ln>
        </p:spPr>
        <p:txBody>
          <a:bodyPr lIns="0" tIns="0" rIns="0" bIns="0">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fontAlgn="base">
              <a:spcBef>
                <a:spcPct val="0"/>
              </a:spcBef>
              <a:spcAft>
                <a:spcPct val="0"/>
              </a:spcAft>
              <a:defRPr>
                <a:solidFill>
                  <a:schemeClr val="tx1"/>
                </a:solidFill>
                <a:latin typeface="Visa Dialect Regular" pitchFamily="2" charset="0"/>
              </a:defRPr>
            </a:lvl6pPr>
            <a:lvl7pPr marL="2971800" indent="-228600" fontAlgn="base">
              <a:spcBef>
                <a:spcPct val="0"/>
              </a:spcBef>
              <a:spcAft>
                <a:spcPct val="0"/>
              </a:spcAft>
              <a:defRPr>
                <a:solidFill>
                  <a:schemeClr val="tx1"/>
                </a:solidFill>
                <a:latin typeface="Visa Dialect Regular" pitchFamily="2" charset="0"/>
              </a:defRPr>
            </a:lvl7pPr>
            <a:lvl8pPr marL="3429000" indent="-228600" fontAlgn="base">
              <a:spcBef>
                <a:spcPct val="0"/>
              </a:spcBef>
              <a:spcAft>
                <a:spcPct val="0"/>
              </a:spcAft>
              <a:defRPr>
                <a:solidFill>
                  <a:schemeClr val="tx1"/>
                </a:solidFill>
                <a:latin typeface="Visa Dialect Regular" pitchFamily="2" charset="0"/>
              </a:defRPr>
            </a:lvl8pPr>
            <a:lvl9pPr marL="3886200" indent="-228600" fontAlgn="base">
              <a:spcBef>
                <a:spcPct val="0"/>
              </a:spcBef>
              <a:spcAft>
                <a:spcPct val="0"/>
              </a:spcAft>
              <a:defRPr>
                <a:solidFill>
                  <a:schemeClr val="tx1"/>
                </a:solidFill>
                <a:latin typeface="Visa Dialect Regular" pitchFamily="2" charset="0"/>
              </a:defRPr>
            </a:lvl9pPr>
          </a:lstStyle>
          <a:p>
            <a:pPr algn="r" eaLnBrk="1" hangingPunct="1">
              <a:defRPr/>
            </a:pPr>
            <a:fld id="{D43B2B0C-9348-4485-9887-A9B4E3C9F2F2}" type="slidenum">
              <a:rPr lang="en-US" altLang="en-US" sz="900" smtClean="0">
                <a:solidFill>
                  <a:schemeClr val="bg2"/>
                </a:solidFill>
                <a:latin typeface="Visa Dialect Semibold" pitchFamily="2" charset="0"/>
              </a:rPr>
              <a:pPr algn="r" eaLnBrk="1" hangingPunct="1">
                <a:defRPr/>
              </a:pPr>
              <a:t>‹#›</a:t>
            </a:fld>
            <a:endParaRPr lang="en-US" altLang="en-US" sz="450">
              <a:solidFill>
                <a:schemeClr val="bg2"/>
              </a:solidFill>
              <a:latin typeface="Visa Dialect Semibold" pitchFamily="2" charset="0"/>
            </a:endParaRPr>
          </a:p>
        </p:txBody>
      </p:sp>
      <p:sp>
        <p:nvSpPr>
          <p:cNvPr id="9" name="TextBox 10">
            <a:extLst>
              <a:ext uri="{FF2B5EF4-FFF2-40B4-BE49-F238E27FC236}">
                <a16:creationId xmlns:a16="http://schemas.microsoft.com/office/drawing/2014/main" id="{FBC6FFCA-CFB9-63C8-C481-7672349F63C6}"/>
              </a:ext>
            </a:extLst>
          </p:cNvPr>
          <p:cNvSpPr txBox="1">
            <a:spLocks noChangeArrowheads="1"/>
          </p:cNvSpPr>
          <p:nvPr/>
        </p:nvSpPr>
        <p:spPr bwMode="auto">
          <a:xfrm>
            <a:off x="6360319" y="4820550"/>
            <a:ext cx="2089547" cy="103875"/>
          </a:xfrm>
          <a:prstGeom prst="rect">
            <a:avLst/>
          </a:prstGeom>
          <a:noFill/>
          <a:ln>
            <a:noFill/>
          </a:ln>
        </p:spPr>
        <p:txBody>
          <a:bodyPr lIns="0" tIns="0" rIns="0" bIns="0" anchor="b">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fontAlgn="base">
              <a:spcBef>
                <a:spcPct val="0"/>
              </a:spcBef>
              <a:spcAft>
                <a:spcPct val="0"/>
              </a:spcAft>
              <a:defRPr>
                <a:solidFill>
                  <a:schemeClr val="tx1"/>
                </a:solidFill>
                <a:latin typeface="Visa Dialect Regular" pitchFamily="2" charset="0"/>
              </a:defRPr>
            </a:lvl6pPr>
            <a:lvl7pPr marL="2971800" indent="-228600" fontAlgn="base">
              <a:spcBef>
                <a:spcPct val="0"/>
              </a:spcBef>
              <a:spcAft>
                <a:spcPct val="0"/>
              </a:spcAft>
              <a:defRPr>
                <a:solidFill>
                  <a:schemeClr val="tx1"/>
                </a:solidFill>
                <a:latin typeface="Visa Dialect Regular" pitchFamily="2" charset="0"/>
              </a:defRPr>
            </a:lvl7pPr>
            <a:lvl8pPr marL="3429000" indent="-228600" fontAlgn="base">
              <a:spcBef>
                <a:spcPct val="0"/>
              </a:spcBef>
              <a:spcAft>
                <a:spcPct val="0"/>
              </a:spcAft>
              <a:defRPr>
                <a:solidFill>
                  <a:schemeClr val="tx1"/>
                </a:solidFill>
                <a:latin typeface="Visa Dialect Regular" pitchFamily="2" charset="0"/>
              </a:defRPr>
            </a:lvl8pPr>
            <a:lvl9pPr marL="3886200" indent="-228600" fontAlgn="base">
              <a:spcBef>
                <a:spcPct val="0"/>
              </a:spcBef>
              <a:spcAft>
                <a:spcPct val="0"/>
              </a:spcAft>
              <a:defRPr>
                <a:solidFill>
                  <a:schemeClr val="tx1"/>
                </a:solidFill>
                <a:latin typeface="Visa Dialect Regular" pitchFamily="2" charset="0"/>
              </a:defRPr>
            </a:lvl9pPr>
          </a:lstStyle>
          <a:p>
            <a:pPr algn="r" eaLnBrk="1" hangingPunct="1">
              <a:defRPr/>
            </a:pPr>
            <a:r>
              <a:rPr lang="en-US" altLang="en-US" sz="675">
                <a:solidFill>
                  <a:schemeClr val="bg2"/>
                </a:solidFill>
              </a:rPr>
              <a:t>©2025 Visa. All rights reserved. Visa Confidential</a:t>
            </a:r>
          </a:p>
        </p:txBody>
      </p:sp>
      <p:sp>
        <p:nvSpPr>
          <p:cNvPr id="15" name="Title Placeholder 1"/>
          <p:cNvSpPr>
            <a:spLocks noGrp="1"/>
          </p:cNvSpPr>
          <p:nvPr>
            <p:ph type="title"/>
          </p:nvPr>
        </p:nvSpPr>
        <p:spPr>
          <a:xfrm>
            <a:off x="457200" y="353595"/>
            <a:ext cx="8229600" cy="177619"/>
          </a:xfrm>
          <a:prstGeom prst="rect">
            <a:avLst/>
          </a:prstGeom>
        </p:spPr>
        <p:txBody>
          <a:bodyPr rtlCol="0">
            <a:noAutofit/>
          </a:bodyPr>
          <a:lstStyle>
            <a:lvl1pPr>
              <a:defRPr sz="1500"/>
            </a:lvl1pPr>
          </a:lstStyle>
          <a:p>
            <a:r>
              <a:rPr lang="en-US"/>
              <a:t>Click to edit Master title style</a:t>
            </a:r>
          </a:p>
        </p:txBody>
      </p:sp>
      <p:sp>
        <p:nvSpPr>
          <p:cNvPr id="20" name="Text Placeholder 2"/>
          <p:cNvSpPr>
            <a:spLocks noGrp="1"/>
          </p:cNvSpPr>
          <p:nvPr>
            <p:ph type="body" sz="quarter" idx="30"/>
          </p:nvPr>
        </p:nvSpPr>
        <p:spPr>
          <a:xfrm>
            <a:off x="1044921" y="4657725"/>
            <a:ext cx="4772528" cy="200025"/>
          </a:xfrm>
        </p:spPr>
        <p:txBody>
          <a:bodyPr anchor="b">
            <a:noAutofit/>
          </a:bodyPr>
          <a:lstStyle>
            <a:lvl1pPr>
              <a:lnSpc>
                <a:spcPct val="100000"/>
              </a:lnSpc>
              <a:spcBef>
                <a:spcPts val="0"/>
              </a:spcBef>
              <a:defRPr sz="450">
                <a:solidFill>
                  <a:schemeClr val="bg2"/>
                </a:solidFill>
                <a:latin typeface="+mn-lt"/>
              </a:defRPr>
            </a:lvl1pPr>
          </a:lstStyle>
          <a:p>
            <a:pPr lvl="0"/>
            <a:r>
              <a:rPr lang="en-US"/>
              <a:t>Click to edit Master text styles</a:t>
            </a:r>
          </a:p>
        </p:txBody>
      </p:sp>
    </p:spTree>
    <p:extLst>
      <p:ext uri="{BB962C8B-B14F-4D97-AF65-F5344CB8AC3E}">
        <p14:creationId xmlns:p14="http://schemas.microsoft.com/office/powerpoint/2010/main" val="3588459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 text">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1CF5A39E-FD9D-B679-B41B-B1EF0567EE2D}"/>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3" hidden="1">
                        <a:extLst>
                          <a:ext uri="{FF2B5EF4-FFF2-40B4-BE49-F238E27FC236}">
                            <a16:creationId xmlns:a16="http://schemas.microsoft.com/office/drawing/2014/main" id="{1CF5A39E-FD9D-B679-B41B-B1EF0567EE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2" hidden="1">
            <a:extLst>
              <a:ext uri="{FF2B5EF4-FFF2-40B4-BE49-F238E27FC236}">
                <a16:creationId xmlns:a16="http://schemas.microsoft.com/office/drawing/2014/main" id="{3FCDB926-6E98-4012-A007-80D89E12B74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2" hidden="1">
                        <a:extLst>
                          <a:ext uri="{FF2B5EF4-FFF2-40B4-BE49-F238E27FC236}">
                            <a16:creationId xmlns:a16="http://schemas.microsoft.com/office/drawing/2014/main" id="{3FCDB926-6E98-4012-A007-80D89E12B7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4" descr="Logo&#10;&#10;Description automatically generated">
            <a:extLst>
              <a:ext uri="{FF2B5EF4-FFF2-40B4-BE49-F238E27FC236}">
                <a16:creationId xmlns:a16="http://schemas.microsoft.com/office/drawing/2014/main" id="{2F844150-0087-34C1-7350-02545C93AE2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7200" y="4723210"/>
            <a:ext cx="414338" cy="13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185E64F3-B971-6010-7D48-C747789939B1}"/>
              </a:ext>
            </a:extLst>
          </p:cNvPr>
          <p:cNvSpPr txBox="1">
            <a:spLocks noChangeArrowheads="1"/>
          </p:cNvSpPr>
          <p:nvPr userDrawn="1"/>
        </p:nvSpPr>
        <p:spPr bwMode="auto">
          <a:xfrm>
            <a:off x="8565244" y="4719251"/>
            <a:ext cx="134653" cy="138499"/>
          </a:xfrm>
          <a:prstGeom prst="rect">
            <a:avLst/>
          </a:prstGeom>
          <a:noFill/>
          <a:ln>
            <a:noFill/>
          </a:ln>
        </p:spPr>
        <p:txBody>
          <a:bodyPr wrap="none" lIns="0" tIns="0" rIns="0" bIns="0" anchor="b">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fontAlgn="base">
              <a:spcBef>
                <a:spcPct val="0"/>
              </a:spcBef>
              <a:spcAft>
                <a:spcPct val="0"/>
              </a:spcAft>
              <a:defRPr>
                <a:solidFill>
                  <a:schemeClr val="tx1"/>
                </a:solidFill>
                <a:latin typeface="Visa Dialect Regular" pitchFamily="2" charset="0"/>
              </a:defRPr>
            </a:lvl6pPr>
            <a:lvl7pPr marL="2971800" indent="-228600" fontAlgn="base">
              <a:spcBef>
                <a:spcPct val="0"/>
              </a:spcBef>
              <a:spcAft>
                <a:spcPct val="0"/>
              </a:spcAft>
              <a:defRPr>
                <a:solidFill>
                  <a:schemeClr val="tx1"/>
                </a:solidFill>
                <a:latin typeface="Visa Dialect Regular" pitchFamily="2" charset="0"/>
              </a:defRPr>
            </a:lvl7pPr>
            <a:lvl8pPr marL="3429000" indent="-228600" fontAlgn="base">
              <a:spcBef>
                <a:spcPct val="0"/>
              </a:spcBef>
              <a:spcAft>
                <a:spcPct val="0"/>
              </a:spcAft>
              <a:defRPr>
                <a:solidFill>
                  <a:schemeClr val="tx1"/>
                </a:solidFill>
                <a:latin typeface="Visa Dialect Regular" pitchFamily="2" charset="0"/>
              </a:defRPr>
            </a:lvl8pPr>
            <a:lvl9pPr marL="3886200" indent="-228600" fontAlgn="base">
              <a:spcBef>
                <a:spcPct val="0"/>
              </a:spcBef>
              <a:spcAft>
                <a:spcPct val="0"/>
              </a:spcAft>
              <a:defRPr>
                <a:solidFill>
                  <a:schemeClr val="tx1"/>
                </a:solidFill>
                <a:latin typeface="Visa Dialect Regular" pitchFamily="2" charset="0"/>
              </a:defRPr>
            </a:lvl9pPr>
          </a:lstStyle>
          <a:p>
            <a:pPr algn="r" eaLnBrk="1" hangingPunct="1">
              <a:defRPr/>
            </a:pPr>
            <a:fld id="{6CA9E140-A5A6-40A3-AC3C-4185CA36917F}" type="slidenum">
              <a:rPr lang="en-US" altLang="en-US" sz="900" smtClean="0"/>
              <a:pPr algn="r" eaLnBrk="1" hangingPunct="1">
                <a:defRPr/>
              </a:pPr>
              <a:t>‹#›</a:t>
            </a:fld>
            <a:endParaRPr lang="en-US" altLang="en-US" sz="450"/>
          </a:p>
        </p:txBody>
      </p:sp>
      <p:sp>
        <p:nvSpPr>
          <p:cNvPr id="8" name="TextBox 7">
            <a:extLst>
              <a:ext uri="{FF2B5EF4-FFF2-40B4-BE49-F238E27FC236}">
                <a16:creationId xmlns:a16="http://schemas.microsoft.com/office/drawing/2014/main" id="{B77D0E15-63FF-D208-BE84-1AB59C1CEAA8}"/>
              </a:ext>
            </a:extLst>
          </p:cNvPr>
          <p:cNvSpPr txBox="1">
            <a:spLocks noChangeArrowheads="1"/>
          </p:cNvSpPr>
          <p:nvPr userDrawn="1"/>
        </p:nvSpPr>
        <p:spPr bwMode="auto">
          <a:xfrm>
            <a:off x="6733508" y="4753875"/>
            <a:ext cx="1710405" cy="103875"/>
          </a:xfrm>
          <a:prstGeom prst="rect">
            <a:avLst/>
          </a:prstGeom>
          <a:noFill/>
          <a:ln>
            <a:noFill/>
          </a:ln>
        </p:spPr>
        <p:txBody>
          <a:bodyPr wrap="none" lIns="0" tIns="0" rIns="0" bIns="0" anchor="b">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fontAlgn="base">
              <a:spcBef>
                <a:spcPct val="0"/>
              </a:spcBef>
              <a:spcAft>
                <a:spcPct val="0"/>
              </a:spcAft>
              <a:defRPr>
                <a:solidFill>
                  <a:schemeClr val="tx1"/>
                </a:solidFill>
                <a:latin typeface="Visa Dialect Regular" pitchFamily="2" charset="0"/>
              </a:defRPr>
            </a:lvl6pPr>
            <a:lvl7pPr marL="2971800" indent="-228600" fontAlgn="base">
              <a:spcBef>
                <a:spcPct val="0"/>
              </a:spcBef>
              <a:spcAft>
                <a:spcPct val="0"/>
              </a:spcAft>
              <a:defRPr>
                <a:solidFill>
                  <a:schemeClr val="tx1"/>
                </a:solidFill>
                <a:latin typeface="Visa Dialect Regular" pitchFamily="2" charset="0"/>
              </a:defRPr>
            </a:lvl7pPr>
            <a:lvl8pPr marL="3429000" indent="-228600" fontAlgn="base">
              <a:spcBef>
                <a:spcPct val="0"/>
              </a:spcBef>
              <a:spcAft>
                <a:spcPct val="0"/>
              </a:spcAft>
              <a:defRPr>
                <a:solidFill>
                  <a:schemeClr val="tx1"/>
                </a:solidFill>
                <a:latin typeface="Visa Dialect Regular" pitchFamily="2" charset="0"/>
              </a:defRPr>
            </a:lvl8pPr>
            <a:lvl9pPr marL="3886200" indent="-228600" fontAlgn="base">
              <a:spcBef>
                <a:spcPct val="0"/>
              </a:spcBef>
              <a:spcAft>
                <a:spcPct val="0"/>
              </a:spcAft>
              <a:defRPr>
                <a:solidFill>
                  <a:schemeClr val="tx1"/>
                </a:solidFill>
                <a:latin typeface="Visa Dialect Regular" pitchFamily="2" charset="0"/>
              </a:defRPr>
            </a:lvl9pPr>
          </a:lstStyle>
          <a:p>
            <a:pPr algn="r" eaLnBrk="1" hangingPunct="1">
              <a:defRPr/>
            </a:pPr>
            <a:r>
              <a:rPr lang="en-US" altLang="en-US" sz="675"/>
              <a:t>©2025 Visa. All rights reserved. Visa Confidential</a:t>
            </a:r>
          </a:p>
        </p:txBody>
      </p:sp>
      <p:cxnSp>
        <p:nvCxnSpPr>
          <p:cNvPr id="9" name="Straight Connector 8">
            <a:extLst>
              <a:ext uri="{FF2B5EF4-FFF2-40B4-BE49-F238E27FC236}">
                <a16:creationId xmlns:a16="http://schemas.microsoft.com/office/drawing/2014/main" id="{76A2362F-A294-AD6C-733C-BA25E2BAF008}"/>
              </a:ext>
            </a:extLst>
          </p:cNvPr>
          <p:cNvCxnSpPr/>
          <p:nvPr userDrawn="1"/>
        </p:nvCxnSpPr>
        <p:spPr>
          <a:xfrm>
            <a:off x="457200" y="291704"/>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82">
            <a:extLst>
              <a:ext uri="{FF2B5EF4-FFF2-40B4-BE49-F238E27FC236}">
                <a16:creationId xmlns:a16="http://schemas.microsoft.com/office/drawing/2014/main" id="{5CCB0B07-45FB-6C10-3F49-53BE8E1FFF9F}"/>
              </a:ext>
            </a:extLst>
          </p:cNvPr>
          <p:cNvSpPr>
            <a:spLocks noChangeArrowheads="1"/>
          </p:cNvSpPr>
          <p:nvPr userDrawn="1"/>
        </p:nvSpPr>
        <p:spPr bwMode="auto">
          <a:xfrm>
            <a:off x="7122319" y="168779"/>
            <a:ext cx="1331119" cy="103875"/>
          </a:xfrm>
          <a:prstGeom prst="rect">
            <a:avLst/>
          </a:prstGeom>
          <a:noFill/>
          <a:ln>
            <a:noFill/>
          </a:ln>
        </p:spPr>
        <p:txBody>
          <a:bodyPr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fontAlgn="auto" hangingPunct="1">
              <a:lnSpc>
                <a:spcPct val="90000"/>
              </a:lnSpc>
              <a:spcBef>
                <a:spcPts val="0"/>
              </a:spcBef>
              <a:spcAft>
                <a:spcPts val="0"/>
              </a:spcAft>
              <a:defRPr/>
            </a:pPr>
            <a:r>
              <a:rPr lang="en-US" altLang="en-US" sz="750" spc="15" dirty="0">
                <a:solidFill>
                  <a:schemeClr val="bg2"/>
                </a:solidFill>
                <a:latin typeface="Visa Dialect Regular" pitchFamily="2" charset="0"/>
              </a:rPr>
              <a:t>Visa Consulting &amp; Analytics</a:t>
            </a:r>
          </a:p>
        </p:txBody>
      </p:sp>
      <p:pic>
        <p:nvPicPr>
          <p:cNvPr id="11" name="Picture 9" descr="A white line with circles and arrow pointing up&#10;&#10;Description automatically generated">
            <a:extLst>
              <a:ext uri="{FF2B5EF4-FFF2-40B4-BE49-F238E27FC236}">
                <a16:creationId xmlns:a16="http://schemas.microsoft.com/office/drawing/2014/main" id="{1C44D418-1475-5C36-85CF-E075DBF11DEE}"/>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493919" y="83344"/>
            <a:ext cx="205979"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A blue line with circles and arrow pointing up&#10;&#10;Description automatically generated">
            <a:extLst>
              <a:ext uri="{FF2B5EF4-FFF2-40B4-BE49-F238E27FC236}">
                <a16:creationId xmlns:a16="http://schemas.microsoft.com/office/drawing/2014/main" id="{051E3329-45DB-EC08-D948-4A3F5E27D3B4}"/>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497491" y="82153"/>
            <a:ext cx="204788"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30"/>
          </p:nvPr>
        </p:nvSpPr>
        <p:spPr>
          <a:xfrm>
            <a:off x="1012786" y="4719250"/>
            <a:ext cx="4732020" cy="138500"/>
          </a:xfrm>
        </p:spPr>
        <p:txBody>
          <a:bodyPr anchor="b" anchorCtr="0"/>
          <a:lstStyle>
            <a:lvl1pPr>
              <a:lnSpc>
                <a:spcPct val="100000"/>
              </a:lnSpc>
              <a:spcBef>
                <a:spcPts val="0"/>
              </a:spcBef>
              <a:defRPr sz="675">
                <a:solidFill>
                  <a:schemeClr val="tx1"/>
                </a:solidFill>
                <a:latin typeface="Visa Dialect Regular" pitchFamily="2" charset="0"/>
              </a:defRPr>
            </a:lvl1pPr>
          </a:lstStyle>
          <a:p>
            <a:pPr lvl="0"/>
            <a:r>
              <a:rPr lang="en-US"/>
              <a:t>Click to edit Master text styles</a:t>
            </a:r>
          </a:p>
        </p:txBody>
      </p:sp>
      <p:sp>
        <p:nvSpPr>
          <p:cNvPr id="19" name="Text Placeholder 18"/>
          <p:cNvSpPr>
            <a:spLocks noGrp="1"/>
          </p:cNvSpPr>
          <p:nvPr>
            <p:ph type="body" sz="quarter" idx="31"/>
          </p:nvPr>
        </p:nvSpPr>
        <p:spPr>
          <a:xfrm>
            <a:off x="457199" y="1097280"/>
            <a:ext cx="5287607"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57200" y="349302"/>
            <a:ext cx="8229600" cy="274320"/>
          </a:xfrm>
          <a:prstGeom prst="rect">
            <a:avLst/>
          </a:prstGeom>
        </p:spPr>
        <p:txBody>
          <a:bodyPr rtlCol="0">
            <a:noAutofit/>
          </a:bodyPr>
          <a:lstStyle>
            <a:lvl1pPr>
              <a:lnSpc>
                <a:spcPct val="100000"/>
              </a:lnSpc>
              <a:defRPr sz="1500">
                <a:solidFill>
                  <a:schemeClr val="bg2"/>
                </a:solidFill>
                <a:latin typeface="Visa Dialect Regular" pitchFamily="2" charset="0"/>
              </a:defRPr>
            </a:lvl1pPr>
          </a:lstStyle>
          <a:p>
            <a:r>
              <a:rPr lang="en-US"/>
              <a:t>Click to edit Master title style</a:t>
            </a:r>
            <a:endParaRPr lang="en-US" dirty="0"/>
          </a:p>
        </p:txBody>
      </p:sp>
      <p:sp>
        <p:nvSpPr>
          <p:cNvPr id="20" name="Text Placeholder 2"/>
          <p:cNvSpPr>
            <a:spLocks noGrp="1"/>
          </p:cNvSpPr>
          <p:nvPr>
            <p:ph type="body" sz="quarter" idx="26"/>
          </p:nvPr>
        </p:nvSpPr>
        <p:spPr>
          <a:xfrm>
            <a:off x="457200" y="658595"/>
            <a:ext cx="8229600" cy="205740"/>
          </a:xfrm>
          <a:prstGeom prst="rect">
            <a:avLst/>
          </a:prstGeom>
        </p:spPr>
        <p:txBody>
          <a:bodyPr wrap="square" anchor="t" anchorCtr="0"/>
          <a:lstStyle>
            <a:lvl1pPr>
              <a:lnSpc>
                <a:spcPct val="90000"/>
              </a:lnSpc>
              <a:spcBef>
                <a:spcPts val="0"/>
              </a:spcBef>
              <a:defRPr sz="1200">
                <a:solidFill>
                  <a:schemeClr val="tx1"/>
                </a:solidFill>
                <a:latin typeface="Visa Dialect Regular" pitchFamily="2" charset="0"/>
              </a:defRPr>
            </a:lvl1pPr>
            <a:lvl2pPr marL="342900" indent="0">
              <a:buNone/>
              <a:defRPr/>
            </a:lvl2pPr>
          </a:lstStyle>
          <a:p>
            <a:pPr lvl="0"/>
            <a:r>
              <a:rPr lang="en-US"/>
              <a:t>Click to edit Master text styles</a:t>
            </a:r>
          </a:p>
        </p:txBody>
      </p:sp>
    </p:spTree>
    <p:extLst>
      <p:ext uri="{BB962C8B-B14F-4D97-AF65-F5344CB8AC3E}">
        <p14:creationId xmlns:p14="http://schemas.microsoft.com/office/powerpoint/2010/main" val="1144551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4D5B-C7AE-E51F-A868-8F22883DB1EB}"/>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CE3CAF7-7E15-BEC7-0C2F-277A65E885E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F13619F-98D6-4791-95C9-D5FEC0D905F4}"/>
              </a:ext>
            </a:extLst>
          </p:cNvPr>
          <p:cNvSpPr>
            <a:spLocks noGrp="1"/>
          </p:cNvSpPr>
          <p:nvPr>
            <p:ph type="dt" sz="half" idx="10"/>
          </p:nvPr>
        </p:nvSpPr>
        <p:spPr/>
        <p:txBody>
          <a:body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524C521E-5C9B-C08B-288E-6B6E35BE5A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B6DC78-7324-3C73-9EFC-4390AAF0B9D2}"/>
              </a:ext>
            </a:extLst>
          </p:cNvPr>
          <p:cNvSpPr>
            <a:spLocks noGrp="1"/>
          </p:cNvSpPr>
          <p:nvPr>
            <p:ph type="sldNum" sz="quarter" idx="12"/>
          </p:nvPr>
        </p:nvSpPr>
        <p:spPr/>
        <p:txBody>
          <a:bodyPr/>
          <a:lstStyle/>
          <a:p>
            <a:fld id="{3C3D85D3-7AFA-470C-AD25-623A1EBF02A0}" type="slidenum">
              <a:rPr lang="en-US" smtClean="0"/>
              <a:t>‹#›</a:t>
            </a:fld>
            <a:endParaRPr lang="en-US"/>
          </a:p>
        </p:txBody>
      </p:sp>
    </p:spTree>
    <p:extLst>
      <p:ext uri="{BB962C8B-B14F-4D97-AF65-F5344CB8AC3E}">
        <p14:creationId xmlns:p14="http://schemas.microsoft.com/office/powerpoint/2010/main" val="173192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6.jp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6.jp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4.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bg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37875" y="836000"/>
            <a:ext cx="70683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1pPr>
            <a:lvl2pPr lvl="1"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2pPr>
            <a:lvl3pPr lvl="2"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3pPr>
            <a:lvl4pPr lvl="3"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4pPr>
            <a:lvl5pPr lvl="4"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5pPr>
            <a:lvl6pPr lvl="5"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6pPr>
            <a:lvl7pPr lvl="6"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7pPr>
            <a:lvl8pPr lvl="7"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8pPr>
            <a:lvl9pPr lvl="8" rtl="0">
              <a:lnSpc>
                <a:spcPct val="90000"/>
              </a:lnSpc>
              <a:spcBef>
                <a:spcPts val="0"/>
              </a:spcBef>
              <a:spcAft>
                <a:spcPts val="0"/>
              </a:spcAft>
              <a:buClr>
                <a:schemeClr val="accent1"/>
              </a:buClr>
              <a:buSzPts val="3200"/>
              <a:buFont typeface="Inter SemiBold"/>
              <a:buNone/>
              <a:defRPr sz="3200">
                <a:solidFill>
                  <a:schemeClr val="accent1"/>
                </a:solidFill>
                <a:latin typeface="Inter SemiBold"/>
                <a:ea typeface="Inter SemiBold"/>
                <a:cs typeface="Inter SemiBold"/>
                <a:sym typeface="Inter SemiBold"/>
              </a:defRPr>
            </a:lvl9pPr>
          </a:lstStyle>
          <a:p>
            <a:endParaRPr/>
          </a:p>
        </p:txBody>
      </p:sp>
      <p:sp>
        <p:nvSpPr>
          <p:cNvPr id="7" name="Google Shape;7;p1"/>
          <p:cNvSpPr txBox="1">
            <a:spLocks noGrp="1"/>
          </p:cNvSpPr>
          <p:nvPr>
            <p:ph type="body" idx="1"/>
          </p:nvPr>
        </p:nvSpPr>
        <p:spPr>
          <a:xfrm>
            <a:off x="1037875" y="1353948"/>
            <a:ext cx="7068300" cy="30339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1"/>
              </a:buClr>
              <a:buSzPts val="2400"/>
              <a:buFont typeface="Inter Light"/>
              <a:buChar char="●"/>
              <a:defRPr sz="2400">
                <a:solidFill>
                  <a:schemeClr val="dk1"/>
                </a:solidFill>
                <a:latin typeface="Inter Light"/>
                <a:ea typeface="Inter Light"/>
                <a:cs typeface="Inter Light"/>
                <a:sym typeface="Inter Light"/>
              </a:defRPr>
            </a:lvl1pPr>
            <a:lvl2pPr marL="914400" lvl="1" indent="-381000" rtl="0">
              <a:lnSpc>
                <a:spcPct val="115000"/>
              </a:lnSpc>
              <a:spcBef>
                <a:spcPts val="0"/>
              </a:spcBef>
              <a:spcAft>
                <a:spcPts val="0"/>
              </a:spcAft>
              <a:buClr>
                <a:schemeClr val="accent1"/>
              </a:buClr>
              <a:buSzPts val="2400"/>
              <a:buFont typeface="Inter Light"/>
              <a:buChar char="○"/>
              <a:defRPr sz="2400">
                <a:solidFill>
                  <a:schemeClr val="dk1"/>
                </a:solidFill>
                <a:latin typeface="Inter Light"/>
                <a:ea typeface="Inter Light"/>
                <a:cs typeface="Inter Light"/>
                <a:sym typeface="Inter Light"/>
              </a:defRPr>
            </a:lvl2pPr>
            <a:lvl3pPr marL="1371600" lvl="2" indent="-381000" rtl="0">
              <a:lnSpc>
                <a:spcPct val="115000"/>
              </a:lnSpc>
              <a:spcBef>
                <a:spcPts val="0"/>
              </a:spcBef>
              <a:spcAft>
                <a:spcPts val="0"/>
              </a:spcAft>
              <a:buClr>
                <a:schemeClr val="lt2"/>
              </a:buClr>
              <a:buSzPts val="2400"/>
              <a:buFont typeface="Inter Light"/>
              <a:buChar char="■"/>
              <a:defRPr sz="2400">
                <a:solidFill>
                  <a:schemeClr val="dk1"/>
                </a:solidFill>
                <a:latin typeface="Inter Light"/>
                <a:ea typeface="Inter Light"/>
                <a:cs typeface="Inter Light"/>
                <a:sym typeface="Inter Light"/>
              </a:defRPr>
            </a:lvl3pPr>
            <a:lvl4pPr marL="1828800" lvl="3"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4pPr>
            <a:lvl5pPr marL="2286000" lvl="4"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5pPr>
            <a:lvl6pPr marL="2743200" lvl="5"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6pPr>
            <a:lvl7pPr marL="3200400" lvl="6"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7pPr>
            <a:lvl8pPr marL="3657600" lvl="7"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8pPr>
            <a:lvl9pPr marL="4114800" lvl="8" indent="-381000" rtl="0">
              <a:lnSpc>
                <a:spcPct val="115000"/>
              </a:lnSpc>
              <a:spcBef>
                <a:spcPts val="0"/>
              </a:spcBef>
              <a:spcAft>
                <a:spcPts val="0"/>
              </a:spcAft>
              <a:buClr>
                <a:schemeClr val="dk1"/>
              </a:buClr>
              <a:buSzPts val="2400"/>
              <a:buFont typeface="Inter Light"/>
              <a:buChar char="■"/>
              <a:defRPr sz="2400">
                <a:solidFill>
                  <a:schemeClr val="dk1"/>
                </a:solidFill>
                <a:latin typeface="Inter Light"/>
                <a:ea typeface="Inter Light"/>
                <a:cs typeface="Inter Light"/>
                <a:sym typeface="Inter Light"/>
              </a:defRPr>
            </a:lvl9pPr>
          </a:lstStyle>
          <a:p>
            <a:endParaRPr/>
          </a:p>
        </p:txBody>
      </p:sp>
      <p:sp>
        <p:nvSpPr>
          <p:cNvPr id="8" name="Google Shape;8;p1"/>
          <p:cNvSpPr txBox="1">
            <a:spLocks noGrp="1"/>
          </p:cNvSpPr>
          <p:nvPr>
            <p:ph type="sldNum" idx="12"/>
          </p:nvPr>
        </p:nvSpPr>
        <p:spPr>
          <a:xfrm>
            <a:off x="8328184" y="4597451"/>
            <a:ext cx="548700" cy="393600"/>
          </a:xfrm>
          <a:prstGeom prst="rect">
            <a:avLst/>
          </a:prstGeom>
          <a:noFill/>
          <a:ln>
            <a:noFill/>
          </a:ln>
        </p:spPr>
        <p:txBody>
          <a:bodyPr spcFirstLastPara="1" wrap="square" lIns="0" tIns="0" rIns="0" bIns="0" anchor="ctr" anchorCtr="0">
            <a:noAutofit/>
          </a:bodyPr>
          <a:lstStyle>
            <a:lvl1pPr lvl="0" algn="r" rtl="0">
              <a:buNone/>
              <a:defRPr sz="1300">
                <a:solidFill>
                  <a:schemeClr val="accent1"/>
                </a:solidFill>
                <a:latin typeface="Inter SemiBold"/>
                <a:ea typeface="Inter SemiBold"/>
                <a:cs typeface="Inter SemiBold"/>
                <a:sym typeface="Inter SemiBold"/>
              </a:defRPr>
            </a:lvl1pPr>
            <a:lvl2pPr lvl="1" algn="r" rtl="0">
              <a:buNone/>
              <a:defRPr sz="1300">
                <a:solidFill>
                  <a:schemeClr val="accent1"/>
                </a:solidFill>
                <a:latin typeface="Inter SemiBold"/>
                <a:ea typeface="Inter SemiBold"/>
                <a:cs typeface="Inter SemiBold"/>
                <a:sym typeface="Inter SemiBold"/>
              </a:defRPr>
            </a:lvl2pPr>
            <a:lvl3pPr lvl="2" algn="r" rtl="0">
              <a:buNone/>
              <a:defRPr sz="1300">
                <a:solidFill>
                  <a:schemeClr val="accent1"/>
                </a:solidFill>
                <a:latin typeface="Inter SemiBold"/>
                <a:ea typeface="Inter SemiBold"/>
                <a:cs typeface="Inter SemiBold"/>
                <a:sym typeface="Inter SemiBold"/>
              </a:defRPr>
            </a:lvl3pPr>
            <a:lvl4pPr lvl="3" algn="r" rtl="0">
              <a:buNone/>
              <a:defRPr sz="1300">
                <a:solidFill>
                  <a:schemeClr val="accent1"/>
                </a:solidFill>
                <a:latin typeface="Inter SemiBold"/>
                <a:ea typeface="Inter SemiBold"/>
                <a:cs typeface="Inter SemiBold"/>
                <a:sym typeface="Inter SemiBold"/>
              </a:defRPr>
            </a:lvl4pPr>
            <a:lvl5pPr lvl="4" algn="r" rtl="0">
              <a:buNone/>
              <a:defRPr sz="1300">
                <a:solidFill>
                  <a:schemeClr val="accent1"/>
                </a:solidFill>
                <a:latin typeface="Inter SemiBold"/>
                <a:ea typeface="Inter SemiBold"/>
                <a:cs typeface="Inter SemiBold"/>
                <a:sym typeface="Inter SemiBold"/>
              </a:defRPr>
            </a:lvl5pPr>
            <a:lvl6pPr lvl="5" algn="r" rtl="0">
              <a:buNone/>
              <a:defRPr sz="1300">
                <a:solidFill>
                  <a:schemeClr val="accent1"/>
                </a:solidFill>
                <a:latin typeface="Inter SemiBold"/>
                <a:ea typeface="Inter SemiBold"/>
                <a:cs typeface="Inter SemiBold"/>
                <a:sym typeface="Inter SemiBold"/>
              </a:defRPr>
            </a:lvl6pPr>
            <a:lvl7pPr lvl="6" algn="r" rtl="0">
              <a:buNone/>
              <a:defRPr sz="1300">
                <a:solidFill>
                  <a:schemeClr val="accent1"/>
                </a:solidFill>
                <a:latin typeface="Inter SemiBold"/>
                <a:ea typeface="Inter SemiBold"/>
                <a:cs typeface="Inter SemiBold"/>
                <a:sym typeface="Inter SemiBold"/>
              </a:defRPr>
            </a:lvl7pPr>
            <a:lvl8pPr lvl="7" algn="r" rtl="0">
              <a:buNone/>
              <a:defRPr sz="1300">
                <a:solidFill>
                  <a:schemeClr val="accent1"/>
                </a:solidFill>
                <a:latin typeface="Inter SemiBold"/>
                <a:ea typeface="Inter SemiBold"/>
                <a:cs typeface="Inter SemiBold"/>
                <a:sym typeface="Inter SemiBold"/>
              </a:defRPr>
            </a:lvl8pPr>
            <a:lvl9pPr lvl="8" algn="r" rtl="0">
              <a:buNone/>
              <a:defRPr sz="1300">
                <a:solidFill>
                  <a:schemeClr val="accent1"/>
                </a:solidFill>
                <a:latin typeface="Inter SemiBold"/>
                <a:ea typeface="Inter SemiBold"/>
                <a:cs typeface="Inter SemiBold"/>
                <a:sym typeface="Inter SemiBold"/>
              </a:defRPr>
            </a:lvl9pPr>
          </a:lstStyle>
          <a:p>
            <a:pPr marL="0" lvl="0" indent="0" algn="r" rtl="0">
              <a:spcBef>
                <a:spcPts val="0"/>
              </a:spcBef>
              <a:spcAft>
                <a:spcPts val="0"/>
              </a:spcAft>
              <a:buNone/>
            </a:pPr>
            <a:fld id="{00000000-1234-1234-1234-123412341234}" type="slidenum">
              <a:rPr lang="en"/>
              <a:t>‹#›</a:t>
            </a:fld>
            <a:endParaRPr/>
          </a:p>
        </p:txBody>
      </p:sp>
      <p:sp>
        <p:nvSpPr>
          <p:cNvPr id="3" name="TextBox 2">
            <a:extLst>
              <a:ext uri="{FF2B5EF4-FFF2-40B4-BE49-F238E27FC236}">
                <a16:creationId xmlns:a16="http://schemas.microsoft.com/office/drawing/2014/main" id="{5943F912-AC92-219B-EBC0-B5B032A33925}"/>
              </a:ext>
            </a:extLst>
          </p:cNvPr>
          <p:cNvSpPr txBox="1"/>
          <p:nvPr userDrawn="1">
            <p:extLst>
              <p:ext uri="{1162E1C5-73C7-4A58-AE30-91384D911F3F}">
                <p184:classification xmlns:p184="http://schemas.microsoft.com/office/powerpoint/2018/4/main" val="ftr"/>
              </p:ext>
            </p:extLst>
          </p:nvPr>
        </p:nvSpPr>
        <p:spPr>
          <a:xfrm>
            <a:off x="4187825" y="4942840"/>
            <a:ext cx="793750" cy="137160"/>
          </a:xfrm>
          <a:prstGeom prst="rect">
            <a:avLst/>
          </a:prstGeom>
        </p:spPr>
        <p:txBody>
          <a:bodyPr horzOverflow="overflow" lIns="0" tIns="0" rIns="0" bIns="0">
            <a:spAutoFit/>
          </a:bodyPr>
          <a:lstStyle/>
          <a:p>
            <a:pPr algn="l"/>
            <a:r>
              <a:rPr lang="en-GB" sz="900">
                <a:solidFill>
                  <a:srgbClr val="0000FF"/>
                </a:solidFill>
                <a:latin typeface="Calibri" panose="020F0502020204030204" pitchFamily="34" charset="0"/>
                <a:cs typeface="Calibri" panose="020F0502020204030204" pitchFamily="34" charset="0"/>
              </a:rPr>
              <a:t>C2: CBK - Official</a:t>
            </a:r>
          </a:p>
        </p:txBody>
      </p:sp>
    </p:spTree>
  </p:cSld>
  <p:clrMap bg1="lt1" tx1="dk1" bg2="dk2" tx2="lt2" accent1="accent1" accent2="accent2" accent3="accent3" accent4="accent4" accent5="accent5" accent6="accent6" hlink="hlink" folHlink="folHlink"/>
  <p:sldLayoutIdLst>
    <p:sldLayoutId id="2147483648" r:id="rId1"/>
    <p:sldLayoutId id="2147483656" r:id="rId2"/>
    <p:sldLayoutId id="2147483657" r:id="rId3"/>
    <p:sldLayoutId id="2147483659" r:id="rId4"/>
    <p:sldLayoutId id="2147483660" r:id="rId5"/>
    <p:sldLayoutId id="2147483661" r:id="rId6"/>
    <p:sldLayoutId id="2147483674" r:id="rId7"/>
    <p:sldLayoutId id="2147483675" r:id="rId8"/>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5FF6DB-F011-4D18-CC0F-2DB75E6D170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61B599-F781-5A05-9436-A69D8C72DFF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64E00E-3728-12E8-D0F4-436E73CD06A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C9152B5D-8C44-44C0-8FE5-2FEDC1AF2A87}" type="datetimeFigureOut">
              <a:rPr lang="en-US" smtClean="0"/>
              <a:t>10/20/2025</a:t>
            </a:fld>
            <a:endParaRPr lang="en-US"/>
          </a:p>
        </p:txBody>
      </p:sp>
      <p:sp>
        <p:nvSpPr>
          <p:cNvPr id="5" name="Footer Placeholder 4">
            <a:extLst>
              <a:ext uri="{FF2B5EF4-FFF2-40B4-BE49-F238E27FC236}">
                <a16:creationId xmlns:a16="http://schemas.microsoft.com/office/drawing/2014/main" id="{5005EA69-D752-94DF-EE03-2179634D94AE}"/>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53F22EF-F7B9-A2F7-BF19-9E8B3EEB204C}"/>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3C3D85D3-7AFA-470C-AD25-623A1EBF02A0}" type="slidenum">
              <a:rPr lang="en-US" smtClean="0"/>
              <a:t>‹#›</a:t>
            </a:fld>
            <a:endParaRPr lang="en-US"/>
          </a:p>
        </p:txBody>
      </p:sp>
      <p:sp>
        <p:nvSpPr>
          <p:cNvPr id="8" name="TextBox 7">
            <a:extLst>
              <a:ext uri="{FF2B5EF4-FFF2-40B4-BE49-F238E27FC236}">
                <a16:creationId xmlns:a16="http://schemas.microsoft.com/office/drawing/2014/main" id="{B88A85BC-64D7-1A10-BBD9-E4CA773F7736}"/>
              </a:ext>
            </a:extLst>
          </p:cNvPr>
          <p:cNvSpPr txBox="1"/>
          <p:nvPr userDrawn="1">
            <p:extLst>
              <p:ext uri="{1162E1C5-73C7-4A58-AE30-91384D911F3F}">
                <p184:classification xmlns:p184="http://schemas.microsoft.com/office/powerpoint/2018/4/main" val="ftr"/>
              </p:ext>
            </p:extLst>
          </p:nvPr>
        </p:nvSpPr>
        <p:spPr>
          <a:xfrm>
            <a:off x="4283869" y="4993006"/>
            <a:ext cx="595313" cy="103875"/>
          </a:xfrm>
          <a:prstGeom prst="rect">
            <a:avLst/>
          </a:prstGeom>
        </p:spPr>
        <p:txBody>
          <a:bodyPr horzOverflow="overflow" lIns="0" tIns="0" rIns="0" bIns="0">
            <a:spAutoFit/>
          </a:bodyPr>
          <a:lstStyle/>
          <a:p>
            <a:pPr algn="l"/>
            <a:r>
              <a:rPr lang="en-US" sz="675">
                <a:solidFill>
                  <a:srgbClr val="0000FF">
                    <a:alpha val="50000"/>
                  </a:srgbClr>
                </a:solidFill>
                <a:latin typeface="Calibri" panose="020F0502020204030204" pitchFamily="34" charset="0"/>
                <a:ea typeface="Calibri" panose="020F0502020204030204" pitchFamily="34" charset="0"/>
                <a:cs typeface="Calibri" panose="020F0502020204030204" pitchFamily="34" charset="0"/>
              </a:rPr>
              <a:t>C2: CBK - Official</a:t>
            </a:r>
          </a:p>
        </p:txBody>
      </p:sp>
    </p:spTree>
    <p:extLst>
      <p:ext uri="{BB962C8B-B14F-4D97-AF65-F5344CB8AC3E}">
        <p14:creationId xmlns:p14="http://schemas.microsoft.com/office/powerpoint/2010/main" val="218115267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50146" y="99442"/>
            <a:ext cx="8630067" cy="4938546"/>
          </a:xfrm>
          <a:prstGeom prst="rect">
            <a:avLst/>
          </a:prstGeom>
          <a:blipFill>
            <a:blip r:embed="rId7" cstate="print"/>
            <a:stretch>
              <a:fillRect/>
            </a:stretch>
          </a:blipFill>
        </p:spPr>
        <p:txBody>
          <a:bodyPr wrap="square" lIns="0" tIns="0" rIns="0" bIns="0" rtlCol="0"/>
          <a:lstStyle/>
          <a:p>
            <a:endParaRPr sz="952"/>
          </a:p>
        </p:txBody>
      </p:sp>
      <p:sp>
        <p:nvSpPr>
          <p:cNvPr id="2" name="Holder 2"/>
          <p:cNvSpPr>
            <a:spLocks noGrp="1"/>
          </p:cNvSpPr>
          <p:nvPr>
            <p:ph type="title"/>
          </p:nvPr>
        </p:nvSpPr>
        <p:spPr>
          <a:xfrm>
            <a:off x="727971" y="343235"/>
            <a:ext cx="7688057" cy="438582"/>
          </a:xfrm>
          <a:prstGeom prst="rect">
            <a:avLst/>
          </a:prstGeom>
        </p:spPr>
        <p:txBody>
          <a:bodyPr wrap="square" lIns="0" tIns="0" rIns="0" bIns="0">
            <a:spAutoFit/>
          </a:bodyPr>
          <a:lstStyle>
            <a:lvl1pPr>
              <a:defRPr sz="285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18407" y="1136275"/>
            <a:ext cx="790718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4783454"/>
            <a:ext cx="292608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4"/>
            <a:ext cx="2103120" cy="215444"/>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a:xfrm>
            <a:off x="6583680" y="4783454"/>
            <a:ext cx="2103120"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972431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defRPr>
          <a:latin typeface="+mj-lt"/>
          <a:ea typeface="+mj-ea"/>
          <a:cs typeface="+mj-cs"/>
        </a:defRPr>
      </a:lvl1pPr>
    </p:titleStyle>
    <p:bodyStyle>
      <a:lvl1pPr marL="0">
        <a:defRPr>
          <a:latin typeface="+mn-lt"/>
          <a:ea typeface="+mn-ea"/>
          <a:cs typeface="+mn-cs"/>
        </a:defRPr>
      </a:lvl1pPr>
      <a:lvl2pPr marL="310942">
        <a:defRPr>
          <a:latin typeface="+mn-lt"/>
          <a:ea typeface="+mn-ea"/>
          <a:cs typeface="+mn-cs"/>
        </a:defRPr>
      </a:lvl2pPr>
      <a:lvl3pPr marL="621883">
        <a:defRPr>
          <a:latin typeface="+mn-lt"/>
          <a:ea typeface="+mn-ea"/>
          <a:cs typeface="+mn-cs"/>
        </a:defRPr>
      </a:lvl3pPr>
      <a:lvl4pPr marL="932825">
        <a:defRPr>
          <a:latin typeface="+mn-lt"/>
          <a:ea typeface="+mn-ea"/>
          <a:cs typeface="+mn-cs"/>
        </a:defRPr>
      </a:lvl4pPr>
      <a:lvl5pPr marL="1243767">
        <a:defRPr>
          <a:latin typeface="+mn-lt"/>
          <a:ea typeface="+mn-ea"/>
          <a:cs typeface="+mn-cs"/>
        </a:defRPr>
      </a:lvl5pPr>
      <a:lvl6pPr marL="1554709">
        <a:defRPr>
          <a:latin typeface="+mn-lt"/>
          <a:ea typeface="+mn-ea"/>
          <a:cs typeface="+mn-cs"/>
        </a:defRPr>
      </a:lvl6pPr>
      <a:lvl7pPr marL="1865650">
        <a:defRPr>
          <a:latin typeface="+mn-lt"/>
          <a:ea typeface="+mn-ea"/>
          <a:cs typeface="+mn-cs"/>
        </a:defRPr>
      </a:lvl7pPr>
      <a:lvl8pPr marL="2176592">
        <a:defRPr>
          <a:latin typeface="+mn-lt"/>
          <a:ea typeface="+mn-ea"/>
          <a:cs typeface="+mn-cs"/>
        </a:defRPr>
      </a:lvl8pPr>
      <a:lvl9pPr marL="2487534">
        <a:defRPr>
          <a:latin typeface="+mn-lt"/>
          <a:ea typeface="+mn-ea"/>
          <a:cs typeface="+mn-cs"/>
        </a:defRPr>
      </a:lvl9pPr>
    </p:bodyStyle>
    <p:otherStyle>
      <a:lvl1pPr marL="0">
        <a:defRPr>
          <a:latin typeface="+mn-lt"/>
          <a:ea typeface="+mn-ea"/>
          <a:cs typeface="+mn-cs"/>
        </a:defRPr>
      </a:lvl1pPr>
      <a:lvl2pPr marL="310942">
        <a:defRPr>
          <a:latin typeface="+mn-lt"/>
          <a:ea typeface="+mn-ea"/>
          <a:cs typeface="+mn-cs"/>
        </a:defRPr>
      </a:lvl2pPr>
      <a:lvl3pPr marL="621883">
        <a:defRPr>
          <a:latin typeface="+mn-lt"/>
          <a:ea typeface="+mn-ea"/>
          <a:cs typeface="+mn-cs"/>
        </a:defRPr>
      </a:lvl3pPr>
      <a:lvl4pPr marL="932825">
        <a:defRPr>
          <a:latin typeface="+mn-lt"/>
          <a:ea typeface="+mn-ea"/>
          <a:cs typeface="+mn-cs"/>
        </a:defRPr>
      </a:lvl4pPr>
      <a:lvl5pPr marL="1243767">
        <a:defRPr>
          <a:latin typeface="+mn-lt"/>
          <a:ea typeface="+mn-ea"/>
          <a:cs typeface="+mn-cs"/>
        </a:defRPr>
      </a:lvl5pPr>
      <a:lvl6pPr marL="1554709">
        <a:defRPr>
          <a:latin typeface="+mn-lt"/>
          <a:ea typeface="+mn-ea"/>
          <a:cs typeface="+mn-cs"/>
        </a:defRPr>
      </a:lvl6pPr>
      <a:lvl7pPr marL="1865650">
        <a:defRPr>
          <a:latin typeface="+mn-lt"/>
          <a:ea typeface="+mn-ea"/>
          <a:cs typeface="+mn-cs"/>
        </a:defRPr>
      </a:lvl7pPr>
      <a:lvl8pPr marL="2176592">
        <a:defRPr>
          <a:latin typeface="+mn-lt"/>
          <a:ea typeface="+mn-ea"/>
          <a:cs typeface="+mn-cs"/>
        </a:defRPr>
      </a:lvl8pPr>
      <a:lvl9pPr marL="2487534">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50146" y="99443"/>
            <a:ext cx="8630067" cy="4938546"/>
          </a:xfrm>
          <a:prstGeom prst="rect">
            <a:avLst/>
          </a:prstGeom>
          <a:blipFill>
            <a:blip r:embed="rId7" cstate="print"/>
            <a:stretch>
              <a:fillRect/>
            </a:stretch>
          </a:blipFill>
        </p:spPr>
        <p:txBody>
          <a:bodyPr wrap="square" lIns="0" tIns="0" rIns="0" bIns="0" rtlCol="0"/>
          <a:lstStyle/>
          <a:p>
            <a:endParaRPr sz="1154"/>
          </a:p>
        </p:txBody>
      </p:sp>
      <p:sp>
        <p:nvSpPr>
          <p:cNvPr id="2" name="Holder 2"/>
          <p:cNvSpPr>
            <a:spLocks noGrp="1"/>
          </p:cNvSpPr>
          <p:nvPr>
            <p:ph type="title"/>
          </p:nvPr>
        </p:nvSpPr>
        <p:spPr>
          <a:xfrm>
            <a:off x="727971" y="343235"/>
            <a:ext cx="7688058" cy="438582"/>
          </a:xfrm>
          <a:prstGeom prst="rect">
            <a:avLst/>
          </a:prstGeom>
        </p:spPr>
        <p:txBody>
          <a:bodyPr wrap="square" lIns="0" tIns="0" rIns="0" bIns="0">
            <a:spAutoFit/>
          </a:bodyPr>
          <a:lstStyle>
            <a:lvl1pPr>
              <a:defRPr sz="285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18407" y="1136276"/>
            <a:ext cx="790718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4783455"/>
            <a:ext cx="292608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15444"/>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0/2025</a:t>
            </a:fld>
            <a:endParaRPr lang="en-US"/>
          </a:p>
        </p:txBody>
      </p:sp>
      <p:sp>
        <p:nvSpPr>
          <p:cNvPr id="6" name="Holder 6"/>
          <p:cNvSpPr>
            <a:spLocks noGrp="1"/>
          </p:cNvSpPr>
          <p:nvPr>
            <p:ph type="sldNum" sz="quarter" idx="7"/>
          </p:nvPr>
        </p:nvSpPr>
        <p:spPr>
          <a:xfrm>
            <a:off x="6583680" y="4783455"/>
            <a:ext cx="2103120"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8" name="TextBox 7">
            <a:extLst>
              <a:ext uri="{FF2B5EF4-FFF2-40B4-BE49-F238E27FC236}">
                <a16:creationId xmlns:a16="http://schemas.microsoft.com/office/drawing/2014/main" id="{2733ECD2-97EF-4BBA-9642-7BD5F4CE00C5}"/>
              </a:ext>
            </a:extLst>
          </p:cNvPr>
          <p:cNvSpPr txBox="1"/>
          <p:nvPr userDrawn="1">
            <p:extLst>
              <p:ext uri="{1162E1C5-73C7-4A58-AE30-91384D911F3F}">
                <p184:classification xmlns:p184="http://schemas.microsoft.com/office/powerpoint/2018/4/main" val="ftr"/>
              </p:ext>
            </p:extLst>
          </p:nvPr>
        </p:nvSpPr>
        <p:spPr>
          <a:xfrm>
            <a:off x="4164755" y="5050218"/>
            <a:ext cx="678741" cy="88807"/>
          </a:xfrm>
          <a:prstGeom prst="rect">
            <a:avLst/>
          </a:prstGeom>
        </p:spPr>
        <p:txBody>
          <a:bodyPr horzOverflow="overflow" lIns="0" tIns="0" rIns="0" bIns="0">
            <a:spAutoFit/>
          </a:bodyPr>
          <a:lstStyle/>
          <a:p>
            <a:pPr algn="ctr"/>
            <a:r>
              <a:rPr lang="en-US" sz="577">
                <a:solidFill>
                  <a:srgbClr val="0000FF"/>
                </a:solidFill>
                <a:latin typeface="Calibri" panose="020F0502020204030204" pitchFamily="34" charset="0"/>
                <a:ea typeface="Calibri" panose="020F0502020204030204" pitchFamily="34" charset="0"/>
                <a:cs typeface="Calibri" panose="020F0502020204030204" pitchFamily="34" charset="0"/>
              </a:rPr>
              <a:t>C2: CBK - Official</a:t>
            </a:r>
          </a:p>
        </p:txBody>
      </p:sp>
    </p:spTree>
    <p:extLst>
      <p:ext uri="{BB962C8B-B14F-4D97-AF65-F5344CB8AC3E}">
        <p14:creationId xmlns:p14="http://schemas.microsoft.com/office/powerpoint/2010/main" val="425093329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txStyles>
    <p:titleStyle>
      <a:lvl1pPr>
        <a:defRPr>
          <a:latin typeface="+mj-lt"/>
          <a:ea typeface="+mj-ea"/>
          <a:cs typeface="+mj-cs"/>
        </a:defRPr>
      </a:lvl1pPr>
    </p:titleStyle>
    <p:bodyStyle>
      <a:lvl1pPr marL="0">
        <a:defRPr>
          <a:latin typeface="+mn-lt"/>
          <a:ea typeface="+mn-ea"/>
          <a:cs typeface="+mn-cs"/>
        </a:defRPr>
      </a:lvl1pPr>
      <a:lvl2pPr marL="293218">
        <a:defRPr>
          <a:latin typeface="+mn-lt"/>
          <a:ea typeface="+mn-ea"/>
          <a:cs typeface="+mn-cs"/>
        </a:defRPr>
      </a:lvl2pPr>
      <a:lvl3pPr marL="586436">
        <a:defRPr>
          <a:latin typeface="+mn-lt"/>
          <a:ea typeface="+mn-ea"/>
          <a:cs typeface="+mn-cs"/>
        </a:defRPr>
      </a:lvl3pPr>
      <a:lvl4pPr marL="879654">
        <a:defRPr>
          <a:latin typeface="+mn-lt"/>
          <a:ea typeface="+mn-ea"/>
          <a:cs typeface="+mn-cs"/>
        </a:defRPr>
      </a:lvl4pPr>
      <a:lvl5pPr marL="1172872">
        <a:defRPr>
          <a:latin typeface="+mn-lt"/>
          <a:ea typeface="+mn-ea"/>
          <a:cs typeface="+mn-cs"/>
        </a:defRPr>
      </a:lvl5pPr>
      <a:lvl6pPr marL="1466090">
        <a:defRPr>
          <a:latin typeface="+mn-lt"/>
          <a:ea typeface="+mn-ea"/>
          <a:cs typeface="+mn-cs"/>
        </a:defRPr>
      </a:lvl6pPr>
      <a:lvl7pPr marL="1759309">
        <a:defRPr>
          <a:latin typeface="+mn-lt"/>
          <a:ea typeface="+mn-ea"/>
          <a:cs typeface="+mn-cs"/>
        </a:defRPr>
      </a:lvl7pPr>
      <a:lvl8pPr marL="2052526">
        <a:defRPr>
          <a:latin typeface="+mn-lt"/>
          <a:ea typeface="+mn-ea"/>
          <a:cs typeface="+mn-cs"/>
        </a:defRPr>
      </a:lvl8pPr>
      <a:lvl9pPr marL="2345744">
        <a:defRPr>
          <a:latin typeface="+mn-lt"/>
          <a:ea typeface="+mn-ea"/>
          <a:cs typeface="+mn-cs"/>
        </a:defRPr>
      </a:lvl9pPr>
    </p:bodyStyle>
    <p:otherStyle>
      <a:lvl1pPr marL="0">
        <a:defRPr>
          <a:latin typeface="+mn-lt"/>
          <a:ea typeface="+mn-ea"/>
          <a:cs typeface="+mn-cs"/>
        </a:defRPr>
      </a:lvl1pPr>
      <a:lvl2pPr marL="293218">
        <a:defRPr>
          <a:latin typeface="+mn-lt"/>
          <a:ea typeface="+mn-ea"/>
          <a:cs typeface="+mn-cs"/>
        </a:defRPr>
      </a:lvl2pPr>
      <a:lvl3pPr marL="586436">
        <a:defRPr>
          <a:latin typeface="+mn-lt"/>
          <a:ea typeface="+mn-ea"/>
          <a:cs typeface="+mn-cs"/>
        </a:defRPr>
      </a:lvl3pPr>
      <a:lvl4pPr marL="879654">
        <a:defRPr>
          <a:latin typeface="+mn-lt"/>
          <a:ea typeface="+mn-ea"/>
          <a:cs typeface="+mn-cs"/>
        </a:defRPr>
      </a:lvl4pPr>
      <a:lvl5pPr marL="1172872">
        <a:defRPr>
          <a:latin typeface="+mn-lt"/>
          <a:ea typeface="+mn-ea"/>
          <a:cs typeface="+mn-cs"/>
        </a:defRPr>
      </a:lvl5pPr>
      <a:lvl6pPr marL="1466090">
        <a:defRPr>
          <a:latin typeface="+mn-lt"/>
          <a:ea typeface="+mn-ea"/>
          <a:cs typeface="+mn-cs"/>
        </a:defRPr>
      </a:lvl6pPr>
      <a:lvl7pPr marL="1759309">
        <a:defRPr>
          <a:latin typeface="+mn-lt"/>
          <a:ea typeface="+mn-ea"/>
          <a:cs typeface="+mn-cs"/>
        </a:defRPr>
      </a:lvl7pPr>
      <a:lvl8pPr marL="2052526">
        <a:defRPr>
          <a:latin typeface="+mn-lt"/>
          <a:ea typeface="+mn-ea"/>
          <a:cs typeface="+mn-cs"/>
        </a:defRPr>
      </a:lvl8pPr>
      <a:lvl9pPr marL="2345744">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www.pngall.com/bank-png/download/24839" TargetMode="External"/><Relationship Id="rId5" Type="http://schemas.openxmlformats.org/officeDocument/2006/relationships/image" Target="../media/image28.png"/><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18" Type="http://schemas.microsoft.com/office/2007/relationships/diagramDrawing" Target="../diagrams/drawing4.xml"/><Relationship Id="rId3" Type="http://schemas.openxmlformats.org/officeDocument/2006/relationships/image" Target="../media/image8.png"/><Relationship Id="rId21" Type="http://schemas.openxmlformats.org/officeDocument/2006/relationships/diagramQuickStyle" Target="../diagrams/quickStyle5.xml"/><Relationship Id="rId7" Type="http://schemas.openxmlformats.org/officeDocument/2006/relationships/diagramColors" Target="../diagrams/colors2.xml"/><Relationship Id="rId12" Type="http://schemas.openxmlformats.org/officeDocument/2006/relationships/diagramColors" Target="../diagrams/colors3.xml"/><Relationship Id="rId17" Type="http://schemas.openxmlformats.org/officeDocument/2006/relationships/diagramColors" Target="../diagrams/colors4.xml"/><Relationship Id="rId2" Type="http://schemas.openxmlformats.org/officeDocument/2006/relationships/notesSlide" Target="../notesSlides/notesSlide13.xml"/><Relationship Id="rId16" Type="http://schemas.openxmlformats.org/officeDocument/2006/relationships/diagramQuickStyle" Target="../diagrams/quickStyle4.xml"/><Relationship Id="rId20" Type="http://schemas.openxmlformats.org/officeDocument/2006/relationships/diagramLayout" Target="../diagrams/layout5.xml"/><Relationship Id="rId1" Type="http://schemas.openxmlformats.org/officeDocument/2006/relationships/slideLayout" Target="../slideLayouts/slideLayout5.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5" Type="http://schemas.openxmlformats.org/officeDocument/2006/relationships/diagramLayout" Target="../diagrams/layout4.xml"/><Relationship Id="rId23" Type="http://schemas.microsoft.com/office/2007/relationships/diagramDrawing" Target="../diagrams/drawing5.xml"/><Relationship Id="rId10" Type="http://schemas.openxmlformats.org/officeDocument/2006/relationships/diagramLayout" Target="../diagrams/layout3.xml"/><Relationship Id="rId19" Type="http://schemas.openxmlformats.org/officeDocument/2006/relationships/diagramData" Target="../diagrams/data5.xml"/><Relationship Id="rId4" Type="http://schemas.openxmlformats.org/officeDocument/2006/relationships/diagramData" Target="../diagrams/data2.xml"/><Relationship Id="rId9" Type="http://schemas.openxmlformats.org/officeDocument/2006/relationships/diagramData" Target="../diagrams/data3.xml"/><Relationship Id="rId14" Type="http://schemas.openxmlformats.org/officeDocument/2006/relationships/diagramData" Target="../diagrams/data4.xml"/><Relationship Id="rId22" Type="http://schemas.openxmlformats.org/officeDocument/2006/relationships/diagramColors" Target="../diagrams/colors5.xml"/></Relationships>
</file>

<file path=ppt/slides/_rels/slide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8.png"/><Relationship Id="rId7"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16.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tags" Target="../tags/tag46.xml"/><Relationship Id="rId47" Type="http://schemas.openxmlformats.org/officeDocument/2006/relationships/tags" Target="../tags/tag51.xml"/><Relationship Id="rId50" Type="http://schemas.openxmlformats.org/officeDocument/2006/relationships/tags" Target="../tags/tag54.xml"/><Relationship Id="rId55" Type="http://schemas.openxmlformats.org/officeDocument/2006/relationships/tags" Target="../tags/tag59.xml"/><Relationship Id="rId63" Type="http://schemas.openxmlformats.org/officeDocument/2006/relationships/oleObject" Target="../embeddings/oleObject7.bin"/><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tags" Target="../tags/tag33.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8" Type="http://schemas.openxmlformats.org/officeDocument/2006/relationships/slideLayout" Target="../slideLayouts/slideLayout8.xml"/><Relationship Id="rId5" Type="http://schemas.openxmlformats.org/officeDocument/2006/relationships/tags" Target="../tags/tag9.xml"/><Relationship Id="rId61" Type="http://schemas.openxmlformats.org/officeDocument/2006/relationships/oleObject" Target="../embeddings/oleObject6.bin"/><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image" Target="../media/image54.png"/><Relationship Id="rId8" Type="http://schemas.openxmlformats.org/officeDocument/2006/relationships/tags" Target="../tags/tag12.xml"/><Relationship Id="rId51" Type="http://schemas.openxmlformats.org/officeDocument/2006/relationships/tags" Target="../tags/tag55.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oleObject" Target="../embeddings/oleObject5.bin"/><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image" Target="../media/image53.png"/><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image" Target="../media/image1.emf"/><Relationship Id="rId65" Type="http://schemas.openxmlformats.org/officeDocument/2006/relationships/image" Target="../media/image37.png"/><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21" Type="http://schemas.openxmlformats.org/officeDocument/2006/relationships/image" Target="../media/image72.png"/><Relationship Id="rId34" Type="http://schemas.openxmlformats.org/officeDocument/2006/relationships/image" Target="../media/image85.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2" Type="http://schemas.openxmlformats.org/officeDocument/2006/relationships/slideLayout" Target="../slideLayouts/slideLayout7.xml"/><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1" Type="http://schemas.openxmlformats.org/officeDocument/2006/relationships/tags" Target="../tags/tag62.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png"/><Relationship Id="rId5" Type="http://schemas.openxmlformats.org/officeDocument/2006/relationships/image" Target="../media/image56.emf"/><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 Type="http://schemas.openxmlformats.org/officeDocument/2006/relationships/oleObject" Target="../embeddings/oleObject8.bin"/><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 Id="rId8" Type="http://schemas.openxmlformats.org/officeDocument/2006/relationships/image" Target="../media/image59.png"/><Relationship Id="rId3"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88.png"/><Relationship Id="rId7" Type="http://schemas.openxmlformats.org/officeDocument/2006/relationships/image" Target="../media/image92.sv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91.png"/><Relationship Id="rId5" Type="http://schemas.openxmlformats.org/officeDocument/2006/relationships/image" Target="../media/image90.svg"/><Relationship Id="rId4" Type="http://schemas.openxmlformats.org/officeDocument/2006/relationships/image" Target="../media/image89.sv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chart" Target="../charts/chart6.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chart" Target="../charts/chart8.xml"/><Relationship Id="rId4" Type="http://schemas.openxmlformats.org/officeDocument/2006/relationships/chart" Target="../charts/chart7.xml"/></Relationships>
</file>

<file path=ppt/slides/_rels/slide2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chart" Target="../charts/chart10.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chart" Target="../charts/chart11.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chart" Target="../charts/chart12.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5.emf"/><Relationship Id="rId2" Type="http://schemas.openxmlformats.org/officeDocument/2006/relationships/notesSlide" Target="../notesSlides/notesSlide26.xml"/><Relationship Id="rId1" Type="http://schemas.openxmlformats.org/officeDocument/2006/relationships/slideLayout" Target="../slideLayouts/slideLayout15.xml"/><Relationship Id="rId6" Type="http://schemas.openxmlformats.org/officeDocument/2006/relationships/package" Target="../embeddings/Microsoft_Excel_Worksheet13.xlsx"/><Relationship Id="rId5" Type="http://schemas.openxmlformats.org/officeDocument/2006/relationships/image" Target="../media/image94.emf"/><Relationship Id="rId4" Type="http://schemas.openxmlformats.org/officeDocument/2006/relationships/package" Target="../embeddings/Microsoft_Excel_Worksheet12.xlsx"/></Relationships>
</file>

<file path=ppt/slides/_rels/slide2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chart" Target="../charts/chart15.xml"/><Relationship Id="rId4" Type="http://schemas.openxmlformats.org/officeDocument/2006/relationships/chart" Target="../charts/chart14.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96.emf"/></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98.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8.png"/><Relationship Id="rId7" Type="http://schemas.openxmlformats.org/officeDocument/2006/relationships/diagramColors" Target="../diagrams/colors6.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1.xml"/><Relationship Id="rId5" Type="http://schemas.openxmlformats.org/officeDocument/2006/relationships/image" Target="../media/image103.png"/><Relationship Id="rId4" Type="http://schemas.openxmlformats.org/officeDocument/2006/relationships/image" Target="../media/image102.jpeg"/></Relationships>
</file>

<file path=ppt/slides/_rels/slide3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1.xml"/><Relationship Id="rId5" Type="http://schemas.openxmlformats.org/officeDocument/2006/relationships/image" Target="../media/image107.png"/><Relationship Id="rId4" Type="http://schemas.openxmlformats.org/officeDocument/2006/relationships/image" Target="../media/image106.png"/></Relationships>
</file>

<file path=ppt/slides/_rels/slide3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8.png"/><Relationship Id="rId7" Type="http://schemas.openxmlformats.org/officeDocument/2006/relationships/diagramColors" Target="../diagrams/colors7.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QuickStyle" Target="../diagrams/quickStyle7.xml"/><Relationship Id="rId5" Type="http://schemas.openxmlformats.org/officeDocument/2006/relationships/diagramLayout" Target="../diagrams/layout7.xml"/><Relationship Id="rId10" Type="http://schemas.openxmlformats.org/officeDocument/2006/relationships/image" Target="../media/image109.emf"/><Relationship Id="rId4" Type="http://schemas.openxmlformats.org/officeDocument/2006/relationships/diagramData" Target="../diagrams/data7.xml"/><Relationship Id="rId9" Type="http://schemas.openxmlformats.org/officeDocument/2006/relationships/image" Target="../media/image108.emf"/></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4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4.xml"/><Relationship Id="rId5" Type="http://schemas.openxmlformats.org/officeDocument/2006/relationships/image" Target="../media/image113.png"/><Relationship Id="rId4" Type="http://schemas.openxmlformats.org/officeDocument/2006/relationships/image" Target="../media/image112.png"/></Relationships>
</file>

<file path=ppt/slides/_rels/slide47.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90000">
              <a:schemeClr val="accent2">
                <a:lumMod val="67000"/>
                <a:lumOff val="33000"/>
                <a:alpha val="67000"/>
              </a:schemeClr>
            </a:gs>
            <a:gs pos="48000">
              <a:schemeClr val="accent2">
                <a:lumMod val="97000"/>
                <a:lumOff val="3000"/>
              </a:schemeClr>
            </a:gs>
            <a:gs pos="100000">
              <a:schemeClr val="accent2">
                <a:lumMod val="60000"/>
                <a:lumOff val="40000"/>
              </a:schemeClr>
            </a:gs>
          </a:gsLst>
          <a:path path="shape">
            <a:fillToRect l="50000" t="50000" r="50000" b="50000"/>
          </a:path>
          <a:tileRect/>
        </a:gradFill>
        <a:effectLst/>
      </p:bgPr>
    </p:bg>
    <p:spTree>
      <p:nvGrpSpPr>
        <p:cNvPr id="1" name="Shape 56"/>
        <p:cNvGrpSpPr/>
        <p:nvPr/>
      </p:nvGrpSpPr>
      <p:grpSpPr>
        <a:xfrm>
          <a:off x="0" y="0"/>
          <a:ext cx="0" cy="0"/>
          <a:chOff x="0" y="0"/>
          <a:chExt cx="0" cy="0"/>
        </a:xfrm>
      </p:grpSpPr>
      <p:sp>
        <p:nvSpPr>
          <p:cNvPr id="57" name="Google Shape;57;p12"/>
          <p:cNvSpPr txBox="1">
            <a:spLocks noGrp="1"/>
          </p:cNvSpPr>
          <p:nvPr>
            <p:ph type="ctrTitle"/>
          </p:nvPr>
        </p:nvSpPr>
        <p:spPr>
          <a:xfrm>
            <a:off x="116732" y="3851163"/>
            <a:ext cx="9163455" cy="651053"/>
          </a:xfrm>
          <a:prstGeom prst="rect">
            <a:avLst/>
          </a:prstGeom>
        </p:spPr>
        <p:txBody>
          <a:bodyPr spcFirstLastPara="1" wrap="square" lIns="0" tIns="0" rIns="0" bIns="0" anchor="ctr" anchorCtr="0">
            <a:noAutofit/>
          </a:bodyPr>
          <a:lstStyle/>
          <a:p>
            <a:pPr lvl="0" algn="ctr"/>
            <a:r>
              <a:rPr lang="en" sz="2600" b="1" dirty="0">
                <a:solidFill>
                  <a:schemeClr val="bg1"/>
                </a:solidFill>
                <a:latin typeface="Century Gothic" panose="020B0502020202020204" pitchFamily="34" charset="0"/>
              </a:rPr>
              <a:t>Presented by: MR. Michael Eganza, Director,BPS, CBK</a:t>
            </a:r>
            <a:endParaRPr lang="en-GB" sz="2600" b="1" dirty="0">
              <a:solidFill>
                <a:schemeClr val="bg1"/>
              </a:solidFill>
            </a:endParaRPr>
          </a:p>
        </p:txBody>
      </p:sp>
      <p:pic>
        <p:nvPicPr>
          <p:cNvPr id="3" name="Picture 2" descr="A gold shield with lions and spears&#10;&#10;Description automatically generated">
            <a:extLst>
              <a:ext uri="{FF2B5EF4-FFF2-40B4-BE49-F238E27FC236}">
                <a16:creationId xmlns:a16="http://schemas.microsoft.com/office/drawing/2014/main" id="{044E3544-D937-E8E1-7029-DEE642A7ABDC}"/>
              </a:ext>
            </a:extLst>
          </p:cNvPr>
          <p:cNvPicPr>
            <a:picLocks noChangeAspect="1"/>
          </p:cNvPicPr>
          <p:nvPr/>
        </p:nvPicPr>
        <p:blipFill>
          <a:blip r:embed="rId3"/>
          <a:stretch>
            <a:fillRect/>
          </a:stretch>
        </p:blipFill>
        <p:spPr>
          <a:xfrm>
            <a:off x="3478942" y="-30082"/>
            <a:ext cx="1611296" cy="1280357"/>
          </a:xfrm>
          <a:prstGeom prst="rect">
            <a:avLst/>
          </a:prstGeom>
        </p:spPr>
      </p:pic>
      <p:sp>
        <p:nvSpPr>
          <p:cNvPr id="2" name="TextBox 1">
            <a:extLst>
              <a:ext uri="{FF2B5EF4-FFF2-40B4-BE49-F238E27FC236}">
                <a16:creationId xmlns:a16="http://schemas.microsoft.com/office/drawing/2014/main" id="{CCE33975-8EF5-7A43-520C-CDE0F706B761}"/>
              </a:ext>
            </a:extLst>
          </p:cNvPr>
          <p:cNvSpPr txBox="1"/>
          <p:nvPr/>
        </p:nvSpPr>
        <p:spPr>
          <a:xfrm>
            <a:off x="2135929" y="1225203"/>
            <a:ext cx="4700665" cy="369332"/>
          </a:xfrm>
          <a:prstGeom prst="rect">
            <a:avLst/>
          </a:prstGeom>
          <a:noFill/>
        </p:spPr>
        <p:txBody>
          <a:bodyPr wrap="square" rtlCol="0">
            <a:spAutoFit/>
          </a:bodyPr>
          <a:lstStyle/>
          <a:p>
            <a:pPr algn="ctr"/>
            <a:r>
              <a:rPr lang="en-US" sz="1800" b="1" dirty="0">
                <a:solidFill>
                  <a:schemeClr val="bg1"/>
                </a:solidFill>
                <a:latin typeface="Century Gothic" panose="020B0502020202020204" pitchFamily="34" charset="0"/>
              </a:rPr>
              <a:t>Central Bank of Kenya</a:t>
            </a:r>
          </a:p>
        </p:txBody>
      </p:sp>
      <p:sp>
        <p:nvSpPr>
          <p:cNvPr id="4" name="TextBox 3">
            <a:extLst>
              <a:ext uri="{FF2B5EF4-FFF2-40B4-BE49-F238E27FC236}">
                <a16:creationId xmlns:a16="http://schemas.microsoft.com/office/drawing/2014/main" id="{7B33954F-D68D-1242-581C-A0D2780BB337}"/>
              </a:ext>
            </a:extLst>
          </p:cNvPr>
          <p:cNvSpPr txBox="1"/>
          <p:nvPr/>
        </p:nvSpPr>
        <p:spPr>
          <a:xfrm>
            <a:off x="547026" y="1634648"/>
            <a:ext cx="7878470" cy="461665"/>
          </a:xfrm>
          <a:prstGeom prst="rect">
            <a:avLst/>
          </a:prstGeom>
          <a:noFill/>
        </p:spPr>
        <p:txBody>
          <a:bodyPr wrap="square" rtlCol="0">
            <a:spAutoFit/>
          </a:bodyPr>
          <a:lstStyle/>
          <a:p>
            <a:pPr algn="ctr"/>
            <a:r>
              <a:rPr lang="en-US" sz="2400" b="1" dirty="0">
                <a:solidFill>
                  <a:schemeClr val="bg1"/>
                </a:solidFill>
                <a:latin typeface="Century Gothic" panose="020B0502020202020204" pitchFamily="34" charset="0"/>
              </a:rPr>
              <a:t>Overview of Banking and Payment Services</a:t>
            </a:r>
          </a:p>
        </p:txBody>
      </p:sp>
      <p:cxnSp>
        <p:nvCxnSpPr>
          <p:cNvPr id="5" name="Straight Connector 4">
            <a:extLst>
              <a:ext uri="{FF2B5EF4-FFF2-40B4-BE49-F238E27FC236}">
                <a16:creationId xmlns:a16="http://schemas.microsoft.com/office/drawing/2014/main" id="{89F8F861-2B19-F233-F083-EFE108B2A6A5}"/>
              </a:ext>
            </a:extLst>
          </p:cNvPr>
          <p:cNvCxnSpPr>
            <a:cxnSpLocks/>
          </p:cNvCxnSpPr>
          <p:nvPr/>
        </p:nvCxnSpPr>
        <p:spPr>
          <a:xfrm flipV="1">
            <a:off x="1352481" y="3212545"/>
            <a:ext cx="6122823" cy="17565"/>
          </a:xfrm>
          <a:prstGeom prst="line">
            <a:avLst/>
          </a:prstGeom>
          <a:noFill/>
          <a:ln w="19050" cap="flat" cmpd="sng" algn="ctr">
            <a:solidFill>
              <a:srgbClr val="F19D19"/>
            </a:solidFill>
            <a:prstDash val="solid"/>
            <a:miter lim="800000"/>
          </a:ln>
          <a:effectLst/>
        </p:spPr>
      </p:cxnSp>
      <p:sp>
        <p:nvSpPr>
          <p:cNvPr id="8" name="TextBox 7">
            <a:extLst>
              <a:ext uri="{FF2B5EF4-FFF2-40B4-BE49-F238E27FC236}">
                <a16:creationId xmlns:a16="http://schemas.microsoft.com/office/drawing/2014/main" id="{A7AA51CE-40D0-209F-9F70-F38D22300DBE}"/>
              </a:ext>
            </a:extLst>
          </p:cNvPr>
          <p:cNvSpPr txBox="1"/>
          <p:nvPr/>
        </p:nvSpPr>
        <p:spPr>
          <a:xfrm>
            <a:off x="2871293" y="3247676"/>
            <a:ext cx="2971788" cy="461665"/>
          </a:xfrm>
          <a:prstGeom prst="rect">
            <a:avLst/>
          </a:prstGeom>
          <a:noFill/>
        </p:spPr>
        <p:txBody>
          <a:bodyPr wrap="square" rtlCol="0">
            <a:spAutoFit/>
          </a:bodyPr>
          <a:lstStyle/>
          <a:p>
            <a:pPr algn="ctr"/>
            <a:r>
              <a:rPr lang="en-US" sz="2400" b="1" dirty="0">
                <a:solidFill>
                  <a:schemeClr val="bg1"/>
                </a:solidFill>
                <a:latin typeface="Century Gothic" panose="020B0502020202020204" pitchFamily="34" charset="0"/>
              </a:rPr>
              <a:t>October 2025</a:t>
            </a:r>
          </a:p>
        </p:txBody>
      </p:sp>
      <p:sp>
        <p:nvSpPr>
          <p:cNvPr id="9" name="TextBox 8">
            <a:extLst>
              <a:ext uri="{FF2B5EF4-FFF2-40B4-BE49-F238E27FC236}">
                <a16:creationId xmlns:a16="http://schemas.microsoft.com/office/drawing/2014/main" id="{BF82184D-E5CE-0A4F-2EE7-5184BB4E522B}"/>
              </a:ext>
            </a:extLst>
          </p:cNvPr>
          <p:cNvSpPr txBox="1"/>
          <p:nvPr/>
        </p:nvSpPr>
        <p:spPr>
          <a:xfrm>
            <a:off x="547026" y="2378288"/>
            <a:ext cx="8542231" cy="400110"/>
          </a:xfrm>
          <a:prstGeom prst="rect">
            <a:avLst/>
          </a:prstGeom>
          <a:noFill/>
        </p:spPr>
        <p:txBody>
          <a:bodyPr wrap="square" rtlCol="0">
            <a:spAutoFit/>
          </a:bodyPr>
          <a:lstStyle/>
          <a:p>
            <a:pPr algn="ctr"/>
            <a:r>
              <a:rPr lang="en-US" sz="2000" i="1" dirty="0">
                <a:solidFill>
                  <a:schemeClr val="bg1"/>
                </a:solidFill>
                <a:latin typeface="Century Gothic" panose="020B0502020202020204" pitchFamily="34" charset="0"/>
              </a:rPr>
              <a:t>Presentation at the  MojaCom 29 Nairobi 2025 </a:t>
            </a:r>
            <a:endParaRPr lang="en-US" sz="18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078BC7C-C196-E2BB-459D-BC91DEC6FE58}"/>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DC17CC01-FEBB-5605-7B54-F69E4298D0F9}"/>
              </a:ext>
            </a:extLst>
          </p:cNvPr>
          <p:cNvSpPr>
            <a:spLocks noGrp="1"/>
          </p:cNvSpPr>
          <p:nvPr>
            <p:ph type="title"/>
          </p:nvPr>
        </p:nvSpPr>
        <p:spPr>
          <a:xfrm>
            <a:off x="764509" y="-18920"/>
            <a:ext cx="7050044" cy="442151"/>
          </a:xfrm>
        </p:spPr>
        <p:txBody>
          <a:bodyPr>
            <a:normAutofit/>
          </a:bodyPr>
          <a:lstStyle/>
          <a:p>
            <a:pPr algn="ctr"/>
            <a:r>
              <a:rPr lang="en-GB" sz="2400" dirty="0"/>
              <a:t>PSP Licensing Procedure</a:t>
            </a:r>
            <a:endParaRPr lang="en-US" sz="2400" dirty="0">
              <a:latin typeface="Arial" panose="020B06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82466870-4BDC-EBA3-AEAC-F69C7D40A58F}"/>
              </a:ext>
            </a:extLst>
          </p:cNvPr>
          <p:cNvCxnSpPr>
            <a:cxnSpLocks/>
          </p:cNvCxnSpPr>
          <p:nvPr/>
        </p:nvCxnSpPr>
        <p:spPr>
          <a:xfrm>
            <a:off x="23905" y="460641"/>
            <a:ext cx="9120095" cy="12434"/>
          </a:xfrm>
          <a:prstGeom prst="line">
            <a:avLst/>
          </a:prstGeom>
          <a:noFill/>
          <a:ln w="19050" cap="flat" cmpd="sng" algn="ctr">
            <a:solidFill>
              <a:srgbClr val="F19D19"/>
            </a:solidFill>
            <a:prstDash val="solid"/>
            <a:miter lim="800000"/>
          </a:ln>
          <a:effectLst/>
        </p:spPr>
      </p:cxnSp>
      <p:pic>
        <p:nvPicPr>
          <p:cNvPr id="3" name="Picture 2">
            <a:extLst>
              <a:ext uri="{FF2B5EF4-FFF2-40B4-BE49-F238E27FC236}">
                <a16:creationId xmlns:a16="http://schemas.microsoft.com/office/drawing/2014/main" id="{C7114924-3CD0-7965-85C1-432F2F72A143}"/>
              </a:ext>
            </a:extLst>
          </p:cNvPr>
          <p:cNvPicPr>
            <a:picLocks noChangeAspect="1"/>
          </p:cNvPicPr>
          <p:nvPr/>
        </p:nvPicPr>
        <p:blipFill>
          <a:blip r:embed="rId3"/>
          <a:stretch>
            <a:fillRect/>
          </a:stretch>
        </p:blipFill>
        <p:spPr>
          <a:xfrm>
            <a:off x="8598619" y="-19795"/>
            <a:ext cx="547416" cy="480436"/>
          </a:xfrm>
          <a:prstGeom prst="rect">
            <a:avLst/>
          </a:prstGeom>
        </p:spPr>
      </p:pic>
      <p:sp>
        <p:nvSpPr>
          <p:cNvPr id="11" name="Title 10">
            <a:extLst>
              <a:ext uri="{FF2B5EF4-FFF2-40B4-BE49-F238E27FC236}">
                <a16:creationId xmlns:a16="http://schemas.microsoft.com/office/drawing/2014/main" id="{16AAA00F-CFFB-CD2F-F708-A7A33E6CA185}"/>
              </a:ext>
            </a:extLst>
          </p:cNvPr>
          <p:cNvSpPr txBox="1">
            <a:spLocks/>
          </p:cNvSpPr>
          <p:nvPr/>
        </p:nvSpPr>
        <p:spPr>
          <a:xfrm>
            <a:off x="23905" y="12434"/>
            <a:ext cx="624488" cy="37338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bg1"/>
                </a:solidFill>
                <a:latin typeface="Century Gothic" panose="020B0502020202020204" pitchFamily="34" charset="0"/>
              </a:rPr>
              <a:t>9.</a:t>
            </a:r>
          </a:p>
        </p:txBody>
      </p:sp>
      <p:pic>
        <p:nvPicPr>
          <p:cNvPr id="7" name="Picture 6">
            <a:extLst>
              <a:ext uri="{FF2B5EF4-FFF2-40B4-BE49-F238E27FC236}">
                <a16:creationId xmlns:a16="http://schemas.microsoft.com/office/drawing/2014/main" id="{3A19467D-E202-3A85-37F0-07A015CB2132}"/>
              </a:ext>
            </a:extLst>
          </p:cNvPr>
          <p:cNvPicPr>
            <a:picLocks noChangeAspect="1"/>
          </p:cNvPicPr>
          <p:nvPr/>
        </p:nvPicPr>
        <p:blipFill>
          <a:blip r:embed="rId4"/>
          <a:stretch>
            <a:fillRect/>
          </a:stretch>
        </p:blipFill>
        <p:spPr>
          <a:xfrm>
            <a:off x="89913" y="865043"/>
            <a:ext cx="6427265" cy="3413414"/>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EAF279B0-83E7-4B48-EFA4-1DE17C188AB9}"/>
              </a:ext>
            </a:extLst>
          </p:cNvPr>
          <p:cNvSpPr txBox="1"/>
          <p:nvPr/>
        </p:nvSpPr>
        <p:spPr>
          <a:xfrm>
            <a:off x="6625244" y="628407"/>
            <a:ext cx="2358413" cy="3970318"/>
          </a:xfrm>
          <a:prstGeom prst="rect">
            <a:avLst/>
          </a:prstGeom>
          <a:solidFill>
            <a:schemeClr val="bg1"/>
          </a:solidFill>
          <a:ln>
            <a:solidFill>
              <a:schemeClr val="accent2">
                <a:lumMod val="50000"/>
              </a:schemeClr>
            </a:solidFill>
          </a:ln>
        </p:spPr>
        <p:style>
          <a:lnRef idx="0">
            <a:scrgbClr r="0" g="0" b="0"/>
          </a:lnRef>
          <a:fillRef idx="0">
            <a:scrgbClr r="0" g="0" b="0"/>
          </a:fillRef>
          <a:effectRef idx="0">
            <a:scrgbClr r="0" g="0" b="0"/>
          </a:effectRef>
          <a:fontRef idx="minor">
            <a:schemeClr val="lt1"/>
          </a:fontRef>
        </p:style>
        <p:txBody>
          <a:bodyPr wrap="square">
            <a:spAutoFit/>
          </a:bodyPr>
          <a:lstStyle/>
          <a:p>
            <a:pPr marR="0" lvl="0" algn="l" defTabSz="914400" rtl="0" eaLnBrk="1" fontAlgn="t" latinLnBrk="0" hangingPunct="1">
              <a:lnSpc>
                <a:spcPct val="100000"/>
              </a:lnSpc>
              <a:spcBef>
                <a:spcPts val="0"/>
              </a:spcBef>
              <a:spcAft>
                <a:spcPts val="0"/>
              </a:spcAft>
              <a:buClrTx/>
              <a:buSzPts val="2000"/>
              <a:tabLst/>
              <a:defRPr/>
            </a:pPr>
            <a:r>
              <a:rPr kumimoji="0" lang="en-GB" sz="1050" b="1" i="0" u="none" strike="noStrike" kern="1200" cap="none" spc="0" normalizeH="0" baseline="0" noProof="0">
                <a:ln>
                  <a:noFill/>
                </a:ln>
                <a:solidFill>
                  <a:schemeClr val="accent6"/>
                </a:solidFill>
                <a:effectLst/>
                <a:uLnTx/>
                <a:uFillTx/>
                <a:latin typeface="Century Gothic" panose="020B0502020202020204" pitchFamily="34" charset="0"/>
                <a:ea typeface="+mn-ea"/>
                <a:cs typeface="Times New Roman" panose="02020603050405020304" pitchFamily="18" charset="0"/>
              </a:rPr>
              <a:t>Challenges of PSP Licensing</a:t>
            </a: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GB"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Incomplete </a:t>
            </a:r>
            <a:r>
              <a:rPr kumimoji="0" lang="en-GB"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applications slowing down the authorisation process</a:t>
            </a:r>
            <a:endPar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endParaRP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GB"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Manual processing </a:t>
            </a:r>
            <a:r>
              <a:rPr kumimoji="0" lang="en-GB"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of PSP applications</a:t>
            </a:r>
            <a:endPar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endParaRP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Reliance on </a:t>
            </a:r>
            <a:r>
              <a:rPr kumimoji="0" lang="en-US"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third party agencies for EDD </a:t>
            </a:r>
            <a:r>
              <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of applicants causes  delays in the review process.</a:t>
            </a: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US"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Legal framework limitations </a:t>
            </a:r>
            <a:r>
              <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e.g., definition and classification of payment service providers versus technology platform providers.</a:t>
            </a: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GB"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Resource constraints</a:t>
            </a:r>
            <a:r>
              <a:rPr kumimoji="0" lang="en-GB"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 the team is limited in size leading to backlogs and longer approval times for applicants.</a:t>
            </a:r>
          </a:p>
          <a:p>
            <a:pPr marL="285750" marR="0" lvl="0" indent="-285750" algn="l" defTabSz="914400" rtl="0" eaLnBrk="1" fontAlgn="t" latinLnBrk="0" hangingPunct="1">
              <a:lnSpc>
                <a:spcPct val="100000"/>
              </a:lnSpc>
              <a:spcBef>
                <a:spcPts val="0"/>
              </a:spcBef>
              <a:spcAft>
                <a:spcPts val="0"/>
              </a:spcAft>
              <a:buClrTx/>
              <a:buSzPts val="2000"/>
              <a:buFont typeface="Arial" panose="020B0604020202020204" pitchFamily="34" charset="0"/>
              <a:buChar char="•"/>
              <a:tabLst/>
              <a:defRPr/>
            </a:pPr>
            <a:r>
              <a:rPr kumimoji="0" lang="en-GB" sz="1050" b="1"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Proliferation of PSPs </a:t>
            </a:r>
            <a:r>
              <a:rPr kumimoji="0" lang="en-GB"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rPr>
              <a:t>providing similar services. How many is enough?</a:t>
            </a:r>
            <a:endParaRPr kumimoji="0" lang="en-US" sz="1050" b="0" i="0" u="none" strike="noStrike" kern="1200" cap="none" spc="0" normalizeH="0" baseline="0" noProof="0">
              <a:ln>
                <a:noFill/>
              </a:ln>
              <a:solidFill>
                <a:schemeClr val="tx1"/>
              </a:solidFill>
              <a:effectLst/>
              <a:uLnTx/>
              <a:uFillTx/>
              <a:latin typeface="Century Gothic" panose="020B0502020202020204" pitchFamily="34" charset="0"/>
              <a:ea typeface="+mn-ea"/>
              <a:cs typeface="Times New Roman" panose="02020603050405020304" pitchFamily="18" charset="0"/>
            </a:endParaRPr>
          </a:p>
        </p:txBody>
      </p:sp>
      <p:sp>
        <p:nvSpPr>
          <p:cNvPr id="4" name="TextBox 3">
            <a:extLst>
              <a:ext uri="{FF2B5EF4-FFF2-40B4-BE49-F238E27FC236}">
                <a16:creationId xmlns:a16="http://schemas.microsoft.com/office/drawing/2014/main" id="{5BBB7738-0F26-524C-6644-3B4D405954F4}"/>
              </a:ext>
            </a:extLst>
          </p:cNvPr>
          <p:cNvSpPr txBox="1"/>
          <p:nvPr/>
        </p:nvSpPr>
        <p:spPr>
          <a:xfrm>
            <a:off x="89912" y="4367893"/>
            <a:ext cx="6427265" cy="23083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900" b="1" i="1">
                <a:latin typeface="Century Gothic" panose="020B0502020202020204" pitchFamily="34" charset="0"/>
              </a:rPr>
              <a:t>The whole authorization procedure takes 180 days subject to various reasons like documents completeness</a:t>
            </a:r>
          </a:p>
        </p:txBody>
      </p:sp>
    </p:spTree>
    <p:extLst>
      <p:ext uri="{BB962C8B-B14F-4D97-AF65-F5344CB8AC3E}">
        <p14:creationId xmlns:p14="http://schemas.microsoft.com/office/powerpoint/2010/main" val="22225717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0">
          <a:extLst>
            <a:ext uri="{FF2B5EF4-FFF2-40B4-BE49-F238E27FC236}">
              <a16:creationId xmlns:a16="http://schemas.microsoft.com/office/drawing/2014/main" id="{A153D724-090D-48F9-4922-5A841A586ADE}"/>
            </a:ext>
          </a:extLst>
        </p:cNvPr>
        <p:cNvGrpSpPr/>
        <p:nvPr/>
      </p:nvGrpSpPr>
      <p:grpSpPr>
        <a:xfrm>
          <a:off x="0" y="0"/>
          <a:ext cx="0" cy="0"/>
          <a:chOff x="0" y="0"/>
          <a:chExt cx="0" cy="0"/>
        </a:xfrm>
      </p:grpSpPr>
      <p:pic>
        <p:nvPicPr>
          <p:cNvPr id="2" name="Picture 1" descr="A gold shield with lions and spears&#10;&#10;Description automatically generated">
            <a:extLst>
              <a:ext uri="{FF2B5EF4-FFF2-40B4-BE49-F238E27FC236}">
                <a16:creationId xmlns:a16="http://schemas.microsoft.com/office/drawing/2014/main" id="{7B5B4EC4-151C-D615-8A28-83351621A2F7}"/>
              </a:ext>
            </a:extLst>
          </p:cNvPr>
          <p:cNvPicPr>
            <a:picLocks noChangeAspect="1"/>
          </p:cNvPicPr>
          <p:nvPr/>
        </p:nvPicPr>
        <p:blipFill>
          <a:blip r:embed="rId3"/>
          <a:stretch>
            <a:fillRect/>
          </a:stretch>
        </p:blipFill>
        <p:spPr>
          <a:xfrm>
            <a:off x="8619279" y="-39398"/>
            <a:ext cx="516172" cy="410157"/>
          </a:xfrm>
          <a:prstGeom prst="rect">
            <a:avLst/>
          </a:prstGeom>
        </p:spPr>
      </p:pic>
      <p:sp>
        <p:nvSpPr>
          <p:cNvPr id="9" name="Google Shape;126;p20">
            <a:extLst>
              <a:ext uri="{FF2B5EF4-FFF2-40B4-BE49-F238E27FC236}">
                <a16:creationId xmlns:a16="http://schemas.microsoft.com/office/drawing/2014/main" id="{823D9D6C-9AE4-E30C-9741-590DEF36501C}"/>
              </a:ext>
            </a:extLst>
          </p:cNvPr>
          <p:cNvSpPr txBox="1">
            <a:spLocks noGrp="1"/>
          </p:cNvSpPr>
          <p:nvPr>
            <p:ph type="title"/>
          </p:nvPr>
        </p:nvSpPr>
        <p:spPr>
          <a:xfrm>
            <a:off x="1037875" y="836000"/>
            <a:ext cx="7068300" cy="396300"/>
          </a:xfrm>
          <a:prstGeom prst="rect">
            <a:avLst/>
          </a:prstGeom>
        </p:spPr>
        <p:txBody>
          <a:bodyPr spcFirstLastPara="1" vert="horz" wrap="square" lIns="0" tIns="0" rIns="0" bIns="0" rtlCol="0" anchor="b" anchorCtr="0">
            <a:noAutofit/>
          </a:bodyPr>
          <a:lstStyle/>
          <a:p>
            <a:br>
              <a:rPr lang="en-GB" noProof="0"/>
            </a:br>
            <a:endParaRPr lang="en-GB" noProof="0">
              <a:solidFill>
                <a:schemeClr val="accent5">
                  <a:lumMod val="50000"/>
                </a:schemeClr>
              </a:solidFill>
            </a:endParaRPr>
          </a:p>
        </p:txBody>
      </p:sp>
      <p:graphicFrame>
        <p:nvGraphicFramePr>
          <p:cNvPr id="10" name="Chart 9">
            <a:extLst>
              <a:ext uri="{FF2B5EF4-FFF2-40B4-BE49-F238E27FC236}">
                <a16:creationId xmlns:a16="http://schemas.microsoft.com/office/drawing/2014/main" id="{F9D8F3AC-C4E1-2891-F741-50B1EEDF1A5A}"/>
              </a:ext>
            </a:extLst>
          </p:cNvPr>
          <p:cNvGraphicFramePr/>
          <p:nvPr>
            <p:extLst>
              <p:ext uri="{D42A27DB-BD31-4B8C-83A1-F6EECF244321}">
                <p14:modId xmlns:p14="http://schemas.microsoft.com/office/powerpoint/2010/main" val="4186551080"/>
              </p:ext>
            </p:extLst>
          </p:nvPr>
        </p:nvGraphicFramePr>
        <p:xfrm>
          <a:off x="221549" y="390214"/>
          <a:ext cx="8700902" cy="436307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4B348321-F641-2591-50B8-97B954A24812}"/>
              </a:ext>
            </a:extLst>
          </p:cNvPr>
          <p:cNvSpPr txBox="1"/>
          <p:nvPr/>
        </p:nvSpPr>
        <p:spPr>
          <a:xfrm>
            <a:off x="482784" y="4538704"/>
            <a:ext cx="2079262" cy="276999"/>
          </a:xfrm>
          <a:prstGeom prst="rect">
            <a:avLst/>
          </a:prstGeom>
          <a:noFill/>
        </p:spPr>
        <p:txBody>
          <a:bodyPr wrap="square" rtlCol="0">
            <a:spAutoFit/>
          </a:bodyPr>
          <a:lstStyle/>
          <a:p>
            <a:r>
              <a:rPr lang="en-GB" sz="1200" b="1">
                <a:solidFill>
                  <a:schemeClr val="bg1"/>
                </a:solidFill>
                <a:latin typeface="Century Gothic" panose="020B0502020202020204" pitchFamily="34" charset="0"/>
              </a:rPr>
              <a:t>As of Dec 2024</a:t>
            </a:r>
          </a:p>
        </p:txBody>
      </p:sp>
      <p:sp>
        <p:nvSpPr>
          <p:cNvPr id="12" name="TextBox 11">
            <a:extLst>
              <a:ext uri="{FF2B5EF4-FFF2-40B4-BE49-F238E27FC236}">
                <a16:creationId xmlns:a16="http://schemas.microsoft.com/office/drawing/2014/main" id="{20DF0605-22FF-D363-DB61-796553DE46B2}"/>
              </a:ext>
            </a:extLst>
          </p:cNvPr>
          <p:cNvSpPr txBox="1"/>
          <p:nvPr/>
        </p:nvSpPr>
        <p:spPr>
          <a:xfrm>
            <a:off x="190042" y="4815702"/>
            <a:ext cx="1018227" cy="261610"/>
          </a:xfrm>
          <a:prstGeom prst="rect">
            <a:avLst/>
          </a:prstGeom>
          <a:noFill/>
        </p:spPr>
        <p:txBody>
          <a:bodyPr wrap="none" rtlCol="0">
            <a:spAutoFit/>
          </a:bodyPr>
          <a:lstStyle/>
          <a:p>
            <a:r>
              <a:rPr lang="en-GB" sz="1100" b="1" i="1">
                <a:solidFill>
                  <a:schemeClr val="bg1"/>
                </a:solidFill>
                <a:latin typeface="Century Gothic" panose="020B0502020202020204" pitchFamily="34" charset="0"/>
              </a:rPr>
              <a:t>Source: CBK</a:t>
            </a:r>
          </a:p>
        </p:txBody>
      </p:sp>
      <p:pic>
        <p:nvPicPr>
          <p:cNvPr id="14" name="Picture 13" descr="A white building with columns&#10;&#10;AI-generated content may be incorrect.">
            <a:extLst>
              <a:ext uri="{FF2B5EF4-FFF2-40B4-BE49-F238E27FC236}">
                <a16:creationId xmlns:a16="http://schemas.microsoft.com/office/drawing/2014/main" id="{74096097-891F-448A-668D-D0340106A30A}"/>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23026" y="3568604"/>
            <a:ext cx="802639" cy="789788"/>
          </a:xfrm>
          <a:prstGeom prst="rect">
            <a:avLst/>
          </a:prstGeom>
        </p:spPr>
      </p:pic>
      <p:sp>
        <p:nvSpPr>
          <p:cNvPr id="3" name="Title 10">
            <a:extLst>
              <a:ext uri="{FF2B5EF4-FFF2-40B4-BE49-F238E27FC236}">
                <a16:creationId xmlns:a16="http://schemas.microsoft.com/office/drawing/2014/main" id="{884BF037-54A2-C3F8-DE97-461A09163160}"/>
              </a:ext>
            </a:extLst>
          </p:cNvPr>
          <p:cNvSpPr txBox="1">
            <a:spLocks/>
          </p:cNvSpPr>
          <p:nvPr/>
        </p:nvSpPr>
        <p:spPr>
          <a:xfrm>
            <a:off x="53001" y="44907"/>
            <a:ext cx="646154"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10.</a:t>
            </a:r>
          </a:p>
        </p:txBody>
      </p:sp>
    </p:spTree>
    <p:extLst>
      <p:ext uri="{BB962C8B-B14F-4D97-AF65-F5344CB8AC3E}">
        <p14:creationId xmlns:p14="http://schemas.microsoft.com/office/powerpoint/2010/main" val="3677491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a:extLst>
              <a:ext uri="{FF2B5EF4-FFF2-40B4-BE49-F238E27FC236}">
                <a16:creationId xmlns:a16="http://schemas.microsoft.com/office/drawing/2014/main" id="{4B1138F8-30D4-0D93-90CB-479C179B560A}"/>
              </a:ext>
            </a:extLst>
          </p:cNvPr>
          <p:cNvSpPr txBox="1"/>
          <p:nvPr/>
        </p:nvSpPr>
        <p:spPr>
          <a:xfrm>
            <a:off x="133326" y="8618"/>
            <a:ext cx="8024937" cy="369332"/>
          </a:xfrm>
          <a:prstGeom prst="rect">
            <a:avLst/>
          </a:prstGeom>
          <a:noFill/>
        </p:spPr>
        <p:txBody>
          <a:bodyPr wrap="square" rtlCol="0">
            <a:spAutoFit/>
          </a:bodyPr>
          <a:lstStyle/>
          <a:p>
            <a:pPr algn="ctr" defTabSz="914378"/>
            <a:r>
              <a:rPr lang="en-US" sz="1050" dirty="0">
                <a:solidFill>
                  <a:srgbClr val="000C18"/>
                </a:solidFill>
              </a:rPr>
              <a:t>                                  </a:t>
            </a:r>
            <a:r>
              <a:rPr lang="en-US" sz="1800" b="1" dirty="0">
                <a:solidFill>
                  <a:srgbClr val="000C18"/>
                </a:solidFill>
                <a:latin typeface="Century Gothic" panose="020B0502020202020204" pitchFamily="34" charset="0"/>
              </a:rPr>
              <a:t>PSPs Oversight and Compliance Process</a:t>
            </a:r>
          </a:p>
        </p:txBody>
      </p:sp>
      <p:sp>
        <p:nvSpPr>
          <p:cNvPr id="2" name="Title 10">
            <a:extLst>
              <a:ext uri="{FF2B5EF4-FFF2-40B4-BE49-F238E27FC236}">
                <a16:creationId xmlns:a16="http://schemas.microsoft.com/office/drawing/2014/main" id="{BF664AB2-3FA0-6D10-0C4B-E54027356C03}"/>
              </a:ext>
            </a:extLst>
          </p:cNvPr>
          <p:cNvSpPr txBox="1">
            <a:spLocks/>
          </p:cNvSpPr>
          <p:nvPr/>
        </p:nvSpPr>
        <p:spPr>
          <a:xfrm>
            <a:off x="100364" y="116475"/>
            <a:ext cx="48805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a:r>
              <a:rPr lang="en-US" sz="2400" b="1">
                <a:solidFill>
                  <a:srgbClr val="FFFFFF"/>
                </a:solidFill>
                <a:latin typeface="Century Gothic" panose="020B0502020202020204" pitchFamily="34" charset="0"/>
              </a:rPr>
              <a:t>7.</a:t>
            </a:r>
          </a:p>
        </p:txBody>
      </p:sp>
      <p:cxnSp>
        <p:nvCxnSpPr>
          <p:cNvPr id="3" name="Straight Connector 2">
            <a:extLst>
              <a:ext uri="{FF2B5EF4-FFF2-40B4-BE49-F238E27FC236}">
                <a16:creationId xmlns:a16="http://schemas.microsoft.com/office/drawing/2014/main" id="{31FB41D2-9E08-BBB1-387F-7204E14E78D5}"/>
              </a:ext>
            </a:extLst>
          </p:cNvPr>
          <p:cNvCxnSpPr>
            <a:cxnSpLocks/>
          </p:cNvCxnSpPr>
          <p:nvPr/>
        </p:nvCxnSpPr>
        <p:spPr>
          <a:xfrm>
            <a:off x="0" y="368553"/>
            <a:ext cx="9144000" cy="0"/>
          </a:xfrm>
          <a:prstGeom prst="line">
            <a:avLst/>
          </a:prstGeom>
          <a:noFill/>
          <a:ln w="19050" cap="flat" cmpd="sng" algn="ctr">
            <a:solidFill>
              <a:srgbClr val="F19D19"/>
            </a:solidFill>
            <a:prstDash val="solid"/>
            <a:miter lim="800000"/>
          </a:ln>
          <a:effectLst/>
        </p:spPr>
      </p:cxnSp>
      <p:grpSp>
        <p:nvGrpSpPr>
          <p:cNvPr id="8" name="Group 7">
            <a:extLst>
              <a:ext uri="{FF2B5EF4-FFF2-40B4-BE49-F238E27FC236}">
                <a16:creationId xmlns:a16="http://schemas.microsoft.com/office/drawing/2014/main" id="{EFC60989-B48E-2838-34FE-ABAB9BAF82DD}"/>
              </a:ext>
            </a:extLst>
          </p:cNvPr>
          <p:cNvGrpSpPr/>
          <p:nvPr/>
        </p:nvGrpSpPr>
        <p:grpSpPr>
          <a:xfrm>
            <a:off x="78497" y="-19478"/>
            <a:ext cx="9065503" cy="5084815"/>
            <a:chOff x="-276812" y="18853"/>
            <a:chExt cx="9065503" cy="5084815"/>
          </a:xfrm>
        </p:grpSpPr>
        <p:sp>
          <p:nvSpPr>
            <p:cNvPr id="83" name="TextBox 82">
              <a:extLst>
                <a:ext uri="{FF2B5EF4-FFF2-40B4-BE49-F238E27FC236}">
                  <a16:creationId xmlns:a16="http://schemas.microsoft.com/office/drawing/2014/main" id="{EC8EBF26-B0ED-218E-5C1A-C6ACEE673A84}"/>
                </a:ext>
              </a:extLst>
            </p:cNvPr>
            <p:cNvSpPr txBox="1"/>
            <p:nvPr/>
          </p:nvSpPr>
          <p:spPr>
            <a:xfrm>
              <a:off x="4023117" y="571695"/>
              <a:ext cx="1438601" cy="2131994"/>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14308" indent="-214308" defTabSz="914378">
                <a:lnSpc>
                  <a:spcPct val="107000"/>
                </a:lnSpc>
                <a:spcAft>
                  <a:spcPts val="600"/>
                </a:spcAft>
                <a:buFont typeface="Wingdings" panose="05000000000000000000" pitchFamily="2" charset="2"/>
                <a:buChar char="v"/>
              </a:pPr>
              <a:r>
                <a:rPr lang="en-US" sz="1000" b="1" kern="100">
                  <a:solidFill>
                    <a:srgbClr val="000C18"/>
                  </a:solidFill>
                  <a:latin typeface="Century Gothic" panose="020B0502020202020204" pitchFamily="34" charset="0"/>
                  <a:ea typeface="Aptos" panose="020B0004020202020204" pitchFamily="34" charset="0"/>
                  <a:cs typeface="Times New Roman" panose="02020603050405020304" pitchFamily="18" charset="0"/>
                </a:rPr>
                <a:t>Risk-based annual compliance reviews, i.e., governance, internal controls, risk management and customer relationship.</a:t>
              </a:r>
            </a:p>
            <a:p>
              <a:pPr marL="214308" indent="-214308" defTabSz="914378">
                <a:lnSpc>
                  <a:spcPct val="107000"/>
                </a:lnSpc>
                <a:spcAft>
                  <a:spcPts val="600"/>
                </a:spcAft>
                <a:buFont typeface="Wingdings" panose="05000000000000000000" pitchFamily="2" charset="2"/>
                <a:buChar char="v"/>
              </a:pPr>
              <a:r>
                <a:rPr lang="en-US" sz="1000" b="1" kern="100">
                  <a:solidFill>
                    <a:srgbClr val="000C18"/>
                  </a:solidFill>
                  <a:latin typeface="Century Gothic" panose="020B0502020202020204" pitchFamily="34" charset="0"/>
                  <a:ea typeface="Aptos" panose="020B0004020202020204" pitchFamily="34" charset="0"/>
                  <a:cs typeface="Times New Roman" panose="02020603050405020304" pitchFamily="18" charset="0"/>
                </a:rPr>
                <a:t>Ad-hoc onsite supervision.</a:t>
              </a:r>
            </a:p>
          </p:txBody>
        </p:sp>
        <p:sp>
          <p:nvSpPr>
            <p:cNvPr id="85" name="TextBox 84">
              <a:extLst>
                <a:ext uri="{FF2B5EF4-FFF2-40B4-BE49-F238E27FC236}">
                  <a16:creationId xmlns:a16="http://schemas.microsoft.com/office/drawing/2014/main" id="{0FDAA195-4138-CE4E-3AB6-AD8EF319E0C8}"/>
                </a:ext>
              </a:extLst>
            </p:cNvPr>
            <p:cNvSpPr txBox="1"/>
            <p:nvPr/>
          </p:nvSpPr>
          <p:spPr>
            <a:xfrm>
              <a:off x="-276812" y="1485346"/>
              <a:ext cx="1388390" cy="3273845"/>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85743" indent="-285743" defTabSz="914378">
                <a:lnSpc>
                  <a:spcPct val="107000"/>
                </a:lnSpc>
                <a:spcAft>
                  <a:spcPts val="600"/>
                </a:spcAft>
                <a:buFont typeface="Wingdings" panose="05000000000000000000" pitchFamily="2" charset="2"/>
                <a:buChar char="v"/>
              </a:pPr>
              <a:r>
                <a:rPr lang="en-US" sz="1000" b="1">
                  <a:solidFill>
                    <a:srgbClr val="000C18"/>
                  </a:solidFill>
                  <a:latin typeface="Century Gothic" panose="020B0502020202020204" pitchFamily="34" charset="0"/>
                </a:rPr>
                <a:t>Compliance with Laws and Regulations e.g., POCAMLA, NPS.</a:t>
              </a:r>
            </a:p>
            <a:p>
              <a:pPr marL="285743" indent="-285743" defTabSz="914378">
                <a:lnSpc>
                  <a:spcPct val="107000"/>
                </a:lnSpc>
                <a:spcAft>
                  <a:spcPts val="600"/>
                </a:spcAft>
                <a:buFont typeface="Wingdings" panose="05000000000000000000" pitchFamily="2" charset="2"/>
                <a:buChar char="v"/>
              </a:pPr>
              <a:r>
                <a:rPr lang="en-US" sz="1000" b="1">
                  <a:solidFill>
                    <a:srgbClr val="000C18"/>
                  </a:solidFill>
                  <a:latin typeface="Century Gothic" panose="020B0502020202020204" pitchFamily="34" charset="0"/>
                </a:rPr>
                <a:t>Assess PSPs frameworks on governance, risk management, and internal controls.</a:t>
              </a:r>
            </a:p>
            <a:p>
              <a:pPr marL="214308" indent="-214308" defTabSz="914378">
                <a:lnSpc>
                  <a:spcPct val="107000"/>
                </a:lnSpc>
                <a:spcAft>
                  <a:spcPts val="600"/>
                </a:spcAft>
                <a:buFont typeface="Wingdings" panose="05000000000000000000" pitchFamily="2" charset="2"/>
                <a:buChar char="v"/>
              </a:pPr>
              <a:r>
                <a:rPr lang="en-US" sz="1000" b="1">
                  <a:solidFill>
                    <a:srgbClr val="000C18"/>
                  </a:solidFill>
                  <a:latin typeface="Century Gothic" panose="020B0502020202020204" pitchFamily="34" charset="0"/>
                </a:rPr>
                <a:t>Safeguarding of Customer Funds</a:t>
              </a:r>
            </a:p>
            <a:p>
              <a:pPr marL="214308" indent="-214308" defTabSz="914378">
                <a:lnSpc>
                  <a:spcPct val="107000"/>
                </a:lnSpc>
                <a:spcAft>
                  <a:spcPts val="600"/>
                </a:spcAft>
                <a:buFont typeface="Wingdings" panose="05000000000000000000" pitchFamily="2" charset="2"/>
                <a:buChar char="v"/>
              </a:pPr>
              <a:r>
                <a:rPr lang="en-US" sz="1000" b="1" kern="100">
                  <a:solidFill>
                    <a:srgbClr val="000C18"/>
                  </a:solidFill>
                  <a:latin typeface="Century Gothic" panose="020B0502020202020204" pitchFamily="34" charset="0"/>
                  <a:ea typeface="Aptos" panose="020B0004020202020204" pitchFamily="34" charset="0"/>
                  <a:cs typeface="Times New Roman" panose="02020603050405020304" pitchFamily="18" charset="0"/>
                </a:rPr>
                <a:t>Monitoring returns via EDW dashboards</a:t>
              </a:r>
            </a:p>
          </p:txBody>
        </p:sp>
        <p:pic>
          <p:nvPicPr>
            <p:cNvPr id="60" name="Graphic 59" descr="Research outline">
              <a:extLst>
                <a:ext uri="{FF2B5EF4-FFF2-40B4-BE49-F238E27FC236}">
                  <a16:creationId xmlns:a16="http://schemas.microsoft.com/office/drawing/2014/main" id="{78F5F581-CD0B-FC50-0433-526BF86CD7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3652" y="1270658"/>
              <a:ext cx="574294" cy="471647"/>
            </a:xfrm>
            <a:prstGeom prst="rect">
              <a:avLst/>
            </a:prstGeom>
          </p:spPr>
        </p:pic>
        <p:pic>
          <p:nvPicPr>
            <p:cNvPr id="73" name="Graphic 72" descr="Megaphone1 outline">
              <a:extLst>
                <a:ext uri="{FF2B5EF4-FFF2-40B4-BE49-F238E27FC236}">
                  <a16:creationId xmlns:a16="http://schemas.microsoft.com/office/drawing/2014/main" id="{DD63EC9F-D463-ACCA-D3D0-6ED9A70D72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701" y="1270658"/>
              <a:ext cx="647586" cy="647586"/>
            </a:xfrm>
            <a:prstGeom prst="rect">
              <a:avLst/>
            </a:prstGeom>
          </p:spPr>
        </p:pic>
        <p:pic>
          <p:nvPicPr>
            <p:cNvPr id="77" name="Graphic 76" descr="Hammer1 outline">
              <a:extLst>
                <a:ext uri="{FF2B5EF4-FFF2-40B4-BE49-F238E27FC236}">
                  <a16:creationId xmlns:a16="http://schemas.microsoft.com/office/drawing/2014/main" id="{EAF6B368-896B-0066-3F5E-FC9FF1EEFF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686489">
              <a:off x="5202331" y="3512077"/>
              <a:ext cx="649626" cy="649626"/>
            </a:xfrm>
            <a:prstGeom prst="rect">
              <a:avLst/>
            </a:prstGeom>
          </p:spPr>
        </p:pic>
        <p:sp>
          <p:nvSpPr>
            <p:cNvPr id="45" name="Freeform: Shape 44">
              <a:extLst>
                <a:ext uri="{FF2B5EF4-FFF2-40B4-BE49-F238E27FC236}">
                  <a16:creationId xmlns:a16="http://schemas.microsoft.com/office/drawing/2014/main" id="{CFBFC479-79F4-D652-D9AB-907F65251187}"/>
                </a:ext>
              </a:extLst>
            </p:cNvPr>
            <p:cNvSpPr/>
            <p:nvPr/>
          </p:nvSpPr>
          <p:spPr>
            <a:xfrm rot="15579737">
              <a:off x="2648807" y="-32092"/>
              <a:ext cx="2664592" cy="5880185"/>
            </a:xfrm>
            <a:custGeom>
              <a:avLst/>
              <a:gdLst>
                <a:gd name="connsiteX0" fmla="*/ 3532481 w 3552789"/>
                <a:gd name="connsiteY0" fmla="*/ 3104022 h 7840247"/>
                <a:gd name="connsiteX1" fmla="*/ 2662886 w 3552789"/>
                <a:gd name="connsiteY1" fmla="*/ 3821472 h 7840247"/>
                <a:gd name="connsiteX2" fmla="*/ 2417315 w 3552789"/>
                <a:gd name="connsiteY2" fmla="*/ 3821472 h 7840247"/>
                <a:gd name="connsiteX3" fmla="*/ 1775258 w 3552789"/>
                <a:gd name="connsiteY3" fmla="*/ 4471419 h 7840247"/>
                <a:gd name="connsiteX4" fmla="*/ 1775257 w 3552789"/>
                <a:gd name="connsiteY4" fmla="*/ 4667764 h 7840247"/>
                <a:gd name="connsiteX5" fmla="*/ 1778620 w 3552789"/>
                <a:gd name="connsiteY5" fmla="*/ 4692471 h 7840247"/>
                <a:gd name="connsiteX6" fmla="*/ 1706089 w 3552789"/>
                <a:gd name="connsiteY6" fmla="*/ 5098940 h 7840247"/>
                <a:gd name="connsiteX7" fmla="*/ 1607317 w 3552789"/>
                <a:gd name="connsiteY7" fmla="*/ 5308097 h 7840247"/>
                <a:gd name="connsiteX8" fmla="*/ 1934269 w 3552789"/>
                <a:gd name="connsiteY8" fmla="*/ 6131300 h 7840247"/>
                <a:gd name="connsiteX9" fmla="*/ 2158093 w 3552789"/>
                <a:gd name="connsiteY9" fmla="*/ 6236999 h 7840247"/>
                <a:gd name="connsiteX10" fmla="*/ 2610097 w 3552789"/>
                <a:gd name="connsiteY10" fmla="*/ 7375057 h 7840247"/>
                <a:gd name="connsiteX11" fmla="*/ 1444060 w 3552789"/>
                <a:gd name="connsiteY11" fmla="*/ 7749012 h 7840247"/>
                <a:gd name="connsiteX12" fmla="*/ 992056 w 3552789"/>
                <a:gd name="connsiteY12" fmla="*/ 6610953 h 7840247"/>
                <a:gd name="connsiteX13" fmla="*/ 1090828 w 3552789"/>
                <a:gd name="connsiteY13" fmla="*/ 6401797 h 7840247"/>
                <a:gd name="connsiteX14" fmla="*/ 876567 w 3552789"/>
                <a:gd name="connsiteY14" fmla="*/ 5645399 h 7840247"/>
                <a:gd name="connsiteX15" fmla="*/ 819548 w 3552789"/>
                <a:gd name="connsiteY15" fmla="*/ 5611598 h 7840247"/>
                <a:gd name="connsiteX16" fmla="*/ 708741 w 3552789"/>
                <a:gd name="connsiteY16" fmla="*/ 5600290 h 7840247"/>
                <a:gd name="connsiteX17" fmla="*/ 0 w 3552789"/>
                <a:gd name="connsiteY17" fmla="*/ 4720009 h 7840247"/>
                <a:gd name="connsiteX18" fmla="*/ 887629 w 3552789"/>
                <a:gd name="connsiteY18" fmla="*/ 3821472 h 7840247"/>
                <a:gd name="connsiteX19" fmla="*/ 1133200 w 3552789"/>
                <a:gd name="connsiteY19" fmla="*/ 3821472 h 7840247"/>
                <a:gd name="connsiteX20" fmla="*/ 1775257 w 3552789"/>
                <a:gd name="connsiteY20" fmla="*/ 3171525 h 7840247"/>
                <a:gd name="connsiteX21" fmla="*/ 1775257 w 3552789"/>
                <a:gd name="connsiteY21" fmla="*/ 2922936 h 7840247"/>
                <a:gd name="connsiteX22" fmla="*/ 1815164 w 3552789"/>
                <a:gd name="connsiteY22" fmla="*/ 2655738 h 7840247"/>
                <a:gd name="connsiteX23" fmla="*/ 1843682 w 3552789"/>
                <a:gd name="connsiteY23" fmla="*/ 2576862 h 7840247"/>
                <a:gd name="connsiteX24" fmla="*/ 1857643 w 3552789"/>
                <a:gd name="connsiteY24" fmla="*/ 2500329 h 7840247"/>
                <a:gd name="connsiteX25" fmla="*/ 1346889 w 3552789"/>
                <a:gd name="connsiteY25" fmla="*/ 1768092 h 7840247"/>
                <a:gd name="connsiteX26" fmla="*/ 1108387 w 3552789"/>
                <a:gd name="connsiteY26" fmla="*/ 1724587 h 7840247"/>
                <a:gd name="connsiteX27" fmla="*/ 402282 w 3552789"/>
                <a:gd name="connsiteY27" fmla="*/ 712287 h 7840247"/>
                <a:gd name="connsiteX28" fmla="*/ 1420327 w 3552789"/>
                <a:gd name="connsiteY28" fmla="*/ 14492 h 7840247"/>
                <a:gd name="connsiteX29" fmla="*/ 2126432 w 3552789"/>
                <a:gd name="connsiteY29" fmla="*/ 1026791 h 7840247"/>
                <a:gd name="connsiteX30" fmla="*/ 2083281 w 3552789"/>
                <a:gd name="connsiteY30" fmla="*/ 1263349 h 7840247"/>
                <a:gd name="connsiteX31" fmla="*/ 2594035 w 3552789"/>
                <a:gd name="connsiteY31" fmla="*/ 1995585 h 7840247"/>
                <a:gd name="connsiteX32" fmla="*/ 2832537 w 3552789"/>
                <a:gd name="connsiteY32" fmla="*/ 2039091 h 7840247"/>
                <a:gd name="connsiteX33" fmla="*/ 3550139 w 3552789"/>
                <a:gd name="connsiteY33" fmla="*/ 2963155 h 7840247"/>
                <a:gd name="connsiteX34" fmla="*/ 3547498 w 3552789"/>
                <a:gd name="connsiteY34" fmla="*/ 2983425 h 7840247"/>
                <a:gd name="connsiteX35" fmla="*/ 3545932 w 3552789"/>
                <a:gd name="connsiteY35" fmla="*/ 3014806 h 7840247"/>
                <a:gd name="connsiteX36" fmla="*/ 3532481 w 3552789"/>
                <a:gd name="connsiteY36" fmla="*/ 3104022 h 784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52789" h="7840247">
                  <a:moveTo>
                    <a:pt x="3532481" y="3104022"/>
                  </a:moveTo>
                  <a:cubicBezTo>
                    <a:pt x="3449713" y="3513470"/>
                    <a:pt x="3091832" y="3821472"/>
                    <a:pt x="2662886" y="3821472"/>
                  </a:cubicBezTo>
                  <a:lnTo>
                    <a:pt x="2417315" y="3821472"/>
                  </a:lnTo>
                  <a:cubicBezTo>
                    <a:pt x="2062717" y="3821472"/>
                    <a:pt x="1775258" y="4112464"/>
                    <a:pt x="1775258" y="4471419"/>
                  </a:cubicBezTo>
                  <a:lnTo>
                    <a:pt x="1775257" y="4667764"/>
                  </a:lnTo>
                  <a:lnTo>
                    <a:pt x="1778620" y="4692471"/>
                  </a:lnTo>
                  <a:cubicBezTo>
                    <a:pt x="1790305" y="4828999"/>
                    <a:pt x="1767706" y="4968462"/>
                    <a:pt x="1706089" y="5098940"/>
                  </a:cubicBezTo>
                  <a:lnTo>
                    <a:pt x="1607317" y="5308097"/>
                  </a:lnTo>
                  <a:cubicBezTo>
                    <a:pt x="1464693" y="5610113"/>
                    <a:pt x="1611074" y="5978674"/>
                    <a:pt x="1934269" y="6131300"/>
                  </a:cubicBezTo>
                  <a:lnTo>
                    <a:pt x="2158093" y="6236999"/>
                  </a:lnTo>
                  <a:cubicBezTo>
                    <a:pt x="2604902" y="6448000"/>
                    <a:pt x="2807271" y="6957526"/>
                    <a:pt x="2610097" y="7375057"/>
                  </a:cubicBezTo>
                  <a:cubicBezTo>
                    <a:pt x="2412922" y="7792588"/>
                    <a:pt x="1890869" y="7960013"/>
                    <a:pt x="1444060" y="7749012"/>
                  </a:cubicBezTo>
                  <a:cubicBezTo>
                    <a:pt x="997250" y="7538011"/>
                    <a:pt x="794881" y="7028484"/>
                    <a:pt x="992056" y="6610953"/>
                  </a:cubicBezTo>
                  <a:lnTo>
                    <a:pt x="1090828" y="6401797"/>
                  </a:lnTo>
                  <a:cubicBezTo>
                    <a:pt x="1215624" y="6137532"/>
                    <a:pt x="1119150" y="5822320"/>
                    <a:pt x="876567" y="5645399"/>
                  </a:cubicBezTo>
                  <a:lnTo>
                    <a:pt x="819548" y="5611598"/>
                  </a:lnTo>
                  <a:lnTo>
                    <a:pt x="708741" y="5600290"/>
                  </a:lnTo>
                  <a:cubicBezTo>
                    <a:pt x="304263" y="5516505"/>
                    <a:pt x="0" y="5154225"/>
                    <a:pt x="0" y="4720009"/>
                  </a:cubicBezTo>
                  <a:cubicBezTo>
                    <a:pt x="0" y="4223761"/>
                    <a:pt x="397405" y="3821472"/>
                    <a:pt x="887629" y="3821472"/>
                  </a:cubicBezTo>
                  <a:lnTo>
                    <a:pt x="1133200" y="3821472"/>
                  </a:lnTo>
                  <a:cubicBezTo>
                    <a:pt x="1487798" y="3821472"/>
                    <a:pt x="1775257" y="3530480"/>
                    <a:pt x="1775257" y="3171525"/>
                  </a:cubicBezTo>
                  <a:lnTo>
                    <a:pt x="1775257" y="2922936"/>
                  </a:lnTo>
                  <a:cubicBezTo>
                    <a:pt x="1775257" y="2829889"/>
                    <a:pt x="1789229" y="2740146"/>
                    <a:pt x="1815164" y="2655738"/>
                  </a:cubicBezTo>
                  <a:lnTo>
                    <a:pt x="1843682" y="2576862"/>
                  </a:lnTo>
                  <a:lnTo>
                    <a:pt x="1857643" y="2500329"/>
                  </a:lnTo>
                  <a:cubicBezTo>
                    <a:pt x="1919951" y="2158746"/>
                    <a:pt x="1691279" y="1830912"/>
                    <a:pt x="1346889" y="1768092"/>
                  </a:cubicBezTo>
                  <a:lnTo>
                    <a:pt x="1108387" y="1724587"/>
                  </a:lnTo>
                  <a:cubicBezTo>
                    <a:pt x="632276" y="1637739"/>
                    <a:pt x="316142" y="1184517"/>
                    <a:pt x="402282" y="712287"/>
                  </a:cubicBezTo>
                  <a:cubicBezTo>
                    <a:pt x="488422" y="240058"/>
                    <a:pt x="944216" y="-72356"/>
                    <a:pt x="1420327" y="14492"/>
                  </a:cubicBezTo>
                  <a:cubicBezTo>
                    <a:pt x="1896438" y="101340"/>
                    <a:pt x="2212572" y="554562"/>
                    <a:pt x="2126432" y="1026791"/>
                  </a:cubicBezTo>
                  <a:lnTo>
                    <a:pt x="2083281" y="1263349"/>
                  </a:lnTo>
                  <a:cubicBezTo>
                    <a:pt x="2020973" y="1604931"/>
                    <a:pt x="2249646" y="1932765"/>
                    <a:pt x="2594035" y="1995585"/>
                  </a:cubicBezTo>
                  <a:lnTo>
                    <a:pt x="2832537" y="2039091"/>
                  </a:lnTo>
                  <a:cubicBezTo>
                    <a:pt x="3278891" y="2120510"/>
                    <a:pt x="3584641" y="2523939"/>
                    <a:pt x="3550139" y="2963155"/>
                  </a:cubicBezTo>
                  <a:lnTo>
                    <a:pt x="3547498" y="2983425"/>
                  </a:lnTo>
                  <a:lnTo>
                    <a:pt x="3545932" y="3014806"/>
                  </a:lnTo>
                  <a:cubicBezTo>
                    <a:pt x="3542902" y="3045012"/>
                    <a:pt x="3538393" y="3074776"/>
                    <a:pt x="3532481" y="3104022"/>
                  </a:cubicBezTo>
                  <a:close/>
                </a:path>
              </a:pathLst>
            </a:cu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378"/>
              <a:endParaRPr lang="en-US" sz="1050">
                <a:solidFill>
                  <a:srgbClr val="FFFFFF"/>
                </a:solidFill>
                <a:latin typeface="Arial"/>
              </a:endParaRPr>
            </a:p>
          </p:txBody>
        </p:sp>
        <p:grpSp>
          <p:nvGrpSpPr>
            <p:cNvPr id="39" name="Group 38">
              <a:extLst>
                <a:ext uri="{FF2B5EF4-FFF2-40B4-BE49-F238E27FC236}">
                  <a16:creationId xmlns:a16="http://schemas.microsoft.com/office/drawing/2014/main" id="{681A91CF-1626-3BA6-6FDA-41466DBFD95E}"/>
                </a:ext>
              </a:extLst>
            </p:cNvPr>
            <p:cNvGrpSpPr/>
            <p:nvPr/>
          </p:nvGrpSpPr>
          <p:grpSpPr>
            <a:xfrm rot="2672241">
              <a:off x="1903493" y="1572495"/>
              <a:ext cx="1107936" cy="2963838"/>
              <a:chOff x="3389316" y="1710101"/>
              <a:chExt cx="1486695" cy="4089472"/>
            </a:xfrm>
          </p:grpSpPr>
          <p:sp>
            <p:nvSpPr>
              <p:cNvPr id="40" name="Oval 39">
                <a:extLst>
                  <a:ext uri="{FF2B5EF4-FFF2-40B4-BE49-F238E27FC236}">
                    <a16:creationId xmlns:a16="http://schemas.microsoft.com/office/drawing/2014/main" id="{0DC91012-C1DB-D860-D793-6969C7F4836F}"/>
                  </a:ext>
                </a:extLst>
              </p:cNvPr>
              <p:cNvSpPr/>
              <p:nvPr/>
            </p:nvSpPr>
            <p:spPr>
              <a:xfrm>
                <a:off x="3389316" y="4226805"/>
                <a:ext cx="1463042" cy="1572768"/>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endParaRPr lang="en-US" sz="1050">
                  <a:solidFill>
                    <a:srgbClr val="FFFFFF"/>
                  </a:solidFill>
                  <a:latin typeface="Arial"/>
                </a:endParaRPr>
              </a:p>
            </p:txBody>
          </p:sp>
          <p:sp>
            <p:nvSpPr>
              <p:cNvPr id="41" name="Oval 40">
                <a:extLst>
                  <a:ext uri="{FF2B5EF4-FFF2-40B4-BE49-F238E27FC236}">
                    <a16:creationId xmlns:a16="http://schemas.microsoft.com/office/drawing/2014/main" id="{54472AFE-3BB7-798B-4308-641FB41A7ED1}"/>
                  </a:ext>
                </a:extLst>
              </p:cNvPr>
              <p:cNvSpPr/>
              <p:nvPr/>
            </p:nvSpPr>
            <p:spPr>
              <a:xfrm>
                <a:off x="3412972" y="1710101"/>
                <a:ext cx="1463039" cy="1572769"/>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endParaRPr lang="en-US" sz="1050">
                  <a:solidFill>
                    <a:srgbClr val="FFFFFF"/>
                  </a:solidFill>
                  <a:latin typeface="Arial"/>
                </a:endParaRPr>
              </a:p>
            </p:txBody>
          </p:sp>
        </p:grpSp>
        <p:grpSp>
          <p:nvGrpSpPr>
            <p:cNvPr id="46" name="Group 45">
              <a:extLst>
                <a:ext uri="{FF2B5EF4-FFF2-40B4-BE49-F238E27FC236}">
                  <a16:creationId xmlns:a16="http://schemas.microsoft.com/office/drawing/2014/main" id="{015948D0-45A4-2099-3917-8B64974FA501}"/>
                </a:ext>
              </a:extLst>
            </p:cNvPr>
            <p:cNvGrpSpPr/>
            <p:nvPr/>
          </p:nvGrpSpPr>
          <p:grpSpPr>
            <a:xfrm rot="3415417">
              <a:off x="4916176" y="1469636"/>
              <a:ext cx="1119978" cy="2923558"/>
              <a:chOff x="3442502" y="1441510"/>
              <a:chExt cx="1502855" cy="4033894"/>
            </a:xfrm>
          </p:grpSpPr>
          <p:sp>
            <p:nvSpPr>
              <p:cNvPr id="47" name="Oval 46">
                <a:extLst>
                  <a:ext uri="{FF2B5EF4-FFF2-40B4-BE49-F238E27FC236}">
                    <a16:creationId xmlns:a16="http://schemas.microsoft.com/office/drawing/2014/main" id="{E3CCB6C0-A288-6448-8771-F531E678A690}"/>
                  </a:ext>
                </a:extLst>
              </p:cNvPr>
              <p:cNvSpPr/>
              <p:nvPr/>
            </p:nvSpPr>
            <p:spPr>
              <a:xfrm>
                <a:off x="3442502" y="3902636"/>
                <a:ext cx="1463040" cy="1572768"/>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endParaRPr lang="en-US" sz="1050">
                  <a:solidFill>
                    <a:srgbClr val="FFFFFF"/>
                  </a:solidFill>
                  <a:latin typeface="Arial"/>
                </a:endParaRPr>
              </a:p>
            </p:txBody>
          </p:sp>
          <p:sp>
            <p:nvSpPr>
              <p:cNvPr id="48" name="Oval 47">
                <a:extLst>
                  <a:ext uri="{FF2B5EF4-FFF2-40B4-BE49-F238E27FC236}">
                    <a16:creationId xmlns:a16="http://schemas.microsoft.com/office/drawing/2014/main" id="{C642A224-3540-F00F-57CD-243C28DABF09}"/>
                  </a:ext>
                </a:extLst>
              </p:cNvPr>
              <p:cNvSpPr/>
              <p:nvPr/>
            </p:nvSpPr>
            <p:spPr>
              <a:xfrm>
                <a:off x="3482317" y="1441510"/>
                <a:ext cx="1463040" cy="1572768"/>
              </a:xfrm>
              <a:prstGeom prst="ellipse">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endParaRPr lang="en-US" sz="1050">
                  <a:solidFill>
                    <a:srgbClr val="FFFFFF"/>
                  </a:solidFill>
                  <a:latin typeface="Arial"/>
                </a:endParaRPr>
              </a:p>
            </p:txBody>
          </p:sp>
        </p:grpSp>
        <p:sp>
          <p:nvSpPr>
            <p:cNvPr id="53" name="TextBox 52">
              <a:extLst>
                <a:ext uri="{FF2B5EF4-FFF2-40B4-BE49-F238E27FC236}">
                  <a16:creationId xmlns:a16="http://schemas.microsoft.com/office/drawing/2014/main" id="{33EF2896-17B8-9B52-F6CB-427C8E73BA01}"/>
                </a:ext>
              </a:extLst>
            </p:cNvPr>
            <p:cNvSpPr txBox="1"/>
            <p:nvPr/>
          </p:nvSpPr>
          <p:spPr>
            <a:xfrm>
              <a:off x="5609278" y="2129719"/>
              <a:ext cx="1469625" cy="415498"/>
            </a:xfrm>
            <a:prstGeom prst="rect">
              <a:avLst/>
            </a:prstGeom>
            <a:noFill/>
          </p:spPr>
          <p:txBody>
            <a:bodyPr wrap="square" rtlCol="0">
              <a:spAutoFit/>
            </a:bodyPr>
            <a:lstStyle/>
            <a:p>
              <a:pPr algn="ctr" defTabSz="914378"/>
              <a:r>
                <a:rPr lang="en-US" sz="1050" b="1">
                  <a:solidFill>
                    <a:srgbClr val="FFFFFF"/>
                  </a:solidFill>
                  <a:latin typeface="Century Gothic" panose="020B0502020202020204" pitchFamily="34" charset="0"/>
                </a:rPr>
                <a:t>4.</a:t>
              </a:r>
            </a:p>
            <a:p>
              <a:pPr defTabSz="914378"/>
              <a:r>
                <a:rPr lang="en-US" sz="1050" b="1">
                  <a:solidFill>
                    <a:srgbClr val="FFFFFF"/>
                  </a:solidFill>
                  <a:latin typeface="Century Gothic" panose="020B0502020202020204" pitchFamily="34" charset="0"/>
                </a:rPr>
                <a:t>Communication</a:t>
              </a:r>
            </a:p>
          </p:txBody>
        </p:sp>
        <p:sp>
          <p:nvSpPr>
            <p:cNvPr id="57" name="TextBox 56">
              <a:extLst>
                <a:ext uri="{FF2B5EF4-FFF2-40B4-BE49-F238E27FC236}">
                  <a16:creationId xmlns:a16="http://schemas.microsoft.com/office/drawing/2014/main" id="{E4F6E200-9B40-B005-A850-75D490E9816C}"/>
                </a:ext>
              </a:extLst>
            </p:cNvPr>
            <p:cNvSpPr txBox="1"/>
            <p:nvPr/>
          </p:nvSpPr>
          <p:spPr>
            <a:xfrm>
              <a:off x="1304179" y="3224966"/>
              <a:ext cx="970284" cy="738664"/>
            </a:xfrm>
            <a:prstGeom prst="rect">
              <a:avLst/>
            </a:prstGeom>
            <a:noFill/>
          </p:spPr>
          <p:txBody>
            <a:bodyPr wrap="square" rtlCol="0">
              <a:spAutoFit/>
            </a:bodyPr>
            <a:lstStyle/>
            <a:p>
              <a:pPr algn="ctr" defTabSz="914378"/>
              <a:r>
                <a:rPr lang="en-US" sz="1050" b="1">
                  <a:solidFill>
                    <a:srgbClr val="FFFFFF"/>
                  </a:solidFill>
                  <a:latin typeface="Century Gothic" panose="020B0502020202020204" pitchFamily="34" charset="0"/>
                </a:rPr>
                <a:t>1.</a:t>
              </a:r>
            </a:p>
            <a:p>
              <a:pPr algn="ctr" defTabSz="914378"/>
              <a:r>
                <a:rPr lang="en-US" sz="1050" b="1">
                  <a:solidFill>
                    <a:srgbClr val="FFFFFF"/>
                  </a:solidFill>
                  <a:latin typeface="Century Gothic" panose="020B0502020202020204" pitchFamily="34" charset="0"/>
                </a:rPr>
                <a:t>Continuous off-site monitoring </a:t>
              </a:r>
            </a:p>
          </p:txBody>
        </p:sp>
        <p:sp>
          <p:nvSpPr>
            <p:cNvPr id="58" name="TextBox 57">
              <a:extLst>
                <a:ext uri="{FF2B5EF4-FFF2-40B4-BE49-F238E27FC236}">
                  <a16:creationId xmlns:a16="http://schemas.microsoft.com/office/drawing/2014/main" id="{8AFE5606-47C4-F4FD-D4E8-70A1EE540F41}"/>
                </a:ext>
              </a:extLst>
            </p:cNvPr>
            <p:cNvSpPr txBox="1"/>
            <p:nvPr/>
          </p:nvSpPr>
          <p:spPr>
            <a:xfrm>
              <a:off x="2517328" y="1957687"/>
              <a:ext cx="1172718" cy="646331"/>
            </a:xfrm>
            <a:prstGeom prst="rect">
              <a:avLst/>
            </a:prstGeom>
            <a:noFill/>
          </p:spPr>
          <p:txBody>
            <a:bodyPr wrap="square" rtlCol="0">
              <a:spAutoFit/>
            </a:bodyPr>
            <a:lstStyle/>
            <a:p>
              <a:pPr algn="ctr" defTabSz="914378"/>
              <a:r>
                <a:rPr lang="en-US" sz="1200" b="1">
                  <a:solidFill>
                    <a:srgbClr val="FFFFFF"/>
                  </a:solidFill>
                  <a:latin typeface="Century Gothic" panose="020B0502020202020204" pitchFamily="34" charset="0"/>
                </a:rPr>
                <a:t>2.</a:t>
              </a:r>
            </a:p>
            <a:p>
              <a:pPr algn="ctr" defTabSz="914378"/>
              <a:r>
                <a:rPr lang="en-US" sz="1200" b="1">
                  <a:solidFill>
                    <a:srgbClr val="FFFFFF"/>
                  </a:solidFill>
                  <a:latin typeface="Century Gothic" panose="020B0502020202020204" pitchFamily="34" charset="0"/>
                </a:rPr>
                <a:t>Onsite Examination</a:t>
              </a:r>
            </a:p>
          </p:txBody>
        </p:sp>
        <p:pic>
          <p:nvPicPr>
            <p:cNvPr id="75" name="Graphic 74" descr="Clipboard outline">
              <a:extLst>
                <a:ext uri="{FF2B5EF4-FFF2-40B4-BE49-F238E27FC236}">
                  <a16:creationId xmlns:a16="http://schemas.microsoft.com/office/drawing/2014/main" id="{E091E876-ABE7-60BB-7ACD-8E088CAF11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29058" y="2703689"/>
              <a:ext cx="330598" cy="330598"/>
            </a:xfrm>
            <a:prstGeom prst="rect">
              <a:avLst/>
            </a:prstGeom>
          </p:spPr>
        </p:pic>
        <p:sp>
          <p:nvSpPr>
            <p:cNvPr id="84" name="TextBox 83">
              <a:extLst>
                <a:ext uri="{FF2B5EF4-FFF2-40B4-BE49-F238E27FC236}">
                  <a16:creationId xmlns:a16="http://schemas.microsoft.com/office/drawing/2014/main" id="{3383420F-BA55-ED8D-0ED7-08B342105123}"/>
                </a:ext>
              </a:extLst>
            </p:cNvPr>
            <p:cNvSpPr txBox="1"/>
            <p:nvPr/>
          </p:nvSpPr>
          <p:spPr>
            <a:xfrm>
              <a:off x="4773644" y="4164949"/>
              <a:ext cx="2005898" cy="938719"/>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171446" indent="-171446" defTabSz="914378">
                <a:buFont typeface="Wingdings" panose="05000000000000000000" pitchFamily="2" charset="2"/>
                <a:buChar char="v"/>
              </a:pPr>
              <a:r>
                <a:rPr lang="en-US" sz="1100" b="1">
                  <a:solidFill>
                    <a:srgbClr val="000C18"/>
                  </a:solidFill>
                  <a:latin typeface="Century Gothic" panose="020B0502020202020204" pitchFamily="34" charset="0"/>
                </a:rPr>
                <a:t>Recommend / Order</a:t>
              </a:r>
            </a:p>
            <a:p>
              <a:pPr marL="171446" indent="-171446" defTabSz="914378">
                <a:buFont typeface="Wingdings" panose="05000000000000000000" pitchFamily="2" charset="2"/>
                <a:buChar char="v"/>
              </a:pPr>
              <a:r>
                <a:rPr lang="en-US" sz="1100" b="1">
                  <a:solidFill>
                    <a:srgbClr val="000C18"/>
                  </a:solidFill>
                  <a:latin typeface="Century Gothic" panose="020B0502020202020204" pitchFamily="34" charset="0"/>
                </a:rPr>
                <a:t>Warning </a:t>
              </a:r>
            </a:p>
            <a:p>
              <a:pPr marL="171446" indent="-171446" defTabSz="914378">
                <a:buFont typeface="Wingdings" panose="05000000000000000000" pitchFamily="2" charset="2"/>
                <a:buChar char="v"/>
              </a:pPr>
              <a:r>
                <a:rPr lang="en-US" sz="1100" b="1">
                  <a:solidFill>
                    <a:srgbClr val="000C18"/>
                  </a:solidFill>
                  <a:latin typeface="Century Gothic" panose="020B0502020202020204" pitchFamily="34" charset="0"/>
                </a:rPr>
                <a:t>Fine </a:t>
              </a:r>
            </a:p>
            <a:p>
              <a:pPr marL="171446" indent="-171446" defTabSz="914378">
                <a:buFont typeface="Wingdings" panose="05000000000000000000" pitchFamily="2" charset="2"/>
                <a:buChar char="v"/>
              </a:pPr>
              <a:r>
                <a:rPr lang="en-US" sz="1100" b="1">
                  <a:solidFill>
                    <a:srgbClr val="000C18"/>
                  </a:solidFill>
                  <a:latin typeface="Century Gothic" panose="020B0502020202020204" pitchFamily="34" charset="0"/>
                </a:rPr>
                <a:t>Suspension</a:t>
              </a:r>
            </a:p>
            <a:p>
              <a:pPr marL="171446" indent="-171446" defTabSz="914378">
                <a:buFont typeface="Wingdings" panose="05000000000000000000" pitchFamily="2" charset="2"/>
                <a:buChar char="v"/>
              </a:pPr>
              <a:r>
                <a:rPr lang="en-US" sz="1100" b="1">
                  <a:solidFill>
                    <a:srgbClr val="000C18"/>
                  </a:solidFill>
                  <a:latin typeface="Century Gothic" panose="020B0502020202020204" pitchFamily="34" charset="0"/>
                </a:rPr>
                <a:t>Revoke license</a:t>
              </a:r>
              <a:endParaRPr lang="en-US" sz="1050">
                <a:solidFill>
                  <a:srgbClr val="000C18"/>
                </a:solidFill>
                <a:latin typeface="Century Gothic" panose="020B0502020202020204" pitchFamily="34" charset="0"/>
              </a:endParaRPr>
            </a:p>
          </p:txBody>
        </p:sp>
        <p:sp>
          <p:nvSpPr>
            <p:cNvPr id="86" name="TextBox 85">
              <a:extLst>
                <a:ext uri="{FF2B5EF4-FFF2-40B4-BE49-F238E27FC236}">
                  <a16:creationId xmlns:a16="http://schemas.microsoft.com/office/drawing/2014/main" id="{714DF2B7-E24C-28A3-3B57-4961752E7AC4}"/>
                </a:ext>
              </a:extLst>
            </p:cNvPr>
            <p:cNvSpPr txBox="1"/>
            <p:nvPr/>
          </p:nvSpPr>
          <p:spPr>
            <a:xfrm>
              <a:off x="6939140" y="1611273"/>
              <a:ext cx="1759571" cy="1384995"/>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14308" indent="-214308" defTabSz="914378">
                <a:buFont typeface="Wingdings" panose="05000000000000000000" pitchFamily="2" charset="2"/>
                <a:buChar char="v"/>
              </a:pPr>
              <a:r>
                <a:rPr lang="en-US" sz="1050" b="1">
                  <a:solidFill>
                    <a:srgbClr val="000C18"/>
                  </a:solidFill>
                  <a:latin typeface="Century Gothic" panose="020B0502020202020204" pitchFamily="34" charset="0"/>
                </a:rPr>
                <a:t>Regulatory Expectation through circulars, guidelines, etc. </a:t>
              </a:r>
            </a:p>
            <a:p>
              <a:pPr marL="214308" indent="-214308" defTabSz="914378">
                <a:buFont typeface="Wingdings" panose="05000000000000000000" pitchFamily="2" charset="2"/>
                <a:buChar char="v"/>
              </a:pPr>
              <a:r>
                <a:rPr lang="en-US" sz="1050" b="1">
                  <a:solidFill>
                    <a:srgbClr val="000C18"/>
                  </a:solidFill>
                  <a:latin typeface="Century Gothic" panose="020B0502020202020204" pitchFamily="34" charset="0"/>
                </a:rPr>
                <a:t>Knowledge Sharing via training, correspondence, etc.</a:t>
              </a:r>
            </a:p>
          </p:txBody>
        </p:sp>
        <p:pic>
          <p:nvPicPr>
            <p:cNvPr id="5" name="Picture 4">
              <a:extLst>
                <a:ext uri="{FF2B5EF4-FFF2-40B4-BE49-F238E27FC236}">
                  <a16:creationId xmlns:a16="http://schemas.microsoft.com/office/drawing/2014/main" id="{026950E9-D553-0472-D543-90406125113E}"/>
                </a:ext>
              </a:extLst>
            </p:cNvPr>
            <p:cNvPicPr>
              <a:picLocks noChangeAspect="1"/>
            </p:cNvPicPr>
            <p:nvPr/>
          </p:nvPicPr>
          <p:blipFill>
            <a:blip r:embed="rId11"/>
            <a:stretch>
              <a:fillRect/>
            </a:stretch>
          </p:blipFill>
          <p:spPr>
            <a:xfrm>
              <a:off x="8308793" y="18853"/>
              <a:ext cx="479898" cy="381855"/>
            </a:xfrm>
            <a:prstGeom prst="rect">
              <a:avLst/>
            </a:prstGeom>
          </p:spPr>
        </p:pic>
        <p:sp>
          <p:nvSpPr>
            <p:cNvPr id="7" name="TextBox 6">
              <a:extLst>
                <a:ext uri="{FF2B5EF4-FFF2-40B4-BE49-F238E27FC236}">
                  <a16:creationId xmlns:a16="http://schemas.microsoft.com/office/drawing/2014/main" id="{109C4BF4-C075-798D-9088-715B70F9A8C1}"/>
                </a:ext>
              </a:extLst>
            </p:cNvPr>
            <p:cNvSpPr txBox="1"/>
            <p:nvPr/>
          </p:nvSpPr>
          <p:spPr>
            <a:xfrm>
              <a:off x="4085187" y="3054059"/>
              <a:ext cx="1265424" cy="600164"/>
            </a:xfrm>
            <a:prstGeom prst="rect">
              <a:avLst/>
            </a:prstGeom>
            <a:noFill/>
          </p:spPr>
          <p:txBody>
            <a:bodyPr wrap="square" rtlCol="0">
              <a:spAutoFit/>
            </a:bodyPr>
            <a:lstStyle/>
            <a:p>
              <a:pPr algn="ctr" defTabSz="914378"/>
              <a:r>
                <a:rPr lang="en-US" sz="1100" b="1">
                  <a:solidFill>
                    <a:srgbClr val="FFFFFF"/>
                  </a:solidFill>
                  <a:latin typeface="Century Gothic" panose="020B0502020202020204" pitchFamily="34" charset="0"/>
                </a:rPr>
                <a:t>3.</a:t>
              </a:r>
            </a:p>
            <a:p>
              <a:pPr algn="ctr" defTabSz="914378"/>
              <a:r>
                <a:rPr lang="en-US" sz="1100" b="1">
                  <a:solidFill>
                    <a:srgbClr val="FFFFFF"/>
                  </a:solidFill>
                  <a:latin typeface="Century Gothic" panose="020B0502020202020204" pitchFamily="34" charset="0"/>
                </a:rPr>
                <a:t>Supervisory Actions </a:t>
              </a:r>
            </a:p>
          </p:txBody>
        </p:sp>
      </p:grpSp>
      <p:sp>
        <p:nvSpPr>
          <p:cNvPr id="11" name="Title 10">
            <a:extLst>
              <a:ext uri="{FF2B5EF4-FFF2-40B4-BE49-F238E27FC236}">
                <a16:creationId xmlns:a16="http://schemas.microsoft.com/office/drawing/2014/main" id="{45A78940-5DC5-CC74-0EEE-179C5081F49F}"/>
              </a:ext>
            </a:extLst>
          </p:cNvPr>
          <p:cNvSpPr txBox="1">
            <a:spLocks/>
          </p:cNvSpPr>
          <p:nvPr/>
        </p:nvSpPr>
        <p:spPr>
          <a:xfrm>
            <a:off x="21001" y="8618"/>
            <a:ext cx="630051" cy="32132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a:r>
              <a:rPr lang="en-US" sz="2400" b="1" dirty="0">
                <a:solidFill>
                  <a:srgbClr val="000C18"/>
                </a:solidFill>
                <a:latin typeface="Century Gothic" panose="020B0502020202020204" pitchFamily="34" charset="0"/>
              </a:rPr>
              <a:t>11.</a:t>
            </a:r>
          </a:p>
        </p:txBody>
      </p:sp>
    </p:spTree>
    <p:extLst>
      <p:ext uri="{BB962C8B-B14F-4D97-AF65-F5344CB8AC3E}">
        <p14:creationId xmlns:p14="http://schemas.microsoft.com/office/powerpoint/2010/main" val="2779324140"/>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59BB2-CF11-240E-2AB4-2D38EB07FC47}"/>
            </a:ext>
          </a:extLst>
        </p:cNvPr>
        <p:cNvGrpSpPr/>
        <p:nvPr/>
      </p:nvGrpSpPr>
      <p:grpSpPr>
        <a:xfrm>
          <a:off x="0" y="0"/>
          <a:ext cx="0" cy="0"/>
          <a:chOff x="0" y="0"/>
          <a:chExt cx="0" cy="0"/>
        </a:xfrm>
      </p:grpSpPr>
      <p:sp>
        <p:nvSpPr>
          <p:cNvPr id="78" name="TextBox 77">
            <a:extLst>
              <a:ext uri="{FF2B5EF4-FFF2-40B4-BE49-F238E27FC236}">
                <a16:creationId xmlns:a16="http://schemas.microsoft.com/office/drawing/2014/main" id="{6AF357DA-FE05-9EB8-CA36-B4B702A1099E}"/>
              </a:ext>
            </a:extLst>
          </p:cNvPr>
          <p:cNvSpPr txBox="1"/>
          <p:nvPr/>
        </p:nvSpPr>
        <p:spPr>
          <a:xfrm>
            <a:off x="133326" y="8618"/>
            <a:ext cx="8439985" cy="369332"/>
          </a:xfrm>
          <a:prstGeom prst="rect">
            <a:avLst/>
          </a:prstGeom>
          <a:noFill/>
        </p:spPr>
        <p:txBody>
          <a:bodyPr wrap="square" rtlCol="0">
            <a:spAutoFit/>
          </a:bodyPr>
          <a:lstStyle/>
          <a:p>
            <a:pPr algn="ctr" defTabSz="914378"/>
            <a:r>
              <a:rPr lang="en-US" sz="1050">
                <a:solidFill>
                  <a:srgbClr val="000C18"/>
                </a:solidFill>
              </a:rPr>
              <a:t>                                  </a:t>
            </a:r>
            <a:r>
              <a:rPr lang="en-US" sz="1800" b="1">
                <a:solidFill>
                  <a:srgbClr val="000C18"/>
                </a:solidFill>
                <a:latin typeface="Century Gothic" panose="020B0502020202020204" pitchFamily="34" charset="0"/>
              </a:rPr>
              <a:t>PSPs Oversight and Compliance Scope and Challenges</a:t>
            </a:r>
          </a:p>
        </p:txBody>
      </p:sp>
      <p:sp>
        <p:nvSpPr>
          <p:cNvPr id="2" name="Title 10">
            <a:extLst>
              <a:ext uri="{FF2B5EF4-FFF2-40B4-BE49-F238E27FC236}">
                <a16:creationId xmlns:a16="http://schemas.microsoft.com/office/drawing/2014/main" id="{D44D2B46-391E-CFB7-E77A-8B74CFAD2A93}"/>
              </a:ext>
            </a:extLst>
          </p:cNvPr>
          <p:cNvSpPr txBox="1">
            <a:spLocks/>
          </p:cNvSpPr>
          <p:nvPr/>
        </p:nvSpPr>
        <p:spPr>
          <a:xfrm>
            <a:off x="100364" y="116475"/>
            <a:ext cx="48805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a:r>
              <a:rPr lang="en-US" sz="2400" b="1">
                <a:solidFill>
                  <a:srgbClr val="FFFFFF"/>
                </a:solidFill>
                <a:latin typeface="Century Gothic" panose="020B0502020202020204" pitchFamily="34" charset="0"/>
              </a:rPr>
              <a:t>7.</a:t>
            </a:r>
          </a:p>
        </p:txBody>
      </p:sp>
      <p:cxnSp>
        <p:nvCxnSpPr>
          <p:cNvPr id="3" name="Straight Connector 2">
            <a:extLst>
              <a:ext uri="{FF2B5EF4-FFF2-40B4-BE49-F238E27FC236}">
                <a16:creationId xmlns:a16="http://schemas.microsoft.com/office/drawing/2014/main" id="{79D34838-ED1C-6D06-84D6-0B77850DFF63}"/>
              </a:ext>
            </a:extLst>
          </p:cNvPr>
          <p:cNvCxnSpPr>
            <a:cxnSpLocks/>
          </p:cNvCxnSpPr>
          <p:nvPr/>
        </p:nvCxnSpPr>
        <p:spPr>
          <a:xfrm>
            <a:off x="0" y="377950"/>
            <a:ext cx="9144000" cy="0"/>
          </a:xfrm>
          <a:prstGeom prst="line">
            <a:avLst/>
          </a:prstGeom>
          <a:noFill/>
          <a:ln w="19050" cap="flat" cmpd="sng" algn="ctr">
            <a:solidFill>
              <a:srgbClr val="F19D19"/>
            </a:solidFill>
            <a:prstDash val="solid"/>
            <a:miter lim="800000"/>
          </a:ln>
          <a:effectLst/>
        </p:spPr>
      </p:cxnSp>
      <p:sp>
        <p:nvSpPr>
          <p:cNvPr id="6" name="TextBox 5">
            <a:extLst>
              <a:ext uri="{FF2B5EF4-FFF2-40B4-BE49-F238E27FC236}">
                <a16:creationId xmlns:a16="http://schemas.microsoft.com/office/drawing/2014/main" id="{564DD6C1-740E-0277-2ABA-37215AFD04EC}"/>
              </a:ext>
            </a:extLst>
          </p:cNvPr>
          <p:cNvSpPr txBox="1"/>
          <p:nvPr/>
        </p:nvSpPr>
        <p:spPr>
          <a:xfrm flipH="1">
            <a:off x="247091" y="540392"/>
            <a:ext cx="4218754" cy="4247317"/>
          </a:xfrm>
          <a:prstGeom prst="rect">
            <a:avLst/>
          </a:prstGeom>
          <a:solidFill>
            <a:schemeClr val="accent2">
              <a:lumMod val="75000"/>
              <a:alpha val="82000"/>
            </a:scheme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defTabSz="914378"/>
            <a:r>
              <a:rPr lang="en-US" sz="2800" b="1" dirty="0">
                <a:solidFill>
                  <a:schemeClr val="bg1"/>
                </a:solidFill>
                <a:latin typeface="Century Gothic" panose="020B0502020202020204" pitchFamily="34" charset="0"/>
              </a:rPr>
              <a:t>Scope</a:t>
            </a:r>
            <a:endParaRPr lang="en-US" sz="2800" b="1" u="sng" dirty="0">
              <a:solidFill>
                <a:schemeClr val="bg1"/>
              </a:solidFill>
              <a:latin typeface="Century Gothic" panose="020B0502020202020204" pitchFamily="34" charset="0"/>
            </a:endParaRPr>
          </a:p>
          <a:p>
            <a:pPr marL="457200" indent="-457200" defTabSz="914378">
              <a:buClr>
                <a:srgbClr val="FFFFFF"/>
              </a:buClr>
              <a:buFont typeface="+mj-lt"/>
              <a:buAutoNum type="arabicPeriod"/>
            </a:pPr>
            <a:r>
              <a:rPr lang="en-US" sz="2200" dirty="0">
                <a:solidFill>
                  <a:schemeClr val="bg1"/>
                </a:solidFill>
                <a:latin typeface="Century Gothic" panose="020B0502020202020204" pitchFamily="34" charset="0"/>
              </a:rPr>
              <a:t>Assessment of FMIs - KEPSS, CSD,PSOs</a:t>
            </a:r>
          </a:p>
          <a:p>
            <a:pPr marL="457200" indent="-457200" defTabSz="914378">
              <a:buClr>
                <a:srgbClr val="FFFFFF"/>
              </a:buClr>
              <a:buFont typeface="+mj-lt"/>
              <a:buAutoNum type="arabicPeriod"/>
            </a:pPr>
            <a:r>
              <a:rPr lang="en-US" sz="2200" dirty="0">
                <a:solidFill>
                  <a:schemeClr val="bg1"/>
                </a:solidFill>
                <a:latin typeface="Century Gothic" panose="020B0502020202020204" pitchFamily="34" charset="0"/>
              </a:rPr>
              <a:t>Cybersecurity and AML/CTF/CPF</a:t>
            </a:r>
          </a:p>
          <a:p>
            <a:pPr marL="457200" indent="-457200" defTabSz="914378">
              <a:buClr>
                <a:srgbClr val="FFFFFF"/>
              </a:buClr>
              <a:buFont typeface="+mj-lt"/>
              <a:buAutoNum type="arabicPeriod"/>
            </a:pPr>
            <a:r>
              <a:rPr lang="en-US" sz="2200" dirty="0">
                <a:solidFill>
                  <a:schemeClr val="bg1"/>
                </a:solidFill>
                <a:latin typeface="Century Gothic" panose="020B0502020202020204" pitchFamily="34" charset="0"/>
              </a:rPr>
              <a:t>Oversight of Retail payment – E-money, E-Wallet, Gateways and Switches.</a:t>
            </a:r>
          </a:p>
          <a:p>
            <a:pPr marL="457200" indent="-457200" defTabSz="914378">
              <a:buClr>
                <a:srgbClr val="FFFFFF"/>
              </a:buClr>
              <a:buFont typeface="+mj-lt"/>
              <a:buAutoNum type="arabicPeriod"/>
            </a:pPr>
            <a:r>
              <a:rPr lang="en-US" sz="2200" dirty="0">
                <a:solidFill>
                  <a:schemeClr val="bg1"/>
                </a:solidFill>
                <a:latin typeface="Century Gothic" panose="020B0502020202020204" pitchFamily="34" charset="0"/>
              </a:rPr>
              <a:t>Market conduct i.e., Consumer issues and Product offerings </a:t>
            </a:r>
          </a:p>
        </p:txBody>
      </p:sp>
      <p:sp>
        <p:nvSpPr>
          <p:cNvPr id="11" name="Title 10">
            <a:extLst>
              <a:ext uri="{FF2B5EF4-FFF2-40B4-BE49-F238E27FC236}">
                <a16:creationId xmlns:a16="http://schemas.microsoft.com/office/drawing/2014/main" id="{27A15A14-803A-22C3-2CD5-A12BB88F8A60}"/>
              </a:ext>
            </a:extLst>
          </p:cNvPr>
          <p:cNvSpPr txBox="1">
            <a:spLocks/>
          </p:cNvSpPr>
          <p:nvPr/>
        </p:nvSpPr>
        <p:spPr>
          <a:xfrm>
            <a:off x="3448" y="-25758"/>
            <a:ext cx="639016"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a:r>
              <a:rPr lang="en-US" sz="2400" b="1" dirty="0">
                <a:solidFill>
                  <a:srgbClr val="000C18"/>
                </a:solidFill>
                <a:latin typeface="Century Gothic" panose="020B0502020202020204" pitchFamily="34" charset="0"/>
              </a:rPr>
              <a:t>12.</a:t>
            </a:r>
          </a:p>
        </p:txBody>
      </p:sp>
      <p:sp>
        <p:nvSpPr>
          <p:cNvPr id="4" name="TextBox 3">
            <a:extLst>
              <a:ext uri="{FF2B5EF4-FFF2-40B4-BE49-F238E27FC236}">
                <a16:creationId xmlns:a16="http://schemas.microsoft.com/office/drawing/2014/main" id="{935D16F7-40CB-13D7-077D-F372148A3B92}"/>
              </a:ext>
            </a:extLst>
          </p:cNvPr>
          <p:cNvSpPr txBox="1"/>
          <p:nvPr/>
        </p:nvSpPr>
        <p:spPr>
          <a:xfrm>
            <a:off x="4592101" y="540392"/>
            <a:ext cx="4304808" cy="4278094"/>
          </a:xfrm>
          <a:prstGeom prst="rect">
            <a:avLst/>
          </a:prstGeom>
          <a:solidFill>
            <a:schemeClr val="accent1">
              <a:alpha val="94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R="0" lvl="0" algn="ctr" defTabSz="914400" rtl="0" eaLnBrk="1" fontAlgn="t" latinLnBrk="0" hangingPunct="1">
              <a:lnSpc>
                <a:spcPct val="100000"/>
              </a:lnSpc>
              <a:spcBef>
                <a:spcPts val="0"/>
              </a:spcBef>
              <a:spcAft>
                <a:spcPts val="0"/>
              </a:spcAft>
              <a:buClrTx/>
              <a:buSzPts val="2000"/>
              <a:tabLst/>
              <a:defRPr/>
            </a:pPr>
            <a:r>
              <a:rPr kumimoji="0" lang="en-GB" sz="2000" b="1"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Challenges </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Weak governance and internal controls </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Financial solvency, i.e. capital, gearing and liquidity of PSPs</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Non-standardised reporting, i.e.  IT security, Financials, etc.</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Weak financial crime compliance (Fraud, AML, CFT, etc</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Fragile IT systems and cyber resilience gaps.</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Weak consumer protection redress mechanism.</a:t>
            </a:r>
          </a:p>
          <a:p>
            <a:pPr marL="342900" marR="0" lvl="0" indent="-342900" algn="l" defTabSz="914400" rtl="0" eaLnBrk="1" fontAlgn="t" latinLnBrk="0" hangingPunct="1">
              <a:lnSpc>
                <a:spcPct val="100000"/>
              </a:lnSpc>
              <a:spcBef>
                <a:spcPts val="0"/>
              </a:spcBef>
              <a:spcAft>
                <a:spcPts val="0"/>
              </a:spcAft>
              <a:buClrTx/>
              <a:buSzPts val="2000"/>
              <a:buFont typeface="+mj-lt"/>
              <a:buAutoNum type="arabicPeriod"/>
              <a:tabLst/>
              <a:defRPr/>
            </a:pPr>
            <a:r>
              <a:rPr kumimoji="0" lang="en-GB" sz="1800" i="0" u="none" strike="noStrike" kern="1200" cap="none" spc="0" normalizeH="0" baseline="0" noProof="0" dirty="0">
                <a:ln>
                  <a:noFill/>
                </a:ln>
                <a:solidFill>
                  <a:schemeClr val="bg1"/>
                </a:solidFill>
                <a:effectLst/>
                <a:uLnTx/>
                <a:uFillTx/>
                <a:latin typeface="Century Gothic" panose="020B0502020202020204" pitchFamily="34" charset="0"/>
                <a:ea typeface="+mn-ea"/>
                <a:cs typeface="Times New Roman" panose="02020603050405020304" pitchFamily="18" charset="0"/>
              </a:rPr>
              <a:t>Inherent deposit protection concerns of customer funds.</a:t>
            </a:r>
          </a:p>
        </p:txBody>
      </p:sp>
      <p:pic>
        <p:nvPicPr>
          <p:cNvPr id="5" name="Picture 4">
            <a:extLst>
              <a:ext uri="{FF2B5EF4-FFF2-40B4-BE49-F238E27FC236}">
                <a16:creationId xmlns:a16="http://schemas.microsoft.com/office/drawing/2014/main" id="{2A706CE7-6CF1-3029-98C4-CB3B69472EBE}"/>
              </a:ext>
            </a:extLst>
          </p:cNvPr>
          <p:cNvPicPr>
            <a:picLocks noChangeAspect="1"/>
          </p:cNvPicPr>
          <p:nvPr/>
        </p:nvPicPr>
        <p:blipFill>
          <a:blip r:embed="rId3"/>
          <a:stretch>
            <a:fillRect/>
          </a:stretch>
        </p:blipFill>
        <p:spPr>
          <a:xfrm>
            <a:off x="8670862" y="-30904"/>
            <a:ext cx="486108" cy="386796"/>
          </a:xfrm>
          <a:prstGeom prst="rect">
            <a:avLst/>
          </a:prstGeom>
        </p:spPr>
      </p:pic>
    </p:spTree>
    <p:extLst>
      <p:ext uri="{BB962C8B-B14F-4D97-AF65-F5344CB8AC3E}">
        <p14:creationId xmlns:p14="http://schemas.microsoft.com/office/powerpoint/2010/main" val="52253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7B340-AF28-9705-6AA3-87AAE65CD5C9}"/>
              </a:ext>
            </a:extLst>
          </p:cNvPr>
          <p:cNvSpPr>
            <a:spLocks noGrp="1"/>
          </p:cNvSpPr>
          <p:nvPr>
            <p:ph type="title"/>
          </p:nvPr>
        </p:nvSpPr>
        <p:spPr>
          <a:xfrm>
            <a:off x="966744" y="-92062"/>
            <a:ext cx="7210512" cy="442913"/>
          </a:xfrm>
        </p:spPr>
        <p:txBody>
          <a:bodyPr/>
          <a:lstStyle/>
          <a:p>
            <a:pPr algn="ctr"/>
            <a:r>
              <a:rPr lang="en-US" sz="2100" b="1" noProof="0" dirty="0">
                <a:solidFill>
                  <a:schemeClr val="tx1"/>
                </a:solidFill>
                <a:latin typeface="Century Gothic" panose="020B0502020202020204" pitchFamily="34" charset="0"/>
              </a:rPr>
              <a:t>Payment System Operations (PSO)</a:t>
            </a:r>
            <a:endParaRPr lang="en-GB" sz="2100" b="1" noProof="0" dirty="0">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9D596EED-52CD-8EE1-97AD-EFB5DB162CF7}"/>
              </a:ext>
            </a:extLst>
          </p:cNvPr>
          <p:cNvPicPr>
            <a:picLocks noChangeAspect="1"/>
          </p:cNvPicPr>
          <p:nvPr/>
        </p:nvPicPr>
        <p:blipFill>
          <a:blip r:embed="rId3"/>
          <a:stretch>
            <a:fillRect/>
          </a:stretch>
        </p:blipFill>
        <p:spPr>
          <a:xfrm>
            <a:off x="8618503" y="-52434"/>
            <a:ext cx="523837" cy="415115"/>
          </a:xfrm>
          <a:prstGeom prst="rect">
            <a:avLst/>
          </a:prstGeom>
        </p:spPr>
      </p:pic>
      <p:sp>
        <p:nvSpPr>
          <p:cNvPr id="4" name="Title 10">
            <a:extLst>
              <a:ext uri="{FF2B5EF4-FFF2-40B4-BE49-F238E27FC236}">
                <a16:creationId xmlns:a16="http://schemas.microsoft.com/office/drawing/2014/main" id="{2D200127-6943-C2D1-E43A-249D5D7564A7}"/>
              </a:ext>
            </a:extLst>
          </p:cNvPr>
          <p:cNvSpPr txBox="1">
            <a:spLocks/>
          </p:cNvSpPr>
          <p:nvPr/>
        </p:nvSpPr>
        <p:spPr>
          <a:xfrm>
            <a:off x="15903" y="-15092"/>
            <a:ext cx="737438"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13</a:t>
            </a:r>
            <a:r>
              <a:rPr lang="en-US" sz="2000" b="1" dirty="0">
                <a:solidFill>
                  <a:schemeClr val="tx1"/>
                </a:solidFill>
                <a:latin typeface="Century Gothic" panose="020B0502020202020204" pitchFamily="34" charset="0"/>
              </a:rPr>
              <a:t>.</a:t>
            </a:r>
          </a:p>
        </p:txBody>
      </p:sp>
      <p:graphicFrame>
        <p:nvGraphicFramePr>
          <p:cNvPr id="11" name="Diagram 10">
            <a:extLst>
              <a:ext uri="{FF2B5EF4-FFF2-40B4-BE49-F238E27FC236}">
                <a16:creationId xmlns:a16="http://schemas.microsoft.com/office/drawing/2014/main" id="{3E1D7B5D-092A-7D13-8E85-62517896D92D}"/>
              </a:ext>
            </a:extLst>
          </p:cNvPr>
          <p:cNvGraphicFramePr/>
          <p:nvPr>
            <p:extLst>
              <p:ext uri="{D42A27DB-BD31-4B8C-83A1-F6EECF244321}">
                <p14:modId xmlns:p14="http://schemas.microsoft.com/office/powerpoint/2010/main" val="2382500058"/>
              </p:ext>
            </p:extLst>
          </p:nvPr>
        </p:nvGraphicFramePr>
        <p:xfrm>
          <a:off x="345735" y="3406029"/>
          <a:ext cx="2318426" cy="12840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a:extLst>
              <a:ext uri="{FF2B5EF4-FFF2-40B4-BE49-F238E27FC236}">
                <a16:creationId xmlns:a16="http://schemas.microsoft.com/office/drawing/2014/main" id="{B52F8C4B-705B-A096-F652-E91FFFF231F4}"/>
              </a:ext>
            </a:extLst>
          </p:cNvPr>
          <p:cNvGraphicFramePr/>
          <p:nvPr>
            <p:extLst>
              <p:ext uri="{D42A27DB-BD31-4B8C-83A1-F6EECF244321}">
                <p14:modId xmlns:p14="http://schemas.microsoft.com/office/powerpoint/2010/main" val="1424685544"/>
              </p:ext>
            </p:extLst>
          </p:nvPr>
        </p:nvGraphicFramePr>
        <p:xfrm>
          <a:off x="345735" y="1328041"/>
          <a:ext cx="2078477" cy="182296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13" name="Diagram 12">
            <a:extLst>
              <a:ext uri="{FF2B5EF4-FFF2-40B4-BE49-F238E27FC236}">
                <a16:creationId xmlns:a16="http://schemas.microsoft.com/office/drawing/2014/main" id="{AE3D1ABE-9630-59BC-6D43-4C1D09B005B3}"/>
              </a:ext>
            </a:extLst>
          </p:cNvPr>
          <p:cNvGraphicFramePr/>
          <p:nvPr>
            <p:extLst>
              <p:ext uri="{D42A27DB-BD31-4B8C-83A1-F6EECF244321}">
                <p14:modId xmlns:p14="http://schemas.microsoft.com/office/powerpoint/2010/main" val="1853667058"/>
              </p:ext>
            </p:extLst>
          </p:nvPr>
        </p:nvGraphicFramePr>
        <p:xfrm>
          <a:off x="3151761" y="1404836"/>
          <a:ext cx="3281464" cy="324187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5" name="TextBox 14">
            <a:extLst>
              <a:ext uri="{FF2B5EF4-FFF2-40B4-BE49-F238E27FC236}">
                <a16:creationId xmlns:a16="http://schemas.microsoft.com/office/drawing/2014/main" id="{DA5D2F51-D426-F5BB-EB6C-13B029961CC0}"/>
              </a:ext>
            </a:extLst>
          </p:cNvPr>
          <p:cNvSpPr txBox="1"/>
          <p:nvPr/>
        </p:nvSpPr>
        <p:spPr>
          <a:xfrm>
            <a:off x="3938284" y="3765545"/>
            <a:ext cx="1297021" cy="400110"/>
          </a:xfrm>
          <a:prstGeom prst="rect">
            <a:avLst/>
          </a:prstGeom>
          <a:noFill/>
        </p:spPr>
        <p:txBody>
          <a:bodyPr wrap="square" rtlCol="0">
            <a:spAutoFit/>
          </a:bodyPr>
          <a:lstStyle/>
          <a:p>
            <a:r>
              <a:rPr lang="en-US" sz="2000" b="1" dirty="0">
                <a:solidFill>
                  <a:schemeClr val="tx1"/>
                </a:solidFill>
                <a:latin typeface="Century Gothic" panose="020B0502020202020204" pitchFamily="34" charset="0"/>
              </a:rPr>
              <a:t>REPSS</a:t>
            </a:r>
          </a:p>
        </p:txBody>
      </p:sp>
      <p:sp>
        <p:nvSpPr>
          <p:cNvPr id="16" name="TextBox 15">
            <a:extLst>
              <a:ext uri="{FF2B5EF4-FFF2-40B4-BE49-F238E27FC236}">
                <a16:creationId xmlns:a16="http://schemas.microsoft.com/office/drawing/2014/main" id="{6A0BF5B2-ED8B-789A-30BC-ACF031735994}"/>
              </a:ext>
            </a:extLst>
          </p:cNvPr>
          <p:cNvSpPr txBox="1"/>
          <p:nvPr/>
        </p:nvSpPr>
        <p:spPr>
          <a:xfrm>
            <a:off x="345735" y="699925"/>
            <a:ext cx="2260866" cy="369332"/>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800" b="1" dirty="0">
                <a:solidFill>
                  <a:schemeClr val="bg1"/>
                </a:solidFill>
                <a:latin typeface="Century Gothic" panose="020B0502020202020204" pitchFamily="34" charset="0"/>
              </a:rPr>
              <a:t>a.) National Level</a:t>
            </a:r>
          </a:p>
        </p:txBody>
      </p:sp>
      <p:sp>
        <p:nvSpPr>
          <p:cNvPr id="17" name="TextBox 16">
            <a:extLst>
              <a:ext uri="{FF2B5EF4-FFF2-40B4-BE49-F238E27FC236}">
                <a16:creationId xmlns:a16="http://schemas.microsoft.com/office/drawing/2014/main" id="{A7C4001A-383B-E285-435D-DBE7778E554B}"/>
              </a:ext>
            </a:extLst>
          </p:cNvPr>
          <p:cNvSpPr txBox="1"/>
          <p:nvPr/>
        </p:nvSpPr>
        <p:spPr>
          <a:xfrm>
            <a:off x="3151761" y="704189"/>
            <a:ext cx="2490280" cy="369332"/>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800" b="1" dirty="0">
                <a:solidFill>
                  <a:schemeClr val="bg1"/>
                </a:solidFill>
                <a:latin typeface="Century Gothic" panose="020B0502020202020204" pitchFamily="34" charset="0"/>
              </a:rPr>
              <a:t>b.) Regional Level</a:t>
            </a:r>
          </a:p>
        </p:txBody>
      </p:sp>
      <p:sp>
        <p:nvSpPr>
          <p:cNvPr id="18" name="TextBox 17">
            <a:extLst>
              <a:ext uri="{FF2B5EF4-FFF2-40B4-BE49-F238E27FC236}">
                <a16:creationId xmlns:a16="http://schemas.microsoft.com/office/drawing/2014/main" id="{7E4047BA-6532-E028-14EC-1378E56D8BBD}"/>
              </a:ext>
            </a:extLst>
          </p:cNvPr>
          <p:cNvSpPr txBox="1"/>
          <p:nvPr/>
        </p:nvSpPr>
        <p:spPr>
          <a:xfrm>
            <a:off x="6537401" y="673053"/>
            <a:ext cx="2610662" cy="369332"/>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800" b="1" dirty="0">
                <a:solidFill>
                  <a:schemeClr val="bg1"/>
                </a:solidFill>
                <a:latin typeface="Century Gothic" panose="020B0502020202020204" pitchFamily="34" charset="0"/>
              </a:rPr>
              <a:t>c.) International Level</a:t>
            </a:r>
          </a:p>
        </p:txBody>
      </p:sp>
      <p:sp>
        <p:nvSpPr>
          <p:cNvPr id="21" name="Right Brace 20">
            <a:extLst>
              <a:ext uri="{FF2B5EF4-FFF2-40B4-BE49-F238E27FC236}">
                <a16:creationId xmlns:a16="http://schemas.microsoft.com/office/drawing/2014/main" id="{273B440B-3860-F061-0F71-C37869A998D7}"/>
              </a:ext>
            </a:extLst>
          </p:cNvPr>
          <p:cNvSpPr/>
          <p:nvPr/>
        </p:nvSpPr>
        <p:spPr>
          <a:xfrm>
            <a:off x="6247590" y="1073019"/>
            <a:ext cx="726332" cy="3787955"/>
          </a:xfrm>
          <a:prstGeom prst="rightBrace">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aphicFrame>
        <p:nvGraphicFramePr>
          <p:cNvPr id="24" name="Diagram 23">
            <a:extLst>
              <a:ext uri="{FF2B5EF4-FFF2-40B4-BE49-F238E27FC236}">
                <a16:creationId xmlns:a16="http://schemas.microsoft.com/office/drawing/2014/main" id="{16FA410E-9F90-A5D9-970D-7BBF55D0DE64}"/>
              </a:ext>
            </a:extLst>
          </p:cNvPr>
          <p:cNvGraphicFramePr/>
          <p:nvPr>
            <p:extLst>
              <p:ext uri="{D42A27DB-BD31-4B8C-83A1-F6EECF244321}">
                <p14:modId xmlns:p14="http://schemas.microsoft.com/office/powerpoint/2010/main" val="1204925737"/>
              </p:ext>
            </p:extLst>
          </p:nvPr>
        </p:nvGraphicFramePr>
        <p:xfrm>
          <a:off x="6973922" y="1656679"/>
          <a:ext cx="1949584" cy="2840644"/>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25" name="TextBox 24">
            <a:extLst>
              <a:ext uri="{FF2B5EF4-FFF2-40B4-BE49-F238E27FC236}">
                <a16:creationId xmlns:a16="http://schemas.microsoft.com/office/drawing/2014/main" id="{DF185CB1-0FA6-3E98-B982-1534E3EAB3F9}"/>
              </a:ext>
            </a:extLst>
          </p:cNvPr>
          <p:cNvSpPr txBox="1"/>
          <p:nvPr/>
        </p:nvSpPr>
        <p:spPr>
          <a:xfrm>
            <a:off x="651678" y="2816853"/>
            <a:ext cx="1518400" cy="307777"/>
          </a:xfrm>
          <a:prstGeom prst="rect">
            <a:avLst/>
          </a:prstGeom>
          <a:noFill/>
        </p:spPr>
        <p:txBody>
          <a:bodyPr wrap="square" rtlCol="0">
            <a:spAutoFit/>
          </a:bodyPr>
          <a:lstStyle/>
          <a:p>
            <a:r>
              <a:rPr lang="en-US" b="1" i="1" dirty="0">
                <a:solidFill>
                  <a:schemeClr val="tx1"/>
                </a:solidFill>
                <a:latin typeface="Century Gothic" panose="020B0502020202020204" pitchFamily="34" charset="0"/>
              </a:rPr>
              <a:t>Multi-currency</a:t>
            </a:r>
          </a:p>
        </p:txBody>
      </p:sp>
      <p:sp>
        <p:nvSpPr>
          <p:cNvPr id="26" name="TextBox 25">
            <a:extLst>
              <a:ext uri="{FF2B5EF4-FFF2-40B4-BE49-F238E27FC236}">
                <a16:creationId xmlns:a16="http://schemas.microsoft.com/office/drawing/2014/main" id="{980EB1C8-60A1-D90C-6B9B-938EAB84550D}"/>
              </a:ext>
            </a:extLst>
          </p:cNvPr>
          <p:cNvSpPr txBox="1"/>
          <p:nvPr/>
        </p:nvSpPr>
        <p:spPr>
          <a:xfrm>
            <a:off x="5324273" y="1617643"/>
            <a:ext cx="1024646" cy="954107"/>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b="1" dirty="0">
                <a:latin typeface="Century Gothic" panose="020B0502020202020204" pitchFamily="34" charset="0"/>
              </a:rPr>
              <a:t>Kenya</a:t>
            </a:r>
          </a:p>
          <a:p>
            <a:r>
              <a:rPr lang="en-US" b="1" dirty="0">
                <a:latin typeface="Century Gothic" panose="020B0502020202020204" pitchFamily="34" charset="0"/>
              </a:rPr>
              <a:t>Uganda</a:t>
            </a:r>
          </a:p>
          <a:p>
            <a:r>
              <a:rPr lang="en-US" b="1" dirty="0">
                <a:latin typeface="Century Gothic" panose="020B0502020202020204" pitchFamily="34" charset="0"/>
              </a:rPr>
              <a:t>Tanzania</a:t>
            </a:r>
          </a:p>
          <a:p>
            <a:r>
              <a:rPr lang="en-US" b="1" dirty="0">
                <a:latin typeface="Century Gothic" panose="020B0502020202020204" pitchFamily="34" charset="0"/>
              </a:rPr>
              <a:t>Rwanda</a:t>
            </a:r>
          </a:p>
        </p:txBody>
      </p:sp>
      <p:sp>
        <p:nvSpPr>
          <p:cNvPr id="27" name="TextBox 26">
            <a:extLst>
              <a:ext uri="{FF2B5EF4-FFF2-40B4-BE49-F238E27FC236}">
                <a16:creationId xmlns:a16="http://schemas.microsoft.com/office/drawing/2014/main" id="{F266FDBD-2E4B-00F8-B476-CCAE4FEA4C2F}"/>
              </a:ext>
            </a:extLst>
          </p:cNvPr>
          <p:cNvSpPr txBox="1"/>
          <p:nvPr/>
        </p:nvSpPr>
        <p:spPr>
          <a:xfrm>
            <a:off x="5235305" y="3025775"/>
            <a:ext cx="1113614" cy="2031325"/>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b="1" dirty="0">
                <a:latin typeface="Century Gothic" panose="020B0502020202020204" pitchFamily="34" charset="0"/>
              </a:rPr>
              <a:t>DRC </a:t>
            </a:r>
          </a:p>
          <a:p>
            <a:r>
              <a:rPr lang="en-US" b="1" dirty="0">
                <a:latin typeface="Century Gothic" panose="020B0502020202020204" pitchFamily="34" charset="0"/>
              </a:rPr>
              <a:t>Egypt </a:t>
            </a:r>
          </a:p>
          <a:p>
            <a:r>
              <a:rPr lang="en-US" b="1" dirty="0">
                <a:latin typeface="Century Gothic" panose="020B0502020202020204" pitchFamily="34" charset="0"/>
              </a:rPr>
              <a:t>Kenya </a:t>
            </a:r>
          </a:p>
          <a:p>
            <a:r>
              <a:rPr lang="en-US" b="1" dirty="0">
                <a:latin typeface="Century Gothic" panose="020B0502020202020204" pitchFamily="34" charset="0"/>
              </a:rPr>
              <a:t>Malawi Mauritius Rwanda Eswatini Uganda</a:t>
            </a:r>
          </a:p>
          <a:p>
            <a:r>
              <a:rPr lang="en-US" b="1" dirty="0">
                <a:latin typeface="Century Gothic" panose="020B0502020202020204" pitchFamily="34" charset="0"/>
              </a:rPr>
              <a:t>Zambia</a:t>
            </a:r>
          </a:p>
        </p:txBody>
      </p:sp>
      <p:sp>
        <p:nvSpPr>
          <p:cNvPr id="28" name="TextBox 27">
            <a:extLst>
              <a:ext uri="{FF2B5EF4-FFF2-40B4-BE49-F238E27FC236}">
                <a16:creationId xmlns:a16="http://schemas.microsoft.com/office/drawing/2014/main" id="{3BC1CF8C-F34B-335B-FFDB-C5F7A7E3953D}"/>
              </a:ext>
            </a:extLst>
          </p:cNvPr>
          <p:cNvSpPr txBox="1"/>
          <p:nvPr/>
        </p:nvSpPr>
        <p:spPr>
          <a:xfrm>
            <a:off x="7017490" y="1777481"/>
            <a:ext cx="1283446" cy="738664"/>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b="1" dirty="0">
                <a:latin typeface="Century Gothic" panose="020B0502020202020204" pitchFamily="34" charset="0"/>
              </a:rPr>
              <a:t>Facilitates international payments</a:t>
            </a:r>
          </a:p>
        </p:txBody>
      </p:sp>
      <p:sp>
        <p:nvSpPr>
          <p:cNvPr id="29" name="TextBox 28">
            <a:extLst>
              <a:ext uri="{FF2B5EF4-FFF2-40B4-BE49-F238E27FC236}">
                <a16:creationId xmlns:a16="http://schemas.microsoft.com/office/drawing/2014/main" id="{4C2C7A13-D4DF-E693-214A-D93FA806EA6D}"/>
              </a:ext>
            </a:extLst>
          </p:cNvPr>
          <p:cNvSpPr txBox="1"/>
          <p:nvPr/>
        </p:nvSpPr>
        <p:spPr>
          <a:xfrm>
            <a:off x="7047687" y="3678723"/>
            <a:ext cx="1551563" cy="738664"/>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r>
              <a:rPr lang="en-US" b="1" dirty="0">
                <a:latin typeface="Century Gothic" panose="020B0502020202020204" pitchFamily="34" charset="0"/>
              </a:rPr>
              <a:t>Connecting Kenyan Banks Globally</a:t>
            </a:r>
          </a:p>
        </p:txBody>
      </p:sp>
      <p:cxnSp>
        <p:nvCxnSpPr>
          <p:cNvPr id="5" name="Straight Connector 4">
            <a:extLst>
              <a:ext uri="{FF2B5EF4-FFF2-40B4-BE49-F238E27FC236}">
                <a16:creationId xmlns:a16="http://schemas.microsoft.com/office/drawing/2014/main" id="{292FF8E0-9076-1AC3-116E-C14733A68FBB}"/>
              </a:ext>
            </a:extLst>
          </p:cNvPr>
          <p:cNvCxnSpPr>
            <a:cxnSpLocks/>
          </p:cNvCxnSpPr>
          <p:nvPr/>
        </p:nvCxnSpPr>
        <p:spPr>
          <a:xfrm>
            <a:off x="15903" y="365635"/>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28173215"/>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A0792-A66B-1732-FDCD-E6920EFCB04B}"/>
            </a:ext>
          </a:extLst>
        </p:cNvPr>
        <p:cNvGrpSpPr/>
        <p:nvPr/>
      </p:nvGrpSpPr>
      <p:grpSpPr>
        <a:xfrm>
          <a:off x="0" y="0"/>
          <a:ext cx="0" cy="0"/>
          <a:chOff x="0" y="0"/>
          <a:chExt cx="0" cy="0"/>
        </a:xfrm>
      </p:grpSpPr>
      <p:sp>
        <p:nvSpPr>
          <p:cNvPr id="4" name="object 2">
            <a:extLst>
              <a:ext uri="{FF2B5EF4-FFF2-40B4-BE49-F238E27FC236}">
                <a16:creationId xmlns:a16="http://schemas.microsoft.com/office/drawing/2014/main" id="{FEDE0BFD-F7E3-4CAC-82B8-F1EE601AD7DB}"/>
              </a:ext>
            </a:extLst>
          </p:cNvPr>
          <p:cNvSpPr txBox="1"/>
          <p:nvPr/>
        </p:nvSpPr>
        <p:spPr>
          <a:xfrm>
            <a:off x="609232" y="21651"/>
            <a:ext cx="7881625" cy="320601"/>
          </a:xfrm>
          <a:prstGeom prst="rect">
            <a:avLst/>
          </a:prstGeom>
        </p:spPr>
        <p:txBody>
          <a:bodyPr vert="horz" wrap="square" lIns="0" tIns="12700" rIns="0" bIns="0" rtlCol="0">
            <a:spAutoFit/>
          </a:bodyPr>
          <a:lstStyle/>
          <a:p>
            <a:pPr marL="12700" algn="ctr">
              <a:lnSpc>
                <a:spcPct val="100000"/>
              </a:lnSpc>
              <a:spcBef>
                <a:spcPts val="100"/>
              </a:spcBef>
            </a:pPr>
            <a:r>
              <a:rPr lang="en-US" sz="2000" b="1" dirty="0">
                <a:solidFill>
                  <a:schemeClr val="tx1"/>
                </a:solidFill>
                <a:latin typeface="Century Gothic" panose="020B0502020202020204" pitchFamily="34" charset="0"/>
                <a:cs typeface="Century Gothic"/>
              </a:rPr>
              <a:t>Kenya Payment Ecosystem – Snapshot of Statistical Highlights</a:t>
            </a:r>
          </a:p>
        </p:txBody>
      </p:sp>
      <p:pic>
        <p:nvPicPr>
          <p:cNvPr id="5" name="Picture 4">
            <a:extLst>
              <a:ext uri="{FF2B5EF4-FFF2-40B4-BE49-F238E27FC236}">
                <a16:creationId xmlns:a16="http://schemas.microsoft.com/office/drawing/2014/main" id="{8F0A0B81-2283-02A6-0C56-18E09BB4CE66}"/>
              </a:ext>
            </a:extLst>
          </p:cNvPr>
          <p:cNvPicPr>
            <a:picLocks noChangeAspect="1"/>
          </p:cNvPicPr>
          <p:nvPr/>
        </p:nvPicPr>
        <p:blipFill>
          <a:blip r:embed="rId3"/>
          <a:stretch>
            <a:fillRect/>
          </a:stretch>
        </p:blipFill>
        <p:spPr>
          <a:xfrm>
            <a:off x="8644647" y="-26680"/>
            <a:ext cx="505838" cy="400852"/>
          </a:xfrm>
          <a:prstGeom prst="rect">
            <a:avLst/>
          </a:prstGeom>
        </p:spPr>
      </p:pic>
      <p:cxnSp>
        <p:nvCxnSpPr>
          <p:cNvPr id="12" name="Straight Connector 11">
            <a:extLst>
              <a:ext uri="{FF2B5EF4-FFF2-40B4-BE49-F238E27FC236}">
                <a16:creationId xmlns:a16="http://schemas.microsoft.com/office/drawing/2014/main" id="{92240CD6-CBB7-CB0D-696C-FDEE799E4C0F}"/>
              </a:ext>
            </a:extLst>
          </p:cNvPr>
          <p:cNvCxnSpPr>
            <a:cxnSpLocks/>
          </p:cNvCxnSpPr>
          <p:nvPr/>
        </p:nvCxnSpPr>
        <p:spPr>
          <a:xfrm>
            <a:off x="315238" y="1624899"/>
            <a:ext cx="1205345"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21E2F63-5526-6BC5-1B1D-6614B37D98DD}"/>
              </a:ext>
            </a:extLst>
          </p:cNvPr>
          <p:cNvCxnSpPr>
            <a:cxnSpLocks/>
          </p:cNvCxnSpPr>
          <p:nvPr/>
        </p:nvCxnSpPr>
        <p:spPr>
          <a:xfrm>
            <a:off x="2824532" y="1474085"/>
            <a:ext cx="192239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B89D4BBA-04C6-1B9A-0730-EE7F61859D3E}"/>
              </a:ext>
            </a:extLst>
          </p:cNvPr>
          <p:cNvCxnSpPr>
            <a:cxnSpLocks/>
          </p:cNvCxnSpPr>
          <p:nvPr/>
        </p:nvCxnSpPr>
        <p:spPr>
          <a:xfrm>
            <a:off x="2824532" y="2864948"/>
            <a:ext cx="192239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66EFEDA-A80A-7F8D-8065-D977D63B98D6}"/>
              </a:ext>
            </a:extLst>
          </p:cNvPr>
          <p:cNvCxnSpPr>
            <a:cxnSpLocks/>
          </p:cNvCxnSpPr>
          <p:nvPr/>
        </p:nvCxnSpPr>
        <p:spPr>
          <a:xfrm>
            <a:off x="315238" y="3330227"/>
            <a:ext cx="1205345"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4554A709-7790-127A-CEB3-65B84C2D499D}"/>
              </a:ext>
            </a:extLst>
          </p:cNvPr>
          <p:cNvCxnSpPr>
            <a:cxnSpLocks/>
          </p:cNvCxnSpPr>
          <p:nvPr/>
        </p:nvCxnSpPr>
        <p:spPr>
          <a:xfrm>
            <a:off x="400626" y="4735043"/>
            <a:ext cx="1205345"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7EF3051-DE7A-593B-2B47-0AEA6762214B}"/>
              </a:ext>
            </a:extLst>
          </p:cNvPr>
          <p:cNvCxnSpPr>
            <a:cxnSpLocks/>
          </p:cNvCxnSpPr>
          <p:nvPr/>
        </p:nvCxnSpPr>
        <p:spPr>
          <a:xfrm>
            <a:off x="2911996" y="4497512"/>
            <a:ext cx="155663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6C2F0A92-7777-3E7A-1289-0A199E04700B}"/>
              </a:ext>
            </a:extLst>
          </p:cNvPr>
          <p:cNvSpPr txBox="1"/>
          <p:nvPr/>
        </p:nvSpPr>
        <p:spPr>
          <a:xfrm>
            <a:off x="3306850" y="521441"/>
            <a:ext cx="1620982" cy="954107"/>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30 – Days Active Mobile Money Accounts</a:t>
            </a:r>
          </a:p>
          <a:p>
            <a:pPr algn="ctr"/>
            <a:r>
              <a:rPr lang="en-US" b="1">
                <a:solidFill>
                  <a:schemeClr val="tx1"/>
                </a:solidFill>
                <a:latin typeface="Century Gothic" panose="020B0502020202020204" pitchFamily="34" charset="0"/>
              </a:rPr>
              <a:t>36.9 Million</a:t>
            </a:r>
          </a:p>
        </p:txBody>
      </p:sp>
      <p:sp>
        <p:nvSpPr>
          <p:cNvPr id="22" name="TextBox 21">
            <a:extLst>
              <a:ext uri="{FF2B5EF4-FFF2-40B4-BE49-F238E27FC236}">
                <a16:creationId xmlns:a16="http://schemas.microsoft.com/office/drawing/2014/main" id="{6D177070-2A60-0E87-9206-F0C7835BECC3}"/>
              </a:ext>
            </a:extLst>
          </p:cNvPr>
          <p:cNvSpPr txBox="1"/>
          <p:nvPr/>
        </p:nvSpPr>
        <p:spPr>
          <a:xfrm>
            <a:off x="192808" y="1101679"/>
            <a:ext cx="1620982" cy="523220"/>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Population Size</a:t>
            </a:r>
          </a:p>
          <a:p>
            <a:pPr algn="ctr"/>
            <a:r>
              <a:rPr lang="en-US" b="1">
                <a:solidFill>
                  <a:schemeClr val="tx1"/>
                </a:solidFill>
                <a:latin typeface="Century Gothic" panose="020B0502020202020204" pitchFamily="34" charset="0"/>
              </a:rPr>
              <a:t>52.43 Million</a:t>
            </a:r>
          </a:p>
        </p:txBody>
      </p:sp>
      <p:sp>
        <p:nvSpPr>
          <p:cNvPr id="23" name="TextBox 22">
            <a:extLst>
              <a:ext uri="{FF2B5EF4-FFF2-40B4-BE49-F238E27FC236}">
                <a16:creationId xmlns:a16="http://schemas.microsoft.com/office/drawing/2014/main" id="{5A4A5EBC-990B-CFD6-6EDC-7FCDE7539F84}"/>
              </a:ext>
            </a:extLst>
          </p:cNvPr>
          <p:cNvSpPr txBox="1"/>
          <p:nvPr/>
        </p:nvSpPr>
        <p:spPr>
          <a:xfrm>
            <a:off x="2866068" y="2046771"/>
            <a:ext cx="1747098" cy="738664"/>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Number of Active Mobile Merchants</a:t>
            </a:r>
          </a:p>
          <a:p>
            <a:pPr algn="ctr"/>
            <a:r>
              <a:rPr lang="en-US" b="1">
                <a:solidFill>
                  <a:schemeClr val="tx1"/>
                </a:solidFill>
                <a:latin typeface="Century Gothic" panose="020B0502020202020204" pitchFamily="34" charset="0"/>
              </a:rPr>
              <a:t>710,823</a:t>
            </a:r>
          </a:p>
        </p:txBody>
      </p:sp>
      <p:sp>
        <p:nvSpPr>
          <p:cNvPr id="24" name="TextBox 23">
            <a:extLst>
              <a:ext uri="{FF2B5EF4-FFF2-40B4-BE49-F238E27FC236}">
                <a16:creationId xmlns:a16="http://schemas.microsoft.com/office/drawing/2014/main" id="{6D1E3D34-07B6-EF5C-8248-A46182676B87}"/>
              </a:ext>
            </a:extLst>
          </p:cNvPr>
          <p:cNvSpPr txBox="1"/>
          <p:nvPr/>
        </p:nvSpPr>
        <p:spPr>
          <a:xfrm>
            <a:off x="107419" y="2591563"/>
            <a:ext cx="1620982" cy="738664"/>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Number of Bank ATMs</a:t>
            </a:r>
          </a:p>
          <a:p>
            <a:pPr algn="ctr"/>
            <a:r>
              <a:rPr lang="en-US" b="1">
                <a:solidFill>
                  <a:schemeClr val="tx1"/>
                </a:solidFill>
                <a:latin typeface="Century Gothic" panose="020B0502020202020204" pitchFamily="34" charset="0"/>
              </a:rPr>
              <a:t>2,289</a:t>
            </a:r>
          </a:p>
        </p:txBody>
      </p:sp>
      <p:sp>
        <p:nvSpPr>
          <p:cNvPr id="25" name="TextBox 24">
            <a:extLst>
              <a:ext uri="{FF2B5EF4-FFF2-40B4-BE49-F238E27FC236}">
                <a16:creationId xmlns:a16="http://schemas.microsoft.com/office/drawing/2014/main" id="{A987977B-1D54-FCF9-FD56-A437A4472E80}"/>
              </a:ext>
            </a:extLst>
          </p:cNvPr>
          <p:cNvSpPr txBox="1"/>
          <p:nvPr/>
        </p:nvSpPr>
        <p:spPr>
          <a:xfrm>
            <a:off x="192808" y="4124979"/>
            <a:ext cx="1620982" cy="523220"/>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Number of POS</a:t>
            </a:r>
          </a:p>
          <a:p>
            <a:pPr algn="ctr"/>
            <a:r>
              <a:rPr lang="en-US" b="1">
                <a:solidFill>
                  <a:schemeClr val="tx1"/>
                </a:solidFill>
                <a:latin typeface="Century Gothic" panose="020B0502020202020204" pitchFamily="34" charset="0"/>
              </a:rPr>
              <a:t>48,653</a:t>
            </a:r>
          </a:p>
        </p:txBody>
      </p:sp>
      <p:sp>
        <p:nvSpPr>
          <p:cNvPr id="27" name="TextBox 26">
            <a:extLst>
              <a:ext uri="{FF2B5EF4-FFF2-40B4-BE49-F238E27FC236}">
                <a16:creationId xmlns:a16="http://schemas.microsoft.com/office/drawing/2014/main" id="{C619A23F-9123-40EF-B745-BE1889C1CAE9}"/>
              </a:ext>
            </a:extLst>
          </p:cNvPr>
          <p:cNvSpPr txBox="1"/>
          <p:nvPr/>
        </p:nvSpPr>
        <p:spPr>
          <a:xfrm>
            <a:off x="2879823" y="3407585"/>
            <a:ext cx="1620982" cy="954107"/>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Number of Active Mobile Money Agents</a:t>
            </a:r>
          </a:p>
          <a:p>
            <a:pPr algn="ctr"/>
            <a:r>
              <a:rPr lang="en-US" b="1">
                <a:solidFill>
                  <a:schemeClr val="tx1"/>
                </a:solidFill>
                <a:latin typeface="Century Gothic" panose="020B0502020202020204" pitchFamily="34" charset="0"/>
              </a:rPr>
              <a:t>381,116</a:t>
            </a:r>
          </a:p>
        </p:txBody>
      </p:sp>
      <p:pic>
        <p:nvPicPr>
          <p:cNvPr id="31" name="Picture 30">
            <a:extLst>
              <a:ext uri="{FF2B5EF4-FFF2-40B4-BE49-F238E27FC236}">
                <a16:creationId xmlns:a16="http://schemas.microsoft.com/office/drawing/2014/main" id="{BA3C7C61-6419-784E-4B21-8EE57F2D0715}"/>
              </a:ext>
            </a:extLst>
          </p:cNvPr>
          <p:cNvPicPr>
            <a:picLocks noChangeAspect="1"/>
          </p:cNvPicPr>
          <p:nvPr/>
        </p:nvPicPr>
        <p:blipFill>
          <a:blip r:embed="rId4"/>
          <a:stretch>
            <a:fillRect/>
          </a:stretch>
        </p:blipFill>
        <p:spPr>
          <a:xfrm>
            <a:off x="609232" y="3455048"/>
            <a:ext cx="669931" cy="669931"/>
          </a:xfrm>
          <a:prstGeom prst="rect">
            <a:avLst/>
          </a:prstGeom>
        </p:spPr>
      </p:pic>
      <p:pic>
        <p:nvPicPr>
          <p:cNvPr id="32" name="Picture 31">
            <a:extLst>
              <a:ext uri="{FF2B5EF4-FFF2-40B4-BE49-F238E27FC236}">
                <a16:creationId xmlns:a16="http://schemas.microsoft.com/office/drawing/2014/main" id="{6B89EBF3-B1C3-6EC6-77B2-103CC34AFA31}"/>
              </a:ext>
            </a:extLst>
          </p:cNvPr>
          <p:cNvPicPr>
            <a:picLocks noChangeAspect="1"/>
          </p:cNvPicPr>
          <p:nvPr/>
        </p:nvPicPr>
        <p:blipFill>
          <a:blip r:embed="rId5"/>
          <a:stretch>
            <a:fillRect/>
          </a:stretch>
        </p:blipFill>
        <p:spPr>
          <a:xfrm>
            <a:off x="3439462" y="3115391"/>
            <a:ext cx="338532" cy="338532"/>
          </a:xfrm>
          <a:prstGeom prst="rect">
            <a:avLst/>
          </a:prstGeom>
          <a:noFill/>
        </p:spPr>
      </p:pic>
      <p:pic>
        <p:nvPicPr>
          <p:cNvPr id="33" name="Picture 32">
            <a:extLst>
              <a:ext uri="{FF2B5EF4-FFF2-40B4-BE49-F238E27FC236}">
                <a16:creationId xmlns:a16="http://schemas.microsoft.com/office/drawing/2014/main" id="{51CCC94A-BC4A-FC19-EEB0-A1A190C84253}"/>
              </a:ext>
            </a:extLst>
          </p:cNvPr>
          <p:cNvPicPr>
            <a:picLocks noChangeAspect="1"/>
          </p:cNvPicPr>
          <p:nvPr/>
        </p:nvPicPr>
        <p:blipFill>
          <a:blip r:embed="rId6">
            <a:duotone>
              <a:schemeClr val="accent4">
                <a:shade val="45000"/>
                <a:satMod val="135000"/>
              </a:schemeClr>
              <a:prstClr val="white"/>
            </a:duotone>
          </a:blip>
          <a:stretch>
            <a:fillRect/>
          </a:stretch>
        </p:blipFill>
        <p:spPr>
          <a:xfrm>
            <a:off x="613673" y="1943464"/>
            <a:ext cx="608474" cy="608474"/>
          </a:xfrm>
          <a:prstGeom prst="rect">
            <a:avLst/>
          </a:prstGeom>
          <a:solidFill>
            <a:schemeClr val="accent6">
              <a:lumMod val="60000"/>
              <a:lumOff val="40000"/>
            </a:schemeClr>
          </a:solidFill>
        </p:spPr>
      </p:pic>
      <p:pic>
        <p:nvPicPr>
          <p:cNvPr id="34" name="Picture 33">
            <a:extLst>
              <a:ext uri="{FF2B5EF4-FFF2-40B4-BE49-F238E27FC236}">
                <a16:creationId xmlns:a16="http://schemas.microsoft.com/office/drawing/2014/main" id="{1705BCE8-5D08-417B-DAB8-7FA959C90C61}"/>
              </a:ext>
            </a:extLst>
          </p:cNvPr>
          <p:cNvPicPr>
            <a:picLocks noChangeAspect="1"/>
          </p:cNvPicPr>
          <p:nvPr/>
        </p:nvPicPr>
        <p:blipFill>
          <a:blip r:embed="rId7"/>
          <a:stretch>
            <a:fillRect/>
          </a:stretch>
        </p:blipFill>
        <p:spPr>
          <a:xfrm>
            <a:off x="628152" y="565677"/>
            <a:ext cx="479732" cy="479732"/>
          </a:xfrm>
          <a:prstGeom prst="rect">
            <a:avLst/>
          </a:prstGeom>
          <a:solidFill>
            <a:schemeClr val="accent4"/>
          </a:solidFill>
        </p:spPr>
      </p:pic>
      <p:pic>
        <p:nvPicPr>
          <p:cNvPr id="35" name="Picture 34">
            <a:extLst>
              <a:ext uri="{FF2B5EF4-FFF2-40B4-BE49-F238E27FC236}">
                <a16:creationId xmlns:a16="http://schemas.microsoft.com/office/drawing/2014/main" id="{682D1D15-2D24-CD10-01AD-01ED2743F275}"/>
              </a:ext>
            </a:extLst>
          </p:cNvPr>
          <p:cNvPicPr>
            <a:picLocks noChangeAspect="1"/>
          </p:cNvPicPr>
          <p:nvPr/>
        </p:nvPicPr>
        <p:blipFill>
          <a:blip r:embed="rId8">
            <a:duotone>
              <a:schemeClr val="accent4">
                <a:shade val="45000"/>
                <a:satMod val="135000"/>
              </a:schemeClr>
              <a:prstClr val="white"/>
            </a:duotone>
          </a:blip>
          <a:stretch>
            <a:fillRect/>
          </a:stretch>
        </p:blipFill>
        <p:spPr>
          <a:xfrm>
            <a:off x="3502866" y="1617292"/>
            <a:ext cx="473503" cy="473503"/>
          </a:xfrm>
          <a:prstGeom prst="rect">
            <a:avLst/>
          </a:prstGeom>
        </p:spPr>
      </p:pic>
      <p:pic>
        <p:nvPicPr>
          <p:cNvPr id="36" name="Picture 35">
            <a:extLst>
              <a:ext uri="{FF2B5EF4-FFF2-40B4-BE49-F238E27FC236}">
                <a16:creationId xmlns:a16="http://schemas.microsoft.com/office/drawing/2014/main" id="{0C6E2870-4F61-623C-BC78-653660B4BE25}"/>
              </a:ext>
            </a:extLst>
          </p:cNvPr>
          <p:cNvPicPr>
            <a:picLocks noChangeAspect="1"/>
          </p:cNvPicPr>
          <p:nvPr/>
        </p:nvPicPr>
        <p:blipFill>
          <a:blip r:embed="rId9"/>
          <a:stretch>
            <a:fillRect/>
          </a:stretch>
        </p:blipFill>
        <p:spPr>
          <a:xfrm>
            <a:off x="2890207" y="614395"/>
            <a:ext cx="479732" cy="479732"/>
          </a:xfrm>
          <a:prstGeom prst="rect">
            <a:avLst/>
          </a:prstGeom>
          <a:solidFill>
            <a:schemeClr val="bg2">
              <a:lumMod val="20000"/>
              <a:lumOff val="80000"/>
            </a:schemeClr>
          </a:solidFill>
          <a:ln>
            <a:solidFill>
              <a:schemeClr val="tx2"/>
            </a:solidFill>
          </a:ln>
        </p:spPr>
      </p:pic>
      <p:pic>
        <p:nvPicPr>
          <p:cNvPr id="37" name="Picture 36">
            <a:extLst>
              <a:ext uri="{FF2B5EF4-FFF2-40B4-BE49-F238E27FC236}">
                <a16:creationId xmlns:a16="http://schemas.microsoft.com/office/drawing/2014/main" id="{BC332A6B-D009-E2CA-EB49-EF0B08C7B987}"/>
              </a:ext>
            </a:extLst>
          </p:cNvPr>
          <p:cNvPicPr>
            <a:picLocks noChangeAspect="1"/>
          </p:cNvPicPr>
          <p:nvPr/>
        </p:nvPicPr>
        <p:blipFill>
          <a:blip r:embed="rId10"/>
          <a:stretch>
            <a:fillRect/>
          </a:stretch>
        </p:blipFill>
        <p:spPr>
          <a:xfrm>
            <a:off x="3510576" y="4692784"/>
            <a:ext cx="1633870" cy="188992"/>
          </a:xfrm>
          <a:prstGeom prst="rect">
            <a:avLst/>
          </a:prstGeom>
        </p:spPr>
      </p:pic>
      <p:sp>
        <p:nvSpPr>
          <p:cNvPr id="38" name="Title 10">
            <a:extLst>
              <a:ext uri="{FF2B5EF4-FFF2-40B4-BE49-F238E27FC236}">
                <a16:creationId xmlns:a16="http://schemas.microsoft.com/office/drawing/2014/main" id="{2E343BED-A03D-E09C-8C0B-6EDEB38235CF}"/>
              </a:ext>
            </a:extLst>
          </p:cNvPr>
          <p:cNvSpPr txBox="1">
            <a:spLocks/>
          </p:cNvSpPr>
          <p:nvPr/>
        </p:nvSpPr>
        <p:spPr>
          <a:xfrm>
            <a:off x="-10645" y="-21364"/>
            <a:ext cx="625827"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14.</a:t>
            </a:r>
          </a:p>
        </p:txBody>
      </p:sp>
      <p:cxnSp>
        <p:nvCxnSpPr>
          <p:cNvPr id="2" name="Straight Connector 1">
            <a:extLst>
              <a:ext uri="{FF2B5EF4-FFF2-40B4-BE49-F238E27FC236}">
                <a16:creationId xmlns:a16="http://schemas.microsoft.com/office/drawing/2014/main" id="{E89734D8-00EB-5AB0-33A6-3258C38640AE}"/>
              </a:ext>
            </a:extLst>
          </p:cNvPr>
          <p:cNvCxnSpPr>
            <a:cxnSpLocks/>
          </p:cNvCxnSpPr>
          <p:nvPr/>
        </p:nvCxnSpPr>
        <p:spPr>
          <a:xfrm>
            <a:off x="-10645" y="365432"/>
            <a:ext cx="9154645" cy="19624"/>
          </a:xfrm>
          <a:prstGeom prst="line">
            <a:avLst/>
          </a:prstGeom>
          <a:noFill/>
          <a:ln w="19050" cap="flat" cmpd="sng" algn="ctr">
            <a:solidFill>
              <a:srgbClr val="F19D19"/>
            </a:solidFill>
            <a:prstDash val="solid"/>
            <a:miter lim="800000"/>
          </a:ln>
          <a:effectLst/>
        </p:spPr>
      </p:cxnSp>
      <p:sp>
        <p:nvSpPr>
          <p:cNvPr id="10" name="TextBox 9">
            <a:extLst>
              <a:ext uri="{FF2B5EF4-FFF2-40B4-BE49-F238E27FC236}">
                <a16:creationId xmlns:a16="http://schemas.microsoft.com/office/drawing/2014/main" id="{4552DA4E-A904-3AA3-D74B-058FCD0040EF}"/>
              </a:ext>
            </a:extLst>
          </p:cNvPr>
          <p:cNvSpPr txBox="1"/>
          <p:nvPr/>
        </p:nvSpPr>
        <p:spPr>
          <a:xfrm>
            <a:off x="6605504" y="573236"/>
            <a:ext cx="1620982" cy="954107"/>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30 – Days Active Mobile Money Customers</a:t>
            </a:r>
          </a:p>
          <a:p>
            <a:pPr algn="ctr"/>
            <a:r>
              <a:rPr lang="en-US" b="1">
                <a:solidFill>
                  <a:schemeClr val="tx1"/>
                </a:solidFill>
                <a:latin typeface="Century Gothic" panose="020B0502020202020204" pitchFamily="34" charset="0"/>
              </a:rPr>
              <a:t>29.7 Million</a:t>
            </a:r>
          </a:p>
        </p:txBody>
      </p:sp>
      <p:pic>
        <p:nvPicPr>
          <p:cNvPr id="11" name="Picture 10">
            <a:extLst>
              <a:ext uri="{FF2B5EF4-FFF2-40B4-BE49-F238E27FC236}">
                <a16:creationId xmlns:a16="http://schemas.microsoft.com/office/drawing/2014/main" id="{1BBD98D0-D814-8A3A-788B-D8799E32A84F}"/>
              </a:ext>
            </a:extLst>
          </p:cNvPr>
          <p:cNvPicPr>
            <a:picLocks noChangeAspect="1"/>
          </p:cNvPicPr>
          <p:nvPr/>
        </p:nvPicPr>
        <p:blipFill>
          <a:blip r:embed="rId9"/>
          <a:stretch>
            <a:fillRect/>
          </a:stretch>
        </p:blipFill>
        <p:spPr>
          <a:xfrm>
            <a:off x="6098650" y="758628"/>
            <a:ext cx="506854" cy="479732"/>
          </a:xfrm>
          <a:prstGeom prst="rect">
            <a:avLst/>
          </a:prstGeom>
          <a:solidFill>
            <a:schemeClr val="tx1">
              <a:lumMod val="10000"/>
              <a:lumOff val="90000"/>
            </a:schemeClr>
          </a:solidFill>
          <a:ln>
            <a:solidFill>
              <a:schemeClr val="tx2"/>
            </a:solidFill>
          </a:ln>
        </p:spPr>
      </p:pic>
      <p:cxnSp>
        <p:nvCxnSpPr>
          <p:cNvPr id="13" name="Straight Connector 12">
            <a:extLst>
              <a:ext uri="{FF2B5EF4-FFF2-40B4-BE49-F238E27FC236}">
                <a16:creationId xmlns:a16="http://schemas.microsoft.com/office/drawing/2014/main" id="{5696EAD7-A413-A1A3-1BA9-8E8006822664}"/>
              </a:ext>
            </a:extLst>
          </p:cNvPr>
          <p:cNvCxnSpPr>
            <a:cxnSpLocks/>
          </p:cNvCxnSpPr>
          <p:nvPr/>
        </p:nvCxnSpPr>
        <p:spPr>
          <a:xfrm>
            <a:off x="6097783" y="1526644"/>
            <a:ext cx="192239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8EEDD615-89CA-6CC1-ACF1-DC369561B47C}"/>
              </a:ext>
            </a:extLst>
          </p:cNvPr>
          <p:cNvSpPr txBox="1"/>
          <p:nvPr/>
        </p:nvSpPr>
        <p:spPr>
          <a:xfrm>
            <a:off x="6224375" y="2376727"/>
            <a:ext cx="1747098" cy="738664"/>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30-day Mobile penetration rate</a:t>
            </a:r>
          </a:p>
          <a:p>
            <a:pPr algn="ctr"/>
            <a:r>
              <a:rPr lang="en-US" b="1">
                <a:solidFill>
                  <a:schemeClr val="tx1"/>
                </a:solidFill>
                <a:latin typeface="Century Gothic" panose="020B0502020202020204" pitchFamily="34" charset="0"/>
              </a:rPr>
              <a:t>56.6%</a:t>
            </a:r>
          </a:p>
        </p:txBody>
      </p:sp>
      <p:cxnSp>
        <p:nvCxnSpPr>
          <p:cNvPr id="8" name="Straight Connector 7">
            <a:extLst>
              <a:ext uri="{FF2B5EF4-FFF2-40B4-BE49-F238E27FC236}">
                <a16:creationId xmlns:a16="http://schemas.microsoft.com/office/drawing/2014/main" id="{E8820FFB-3CD6-6D64-659C-E7B86D9EF954}"/>
              </a:ext>
            </a:extLst>
          </p:cNvPr>
          <p:cNvCxnSpPr>
            <a:cxnSpLocks/>
          </p:cNvCxnSpPr>
          <p:nvPr/>
        </p:nvCxnSpPr>
        <p:spPr>
          <a:xfrm>
            <a:off x="6224375" y="3097901"/>
            <a:ext cx="192239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grpSp>
        <p:nvGrpSpPr>
          <p:cNvPr id="28" name="Graphic 25" descr="Address Book outline">
            <a:extLst>
              <a:ext uri="{FF2B5EF4-FFF2-40B4-BE49-F238E27FC236}">
                <a16:creationId xmlns:a16="http://schemas.microsoft.com/office/drawing/2014/main" id="{A22FEF49-88B3-7172-4C6A-1A06744969ED}"/>
              </a:ext>
            </a:extLst>
          </p:cNvPr>
          <p:cNvGrpSpPr/>
          <p:nvPr/>
        </p:nvGrpSpPr>
        <p:grpSpPr>
          <a:xfrm>
            <a:off x="6657133" y="1788806"/>
            <a:ext cx="473503" cy="556883"/>
            <a:chOff x="6598610" y="1639068"/>
            <a:chExt cx="590550" cy="723547"/>
          </a:xfrm>
          <a:solidFill>
            <a:schemeClr val="accent2">
              <a:lumMod val="40000"/>
              <a:lumOff val="60000"/>
            </a:schemeClr>
          </a:solidFill>
        </p:grpSpPr>
        <p:sp>
          <p:nvSpPr>
            <p:cNvPr id="29" name="Freeform: Shape 28">
              <a:extLst>
                <a:ext uri="{FF2B5EF4-FFF2-40B4-BE49-F238E27FC236}">
                  <a16:creationId xmlns:a16="http://schemas.microsoft.com/office/drawing/2014/main" id="{C3E81A74-82B2-37A8-1A27-420B630B158D}"/>
                </a:ext>
              </a:extLst>
            </p:cNvPr>
            <p:cNvSpPr/>
            <p:nvPr/>
          </p:nvSpPr>
          <p:spPr>
            <a:xfrm>
              <a:off x="6598610" y="1639068"/>
              <a:ext cx="590550" cy="723547"/>
            </a:xfrm>
            <a:custGeom>
              <a:avLst/>
              <a:gdLst>
                <a:gd name="connsiteX0" fmla="*/ 0 w 590550"/>
                <a:gd name="connsiteY0" fmla="*/ 47625 h 723547"/>
                <a:gd name="connsiteX1" fmla="*/ 0 w 590550"/>
                <a:gd name="connsiteY1" fmla="*/ 675923 h 723547"/>
                <a:gd name="connsiteX2" fmla="*/ 47806 w 590550"/>
                <a:gd name="connsiteY2" fmla="*/ 723548 h 723547"/>
                <a:gd name="connsiteX3" fmla="*/ 590550 w 590550"/>
                <a:gd name="connsiteY3" fmla="*/ 723548 h 723547"/>
                <a:gd name="connsiteX4" fmla="*/ 590550 w 590550"/>
                <a:gd name="connsiteY4" fmla="*/ 0 h 723547"/>
                <a:gd name="connsiteX5" fmla="*/ 47806 w 590550"/>
                <a:gd name="connsiteY5" fmla="*/ 0 h 723547"/>
                <a:gd name="connsiteX6" fmla="*/ 0 w 590550"/>
                <a:gd name="connsiteY6" fmla="*/ 47625 h 723547"/>
                <a:gd name="connsiteX7" fmla="*/ 571500 w 590550"/>
                <a:gd name="connsiteY7" fmla="*/ 704479 h 723547"/>
                <a:gd name="connsiteX8" fmla="*/ 502339 w 590550"/>
                <a:gd name="connsiteY8" fmla="*/ 704479 h 723547"/>
                <a:gd name="connsiteX9" fmla="*/ 502339 w 590550"/>
                <a:gd name="connsiteY9" fmla="*/ 19050 h 723547"/>
                <a:gd name="connsiteX10" fmla="*/ 571500 w 590550"/>
                <a:gd name="connsiteY10" fmla="*/ 19050 h 723547"/>
                <a:gd name="connsiteX11" fmla="*/ 19050 w 590550"/>
                <a:gd name="connsiteY11" fmla="*/ 47625 h 723547"/>
                <a:gd name="connsiteX12" fmla="*/ 47806 w 590550"/>
                <a:gd name="connsiteY12" fmla="*/ 19050 h 723547"/>
                <a:gd name="connsiteX13" fmla="*/ 483289 w 590550"/>
                <a:gd name="connsiteY13" fmla="*/ 19050 h 723547"/>
                <a:gd name="connsiteX14" fmla="*/ 483289 w 590550"/>
                <a:gd name="connsiteY14" fmla="*/ 704479 h 723547"/>
                <a:gd name="connsiteX15" fmla="*/ 47806 w 590550"/>
                <a:gd name="connsiteY15" fmla="*/ 704479 h 723547"/>
                <a:gd name="connsiteX16" fmla="*/ 19050 w 590550"/>
                <a:gd name="connsiteY16" fmla="*/ 675904 h 72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723547">
                  <a:moveTo>
                    <a:pt x="0" y="47625"/>
                  </a:moveTo>
                  <a:lnTo>
                    <a:pt x="0" y="675923"/>
                  </a:lnTo>
                  <a:cubicBezTo>
                    <a:pt x="73" y="702265"/>
                    <a:pt x="21464" y="723574"/>
                    <a:pt x="47806" y="723548"/>
                  </a:cubicBezTo>
                  <a:lnTo>
                    <a:pt x="590550" y="723548"/>
                  </a:lnTo>
                  <a:lnTo>
                    <a:pt x="590550" y="0"/>
                  </a:lnTo>
                  <a:lnTo>
                    <a:pt x="47806" y="0"/>
                  </a:lnTo>
                  <a:cubicBezTo>
                    <a:pt x="21463" y="-26"/>
                    <a:pt x="73" y="21283"/>
                    <a:pt x="0" y="47625"/>
                  </a:cubicBezTo>
                  <a:close/>
                  <a:moveTo>
                    <a:pt x="571500" y="704479"/>
                  </a:moveTo>
                  <a:lnTo>
                    <a:pt x="502339" y="704479"/>
                  </a:lnTo>
                  <a:lnTo>
                    <a:pt x="502339" y="19050"/>
                  </a:lnTo>
                  <a:lnTo>
                    <a:pt x="571500" y="19050"/>
                  </a:lnTo>
                  <a:close/>
                  <a:moveTo>
                    <a:pt x="19050" y="47625"/>
                  </a:moveTo>
                  <a:cubicBezTo>
                    <a:pt x="19113" y="31799"/>
                    <a:pt x="31980" y="19013"/>
                    <a:pt x="47806" y="19050"/>
                  </a:cubicBezTo>
                  <a:lnTo>
                    <a:pt x="483289" y="19050"/>
                  </a:lnTo>
                  <a:lnTo>
                    <a:pt x="483289" y="704479"/>
                  </a:lnTo>
                  <a:lnTo>
                    <a:pt x="47806" y="704479"/>
                  </a:lnTo>
                  <a:cubicBezTo>
                    <a:pt x="31980" y="704516"/>
                    <a:pt x="19113" y="691729"/>
                    <a:pt x="19050" y="675904"/>
                  </a:cubicBezTo>
                  <a:close/>
                </a:path>
              </a:pathLst>
            </a:custGeom>
            <a:grpFill/>
            <a:ln w="12700" cap="flat">
              <a:solidFill>
                <a:schemeClr val="accent4"/>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6DC1460-DB8F-5B2E-CE4E-4EDD244F2981}"/>
                </a:ext>
              </a:extLst>
            </p:cNvPr>
            <p:cNvSpPr/>
            <p:nvPr/>
          </p:nvSpPr>
          <p:spPr>
            <a:xfrm>
              <a:off x="6786101" y="1843008"/>
              <a:ext cx="146399" cy="146399"/>
            </a:xfrm>
            <a:custGeom>
              <a:avLst/>
              <a:gdLst>
                <a:gd name="connsiteX0" fmla="*/ 146398 w 146399"/>
                <a:gd name="connsiteY0" fmla="*/ 73571 h 146399"/>
                <a:gd name="connsiteX1" fmla="*/ 73571 w 146399"/>
                <a:gd name="connsiteY1" fmla="*/ 1 h 146399"/>
                <a:gd name="connsiteX2" fmla="*/ 1 w 146399"/>
                <a:gd name="connsiteY2" fmla="*/ 72828 h 146399"/>
                <a:gd name="connsiteX3" fmla="*/ 72828 w 146399"/>
                <a:gd name="connsiteY3" fmla="*/ 146398 h 146399"/>
                <a:gd name="connsiteX4" fmla="*/ 73208 w 146399"/>
                <a:gd name="connsiteY4" fmla="*/ 146399 h 146399"/>
                <a:gd name="connsiteX5" fmla="*/ 146398 w 146399"/>
                <a:gd name="connsiteY5" fmla="*/ 73705 h 146399"/>
                <a:gd name="connsiteX6" fmla="*/ 146398 w 146399"/>
                <a:gd name="connsiteY6" fmla="*/ 73571 h 146399"/>
                <a:gd name="connsiteX7" fmla="*/ 127348 w 146399"/>
                <a:gd name="connsiteY7" fmla="*/ 73571 h 146399"/>
                <a:gd name="connsiteX8" fmla="*/ 73571 w 146399"/>
                <a:gd name="connsiteY8" fmla="*/ 128091 h 146399"/>
                <a:gd name="connsiteX9" fmla="*/ 19052 w 146399"/>
                <a:gd name="connsiteY9" fmla="*/ 74314 h 146399"/>
                <a:gd name="connsiteX10" fmla="*/ 72828 w 146399"/>
                <a:gd name="connsiteY10" fmla="*/ 19794 h 146399"/>
                <a:gd name="connsiteX11" fmla="*/ 73208 w 146399"/>
                <a:gd name="connsiteY11" fmla="*/ 19793 h 146399"/>
                <a:gd name="connsiteX12" fmla="*/ 127348 w 146399"/>
                <a:gd name="connsiteY12" fmla="*/ 73571 h 14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399" h="146399">
                  <a:moveTo>
                    <a:pt x="146398" y="73571"/>
                  </a:moveTo>
                  <a:cubicBezTo>
                    <a:pt x="146603" y="33144"/>
                    <a:pt x="113998" y="206"/>
                    <a:pt x="73571" y="1"/>
                  </a:cubicBezTo>
                  <a:cubicBezTo>
                    <a:pt x="33144" y="-204"/>
                    <a:pt x="206" y="32401"/>
                    <a:pt x="1" y="72828"/>
                  </a:cubicBezTo>
                  <a:cubicBezTo>
                    <a:pt x="-204" y="113255"/>
                    <a:pt x="32401" y="146194"/>
                    <a:pt x="72828" y="146398"/>
                  </a:cubicBezTo>
                  <a:cubicBezTo>
                    <a:pt x="72955" y="146399"/>
                    <a:pt x="73082" y="146399"/>
                    <a:pt x="73208" y="146399"/>
                  </a:cubicBezTo>
                  <a:cubicBezTo>
                    <a:pt x="113493" y="146536"/>
                    <a:pt x="146261" y="113989"/>
                    <a:pt x="146398" y="73705"/>
                  </a:cubicBezTo>
                  <a:cubicBezTo>
                    <a:pt x="146398" y="73661"/>
                    <a:pt x="146398" y="73616"/>
                    <a:pt x="146398" y="73571"/>
                  </a:cubicBezTo>
                  <a:close/>
                  <a:moveTo>
                    <a:pt x="127348" y="73571"/>
                  </a:moveTo>
                  <a:cubicBezTo>
                    <a:pt x="127553" y="103477"/>
                    <a:pt x="103477" y="127886"/>
                    <a:pt x="73571" y="128091"/>
                  </a:cubicBezTo>
                  <a:cubicBezTo>
                    <a:pt x="43666" y="128296"/>
                    <a:pt x="19257" y="104220"/>
                    <a:pt x="19052" y="74314"/>
                  </a:cubicBezTo>
                  <a:cubicBezTo>
                    <a:pt x="18846" y="44408"/>
                    <a:pt x="42923" y="20000"/>
                    <a:pt x="72828" y="19794"/>
                  </a:cubicBezTo>
                  <a:cubicBezTo>
                    <a:pt x="72955" y="19793"/>
                    <a:pt x="73082" y="19793"/>
                    <a:pt x="73208" y="19793"/>
                  </a:cubicBezTo>
                  <a:cubicBezTo>
                    <a:pt x="102994" y="19729"/>
                    <a:pt x="127212" y="43785"/>
                    <a:pt x="127348" y="73571"/>
                  </a:cubicBezTo>
                  <a:close/>
                </a:path>
              </a:pathLst>
            </a:custGeom>
            <a:grpFill/>
            <a:ln w="12700" cap="flat">
              <a:solidFill>
                <a:schemeClr val="accent4"/>
              </a:solid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4A6CABB-EDB2-BEB8-4DBF-602DA944A713}"/>
                </a:ext>
              </a:extLst>
            </p:cNvPr>
            <p:cNvSpPr/>
            <p:nvPr/>
          </p:nvSpPr>
          <p:spPr>
            <a:xfrm>
              <a:off x="6712910" y="2007496"/>
              <a:ext cx="292788" cy="145656"/>
            </a:xfrm>
            <a:custGeom>
              <a:avLst/>
              <a:gdLst>
                <a:gd name="connsiteX0" fmla="*/ 0 w 292788"/>
                <a:gd name="connsiteY0" fmla="*/ 72828 h 145656"/>
                <a:gd name="connsiteX1" fmla="*/ 0 w 292788"/>
                <a:gd name="connsiteY1" fmla="*/ 145656 h 145656"/>
                <a:gd name="connsiteX2" fmla="*/ 292789 w 292788"/>
                <a:gd name="connsiteY2" fmla="*/ 145656 h 145656"/>
                <a:gd name="connsiteX3" fmla="*/ 292789 w 292788"/>
                <a:gd name="connsiteY3" fmla="*/ 72828 h 145656"/>
                <a:gd name="connsiteX4" fmla="*/ 278130 w 292788"/>
                <a:gd name="connsiteY4" fmla="*/ 43701 h 145656"/>
                <a:gd name="connsiteX5" fmla="*/ 146399 w 292788"/>
                <a:gd name="connsiteY5" fmla="*/ 0 h 145656"/>
                <a:gd name="connsiteX6" fmla="*/ 86020 w 292788"/>
                <a:gd name="connsiteY6" fmla="*/ 9144 h 145656"/>
                <a:gd name="connsiteX7" fmla="*/ 14640 w 292788"/>
                <a:gd name="connsiteY7" fmla="*/ 43701 h 145656"/>
                <a:gd name="connsiteX8" fmla="*/ 0 w 292788"/>
                <a:gd name="connsiteY8" fmla="*/ 72828 h 145656"/>
                <a:gd name="connsiteX9" fmla="*/ 19050 w 292788"/>
                <a:gd name="connsiteY9" fmla="*/ 72828 h 145656"/>
                <a:gd name="connsiteX10" fmla="*/ 26422 w 292788"/>
                <a:gd name="connsiteY10" fmla="*/ 58664 h 145656"/>
                <a:gd name="connsiteX11" fmla="*/ 91192 w 292788"/>
                <a:gd name="connsiteY11" fmla="*/ 27470 h 145656"/>
                <a:gd name="connsiteX12" fmla="*/ 146437 w 292788"/>
                <a:gd name="connsiteY12" fmla="*/ 19050 h 145656"/>
                <a:gd name="connsiteX13" fmla="*/ 201844 w 292788"/>
                <a:gd name="connsiteY13" fmla="*/ 27527 h 145656"/>
                <a:gd name="connsiteX14" fmla="*/ 266614 w 292788"/>
                <a:gd name="connsiteY14" fmla="*/ 58826 h 145656"/>
                <a:gd name="connsiteX15" fmla="*/ 273787 w 292788"/>
                <a:gd name="connsiteY15" fmla="*/ 72828 h 145656"/>
                <a:gd name="connsiteX16" fmla="*/ 273787 w 292788"/>
                <a:gd name="connsiteY16" fmla="*/ 126606 h 145656"/>
                <a:gd name="connsiteX17" fmla="*/ 19050 w 292788"/>
                <a:gd name="connsiteY17" fmla="*/ 126606 h 14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788" h="145656">
                  <a:moveTo>
                    <a:pt x="0" y="72828"/>
                  </a:moveTo>
                  <a:lnTo>
                    <a:pt x="0" y="145656"/>
                  </a:lnTo>
                  <a:lnTo>
                    <a:pt x="292789" y="145656"/>
                  </a:lnTo>
                  <a:lnTo>
                    <a:pt x="292789" y="72828"/>
                  </a:lnTo>
                  <a:cubicBezTo>
                    <a:pt x="292551" y="61404"/>
                    <a:pt x="287164" y="50699"/>
                    <a:pt x="278130" y="43701"/>
                  </a:cubicBezTo>
                  <a:cubicBezTo>
                    <a:pt x="239637" y="16172"/>
                    <a:pt x="193714" y="938"/>
                    <a:pt x="146399" y="0"/>
                  </a:cubicBezTo>
                  <a:cubicBezTo>
                    <a:pt x="125933" y="58"/>
                    <a:pt x="105587" y="3139"/>
                    <a:pt x="86020" y="9144"/>
                  </a:cubicBezTo>
                  <a:cubicBezTo>
                    <a:pt x="60155" y="15772"/>
                    <a:pt x="35883" y="27523"/>
                    <a:pt x="14640" y="43701"/>
                  </a:cubicBezTo>
                  <a:cubicBezTo>
                    <a:pt x="5600" y="50691"/>
                    <a:pt x="215" y="61403"/>
                    <a:pt x="0" y="72828"/>
                  </a:cubicBezTo>
                  <a:close/>
                  <a:moveTo>
                    <a:pt x="19050" y="72828"/>
                  </a:moveTo>
                  <a:cubicBezTo>
                    <a:pt x="19273" y="67244"/>
                    <a:pt x="21976" y="62051"/>
                    <a:pt x="26422" y="58664"/>
                  </a:cubicBezTo>
                  <a:cubicBezTo>
                    <a:pt x="45690" y="44007"/>
                    <a:pt x="67721" y="33397"/>
                    <a:pt x="91192" y="27470"/>
                  </a:cubicBezTo>
                  <a:cubicBezTo>
                    <a:pt x="109094" y="21965"/>
                    <a:pt x="127708" y="19128"/>
                    <a:pt x="146437" y="19050"/>
                  </a:cubicBezTo>
                  <a:cubicBezTo>
                    <a:pt x="165201" y="19401"/>
                    <a:pt x="183834" y="22251"/>
                    <a:pt x="201844" y="27527"/>
                  </a:cubicBezTo>
                  <a:cubicBezTo>
                    <a:pt x="225034" y="34262"/>
                    <a:pt x="246928" y="44842"/>
                    <a:pt x="266614" y="58826"/>
                  </a:cubicBezTo>
                  <a:cubicBezTo>
                    <a:pt x="270917" y="62237"/>
                    <a:pt x="273532" y="67344"/>
                    <a:pt x="273787" y="72828"/>
                  </a:cubicBezTo>
                  <a:lnTo>
                    <a:pt x="273787" y="126606"/>
                  </a:lnTo>
                  <a:lnTo>
                    <a:pt x="19050" y="126606"/>
                  </a:lnTo>
                  <a:close/>
                </a:path>
              </a:pathLst>
            </a:custGeom>
            <a:grpFill/>
            <a:ln w="12700" cap="flat">
              <a:solidFill>
                <a:schemeClr val="accent4"/>
              </a:solidFill>
              <a:prstDash val="solid"/>
              <a:miter/>
            </a:ln>
          </p:spPr>
          <p:txBody>
            <a:bodyPr rtlCol="0" anchor="ctr"/>
            <a:lstStyle/>
            <a:p>
              <a:endParaRPr lang="en-US"/>
            </a:p>
          </p:txBody>
        </p:sp>
      </p:grpSp>
      <p:sp>
        <p:nvSpPr>
          <p:cNvPr id="3" name="TextBox 2">
            <a:extLst>
              <a:ext uri="{FF2B5EF4-FFF2-40B4-BE49-F238E27FC236}">
                <a16:creationId xmlns:a16="http://schemas.microsoft.com/office/drawing/2014/main" id="{21C9C6FA-D76C-52AC-380D-47E29E2C6409}"/>
              </a:ext>
            </a:extLst>
          </p:cNvPr>
          <p:cNvSpPr txBox="1"/>
          <p:nvPr/>
        </p:nvSpPr>
        <p:spPr>
          <a:xfrm>
            <a:off x="6134202" y="3502636"/>
            <a:ext cx="1747098" cy="954107"/>
          </a:xfrm>
          <a:prstGeom prst="rect">
            <a:avLst/>
          </a:prstGeom>
          <a:noFill/>
        </p:spPr>
        <p:txBody>
          <a:bodyPr wrap="square" rtlCol="0">
            <a:spAutoFit/>
          </a:bodyPr>
          <a:lstStyle/>
          <a:p>
            <a:pPr algn="ctr"/>
            <a:r>
              <a:rPr lang="en-US" b="1">
                <a:solidFill>
                  <a:schemeClr val="tx1"/>
                </a:solidFill>
                <a:latin typeface="Century Gothic" panose="020B0502020202020204" pitchFamily="34" charset="0"/>
              </a:rPr>
              <a:t>First Quarter Real GDP growth rate 2025 </a:t>
            </a:r>
          </a:p>
          <a:p>
            <a:pPr algn="ctr"/>
            <a:r>
              <a:rPr lang="en-US" b="1">
                <a:solidFill>
                  <a:schemeClr val="tx1"/>
                </a:solidFill>
                <a:latin typeface="Century Gothic" panose="020B0502020202020204" pitchFamily="34" charset="0"/>
              </a:rPr>
              <a:t>4.9%</a:t>
            </a:r>
          </a:p>
        </p:txBody>
      </p:sp>
      <p:cxnSp>
        <p:nvCxnSpPr>
          <p:cNvPr id="7" name="Straight Connector 6">
            <a:extLst>
              <a:ext uri="{FF2B5EF4-FFF2-40B4-BE49-F238E27FC236}">
                <a16:creationId xmlns:a16="http://schemas.microsoft.com/office/drawing/2014/main" id="{23ACE158-1A41-9883-7C44-EFC9BABF479C}"/>
              </a:ext>
            </a:extLst>
          </p:cNvPr>
          <p:cNvCxnSpPr>
            <a:cxnSpLocks/>
          </p:cNvCxnSpPr>
          <p:nvPr/>
        </p:nvCxnSpPr>
        <p:spPr>
          <a:xfrm>
            <a:off x="6097783" y="4497512"/>
            <a:ext cx="1922397" cy="0"/>
          </a:xfrm>
          <a:prstGeom prst="line">
            <a:avLst/>
          </a:prstGeom>
          <a:ln w="38100">
            <a:solidFill>
              <a:schemeClr val="accent6"/>
            </a:solidFill>
          </a:ln>
        </p:spPr>
        <p:style>
          <a:lnRef idx="1">
            <a:schemeClr val="dk1"/>
          </a:lnRef>
          <a:fillRef idx="0">
            <a:schemeClr val="dk1"/>
          </a:fillRef>
          <a:effectRef idx="0">
            <a:schemeClr val="dk1"/>
          </a:effectRef>
          <a:fontRef idx="minor">
            <a:schemeClr val="tx1"/>
          </a:fontRef>
        </p:style>
      </p:cxnSp>
      <p:pic>
        <p:nvPicPr>
          <p:cNvPr id="20" name="Picture 19">
            <a:extLst>
              <a:ext uri="{FF2B5EF4-FFF2-40B4-BE49-F238E27FC236}">
                <a16:creationId xmlns:a16="http://schemas.microsoft.com/office/drawing/2014/main" id="{B36C415E-49A5-B90E-0940-E6FECE8D7B67}"/>
              </a:ext>
            </a:extLst>
          </p:cNvPr>
          <p:cNvPicPr>
            <a:picLocks noChangeAspect="1"/>
          </p:cNvPicPr>
          <p:nvPr/>
        </p:nvPicPr>
        <p:blipFill>
          <a:blip r:embed="rId5">
            <a:duotone>
              <a:schemeClr val="accent6">
                <a:shade val="45000"/>
                <a:satMod val="135000"/>
              </a:schemeClr>
              <a:prstClr val="white"/>
            </a:duotone>
          </a:blip>
          <a:stretch>
            <a:fillRect/>
          </a:stretch>
        </p:blipFill>
        <p:spPr>
          <a:xfrm>
            <a:off x="6690034" y="3238319"/>
            <a:ext cx="338532" cy="338532"/>
          </a:xfrm>
          <a:prstGeom prst="rect">
            <a:avLst/>
          </a:prstGeom>
          <a:noFill/>
        </p:spPr>
      </p:pic>
    </p:spTree>
    <p:extLst>
      <p:ext uri="{BB962C8B-B14F-4D97-AF65-F5344CB8AC3E}">
        <p14:creationId xmlns:p14="http://schemas.microsoft.com/office/powerpoint/2010/main" val="345136027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3B7A72A-1F53-0EB9-C78F-500123319131}"/>
              </a:ext>
            </a:extLst>
          </p:cNvPr>
          <p:cNvSpPr txBox="1"/>
          <p:nvPr/>
        </p:nvSpPr>
        <p:spPr>
          <a:xfrm>
            <a:off x="8532108" y="4750594"/>
            <a:ext cx="323134" cy="307777"/>
          </a:xfrm>
          <a:prstGeom prst="rect">
            <a:avLst/>
          </a:prstGeom>
          <a:solidFill>
            <a:schemeClr val="bg1">
              <a:lumMod val="95000"/>
            </a:schemeClr>
          </a:solidFill>
        </p:spPr>
        <p:txBody>
          <a:bodyPr wrap="square" rtlCol="0">
            <a:spAutoFit/>
          </a:bodyPr>
          <a:lstStyle/>
          <a:p>
            <a:endParaRPr lang="en-US" dirty="0"/>
          </a:p>
        </p:txBody>
      </p:sp>
      <p:graphicFrame>
        <p:nvGraphicFramePr>
          <p:cNvPr id="146434" name="think-cell data - do not delete" hidden="1">
            <a:extLst>
              <a:ext uri="{FF2B5EF4-FFF2-40B4-BE49-F238E27FC236}">
                <a16:creationId xmlns:a16="http://schemas.microsoft.com/office/drawing/2014/main" id="{38D7889D-F8F9-4DB8-2ADE-AFEB38F54EC2}"/>
              </a:ext>
            </a:extLst>
          </p:cNvPr>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9" imgW="360" imgH="360" progId="TCLayout.ActiveDocument.1">
                  <p:embed/>
                </p:oleObj>
              </mc:Choice>
              <mc:Fallback>
                <p:oleObj name="think-cell Slide" r:id="rId59" imgW="360" imgH="360" progId="TCLayout.ActiveDocument.1">
                  <p:embed/>
                  <p:pic>
                    <p:nvPicPr>
                      <p:cNvPr id="146434" name="think-cell data - do not delete" hidden="1">
                        <a:extLst>
                          <a:ext uri="{FF2B5EF4-FFF2-40B4-BE49-F238E27FC236}">
                            <a16:creationId xmlns:a16="http://schemas.microsoft.com/office/drawing/2014/main" id="{38D7889D-F8F9-4DB8-2ADE-AFEB38F54EC2}"/>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9" name="Rectangle 178">
            <a:extLst>
              <a:ext uri="{FF2B5EF4-FFF2-40B4-BE49-F238E27FC236}">
                <a16:creationId xmlns:a16="http://schemas.microsoft.com/office/drawing/2014/main" id="{AF4E1291-DB99-D2BD-3FD9-43F522531AA9}"/>
              </a:ext>
            </a:extLst>
          </p:cNvPr>
          <p:cNvSpPr/>
          <p:nvPr/>
        </p:nvSpPr>
        <p:spPr>
          <a:xfrm>
            <a:off x="4942285" y="1403747"/>
            <a:ext cx="2302669" cy="145137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177" name="Rectangle 176">
            <a:extLst>
              <a:ext uri="{FF2B5EF4-FFF2-40B4-BE49-F238E27FC236}">
                <a16:creationId xmlns:a16="http://schemas.microsoft.com/office/drawing/2014/main" id="{4E69A34A-5E4F-3274-F48E-A1E6B7A73E80}"/>
              </a:ext>
            </a:extLst>
          </p:cNvPr>
          <p:cNvSpPr/>
          <p:nvPr/>
        </p:nvSpPr>
        <p:spPr>
          <a:xfrm>
            <a:off x="2671763" y="1403747"/>
            <a:ext cx="2237185" cy="1451372"/>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175" name="Rectangle 174">
            <a:extLst>
              <a:ext uri="{FF2B5EF4-FFF2-40B4-BE49-F238E27FC236}">
                <a16:creationId xmlns:a16="http://schemas.microsoft.com/office/drawing/2014/main" id="{63A656F6-6ECC-2ED8-EFC1-879A0BC69A2B}"/>
              </a:ext>
            </a:extLst>
          </p:cNvPr>
          <p:cNvSpPr/>
          <p:nvPr/>
        </p:nvSpPr>
        <p:spPr>
          <a:xfrm>
            <a:off x="1330041" y="1403748"/>
            <a:ext cx="1293702" cy="145137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r="100000" b="100000"/>
            </a:path>
            <a:tileRect l="-100000" t="-100000"/>
          </a:gra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13" name="Rectangle 12">
            <a:extLst>
              <a:ext uri="{FF2B5EF4-FFF2-40B4-BE49-F238E27FC236}">
                <a16:creationId xmlns:a16="http://schemas.microsoft.com/office/drawing/2014/main" id="{23BD3E00-81DF-6130-860E-FBD4FFEF10C3}"/>
              </a:ext>
            </a:extLst>
          </p:cNvPr>
          <p:cNvSpPr/>
          <p:nvPr/>
        </p:nvSpPr>
        <p:spPr>
          <a:xfrm>
            <a:off x="7540229" y="1171575"/>
            <a:ext cx="1234678" cy="34551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146441" name="Title 3">
            <a:extLst>
              <a:ext uri="{FF2B5EF4-FFF2-40B4-BE49-F238E27FC236}">
                <a16:creationId xmlns:a16="http://schemas.microsoft.com/office/drawing/2014/main" id="{F7016ECD-DD9E-81B2-2BE5-D45437BBD2A9}"/>
              </a:ext>
            </a:extLst>
          </p:cNvPr>
          <p:cNvSpPr>
            <a:spLocks noGrp="1" noChangeArrowheads="1"/>
          </p:cNvSpPr>
          <p:nvPr>
            <p:ph type="title"/>
          </p:nvPr>
        </p:nvSpPr>
        <p:spPr>
          <a:xfrm>
            <a:off x="497923" y="577453"/>
            <a:ext cx="8610117" cy="508397"/>
          </a:xfrm>
        </p:spPr>
        <p:txBody>
          <a:bodyPr/>
          <a:lstStyle/>
          <a:p>
            <a:pPr eaLnBrk="1" hangingPunct="1"/>
            <a:r>
              <a:rPr altLang="en-US" b="1" dirty="0">
                <a:solidFill>
                  <a:schemeClr val="tx1"/>
                </a:solidFill>
                <a:latin typeface="Century Gothic" panose="020B0502020202020204" pitchFamily="34" charset="0"/>
              </a:rPr>
              <a:t>Kenya demonstrates strong adoption and penetration in digital payments, positioning it well for further expansion, yet still has significant potential to reach global benchmarks</a:t>
            </a:r>
          </a:p>
        </p:txBody>
      </p:sp>
      <p:sp>
        <p:nvSpPr>
          <p:cNvPr id="6" name="Flowchart: Document 5">
            <a:extLst>
              <a:ext uri="{FF2B5EF4-FFF2-40B4-BE49-F238E27FC236}">
                <a16:creationId xmlns:a16="http://schemas.microsoft.com/office/drawing/2014/main" id="{6187DD8E-2B86-2066-8BF9-815D5E5860E0}"/>
              </a:ext>
            </a:extLst>
          </p:cNvPr>
          <p:cNvSpPr/>
          <p:nvPr/>
        </p:nvSpPr>
        <p:spPr>
          <a:xfrm>
            <a:off x="395591" y="77145"/>
            <a:ext cx="6917330" cy="357188"/>
          </a:xfrm>
          <a:prstGeom prst="flowChartDocumen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r>
              <a:rPr lang="en-US" sz="1600" b="1" dirty="0">
                <a:latin typeface="Century Gothic" panose="020B0502020202020204" pitchFamily="34" charset="0"/>
              </a:rPr>
              <a:t>Adoption and Penetration</a:t>
            </a:r>
          </a:p>
        </p:txBody>
      </p:sp>
      <p:graphicFrame>
        <p:nvGraphicFramePr>
          <p:cNvPr id="146443" name="Chart 29">
            <a:extLst>
              <a:ext uri="{FF2B5EF4-FFF2-40B4-BE49-F238E27FC236}">
                <a16:creationId xmlns:a16="http://schemas.microsoft.com/office/drawing/2014/main" id="{775769CF-FBCB-4472-9BAB-DBDDE448007A}"/>
              </a:ext>
            </a:extLst>
          </p:cNvPr>
          <p:cNvGraphicFramePr>
            <a:graphicFrameLocks/>
          </p:cNvGraphicFramePr>
          <p:nvPr/>
        </p:nvGraphicFramePr>
        <p:xfrm>
          <a:off x="586979" y="1400175"/>
          <a:ext cx="6696075" cy="1315641"/>
        </p:xfrm>
        <a:graphic>
          <a:graphicData uri="http://schemas.openxmlformats.org/presentationml/2006/ole">
            <mc:AlternateContent xmlns:mc="http://schemas.openxmlformats.org/markup-compatibility/2006">
              <mc:Choice xmlns:v="urn:schemas-microsoft-com:vml" Requires="v">
                <p:oleObj name="Chart" r:id="rId61" imgW="8931414" imgH="1761897" progId="Excel.Chart.8">
                  <p:embed/>
                </p:oleObj>
              </mc:Choice>
              <mc:Fallback>
                <p:oleObj name="Chart" r:id="rId61" imgW="8931414" imgH="1761897" progId="Excel.Chart.8">
                  <p:embed/>
                  <p:pic>
                    <p:nvPicPr>
                      <p:cNvPr id="146443" name="Chart 29">
                        <a:extLst>
                          <a:ext uri="{FF2B5EF4-FFF2-40B4-BE49-F238E27FC236}">
                            <a16:creationId xmlns:a16="http://schemas.microsoft.com/office/drawing/2014/main" id="{775769CF-FBCB-4472-9BAB-DBDDE448007A}"/>
                          </a:ext>
                        </a:extLst>
                      </p:cNvPr>
                      <p:cNvPicPr>
                        <a:picLocks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586979" y="1400175"/>
                        <a:ext cx="6696075" cy="131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6444" name="Text Placeholder 1">
            <a:extLst>
              <a:ext uri="{FF2B5EF4-FFF2-40B4-BE49-F238E27FC236}">
                <a16:creationId xmlns:a16="http://schemas.microsoft.com/office/drawing/2014/main" id="{47A28F8D-2139-795A-05CC-AE30745F206D}"/>
              </a:ext>
            </a:extLst>
          </p:cNvPr>
          <p:cNvSpPr>
            <a:spLocks noGrp="1" noChangeArrowheads="1"/>
          </p:cNvSpPr>
          <p:nvPr>
            <p:custDataLst>
              <p:tags r:id="rId2"/>
            </p:custDataLst>
          </p:nvPr>
        </p:nvSpPr>
        <p:spPr bwMode="auto">
          <a:xfrm>
            <a:off x="1004887" y="2606279"/>
            <a:ext cx="244079"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37C6A4FA-147F-4D7D-85AD-7937257E14FF}" type="datetime'''''''''''''''''''''''''''''''''''''K''''''''e''n''''''''''ya'">
              <a:rPr lang="en-US" altLang="en-US" sz="600"/>
              <a:pPr lvl="1" algn="ctr">
                <a:spcAft>
                  <a:spcPct val="0"/>
                </a:spcAft>
                <a:buSzTx/>
                <a:buNone/>
              </a:pPr>
              <a:t>Kenya</a:t>
            </a:fld>
            <a:endParaRPr lang="en-US" altLang="en-US" sz="600">
              <a:sym typeface="+mn-lt"/>
            </a:endParaRPr>
          </a:p>
        </p:txBody>
      </p:sp>
      <p:sp>
        <p:nvSpPr>
          <p:cNvPr id="146445" name="Text Placeholder 1">
            <a:extLst>
              <a:ext uri="{FF2B5EF4-FFF2-40B4-BE49-F238E27FC236}">
                <a16:creationId xmlns:a16="http://schemas.microsoft.com/office/drawing/2014/main" id="{140DA72E-F88A-2741-F59C-9147FA5025A3}"/>
              </a:ext>
            </a:extLst>
          </p:cNvPr>
          <p:cNvSpPr>
            <a:spLocks noGrp="1" noChangeArrowheads="1"/>
          </p:cNvSpPr>
          <p:nvPr>
            <p:custDataLst>
              <p:tags r:id="rId3"/>
            </p:custDataLst>
          </p:nvPr>
        </p:nvSpPr>
        <p:spPr bwMode="auto">
          <a:xfrm>
            <a:off x="1425179" y="2606279"/>
            <a:ext cx="301228"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33D44690-D7D8-4A55-BABE-D755CB2CF17D}" type="datetime'''''''''''U''''''''''''''g''''a''''''''n''''d''''a'''''''''''">
              <a:rPr lang="en-US" altLang="en-US" sz="600"/>
              <a:pPr lvl="1" algn="ctr">
                <a:spcAft>
                  <a:spcPct val="0"/>
                </a:spcAft>
                <a:buSzTx/>
                <a:buNone/>
              </a:pPr>
              <a:t>Uganda</a:t>
            </a:fld>
            <a:endParaRPr lang="en-US" altLang="en-US" sz="600">
              <a:sym typeface="+mn-lt"/>
            </a:endParaRPr>
          </a:p>
        </p:txBody>
      </p:sp>
      <p:sp>
        <p:nvSpPr>
          <p:cNvPr id="146446" name="Text Placeholder 1">
            <a:extLst>
              <a:ext uri="{FF2B5EF4-FFF2-40B4-BE49-F238E27FC236}">
                <a16:creationId xmlns:a16="http://schemas.microsoft.com/office/drawing/2014/main" id="{847DA188-7BA7-D2E0-1279-502B37CA70DF}"/>
              </a:ext>
            </a:extLst>
          </p:cNvPr>
          <p:cNvSpPr>
            <a:spLocks noGrp="1" noChangeArrowheads="1"/>
          </p:cNvSpPr>
          <p:nvPr>
            <p:custDataLst>
              <p:tags r:id="rId4"/>
            </p:custDataLst>
          </p:nvPr>
        </p:nvSpPr>
        <p:spPr bwMode="auto">
          <a:xfrm>
            <a:off x="1849041" y="2606279"/>
            <a:ext cx="347663"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6E3B8265-F64B-4815-8E2D-017C118523A0}" type="datetime'T''a''''n''''''''''''za''''''n''''''''''i''''''a'''''">
              <a:rPr lang="en-US" altLang="en-US" sz="600"/>
              <a:pPr lvl="1" algn="ctr">
                <a:spcAft>
                  <a:spcPct val="0"/>
                </a:spcAft>
                <a:buSzTx/>
                <a:buNone/>
              </a:pPr>
              <a:t>Tanzania</a:t>
            </a:fld>
            <a:endParaRPr lang="en-US" altLang="en-US" sz="600">
              <a:sym typeface="+mn-lt"/>
            </a:endParaRPr>
          </a:p>
        </p:txBody>
      </p:sp>
      <p:sp>
        <p:nvSpPr>
          <p:cNvPr id="146447" name="Text Placeholder 1">
            <a:extLst>
              <a:ext uri="{FF2B5EF4-FFF2-40B4-BE49-F238E27FC236}">
                <a16:creationId xmlns:a16="http://schemas.microsoft.com/office/drawing/2014/main" id="{970089EE-FB28-D4B0-2857-36F192A343D9}"/>
              </a:ext>
            </a:extLst>
          </p:cNvPr>
          <p:cNvSpPr>
            <a:spLocks noGrp="1" noChangeArrowheads="1"/>
          </p:cNvSpPr>
          <p:nvPr>
            <p:custDataLst>
              <p:tags r:id="rId5"/>
            </p:custDataLst>
          </p:nvPr>
        </p:nvSpPr>
        <p:spPr bwMode="auto">
          <a:xfrm>
            <a:off x="2313385" y="2606279"/>
            <a:ext cx="317897"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90AB0DB7-180C-488A-ABD2-E7C902A1777A}" type="datetime'''R''''''''''''''''w''''''''''a''n''''d''a'''''''''''''''">
              <a:rPr lang="en-US" altLang="en-US" sz="600"/>
              <a:pPr lvl="1" algn="ctr">
                <a:spcAft>
                  <a:spcPct val="0"/>
                </a:spcAft>
                <a:buSzTx/>
                <a:buNone/>
              </a:pPr>
              <a:t>Rwanda</a:t>
            </a:fld>
            <a:endParaRPr lang="en-US" altLang="en-US" sz="600">
              <a:sym typeface="+mn-lt"/>
            </a:endParaRPr>
          </a:p>
        </p:txBody>
      </p:sp>
      <p:sp>
        <p:nvSpPr>
          <p:cNvPr id="146448" name="Text Placeholder 1">
            <a:extLst>
              <a:ext uri="{FF2B5EF4-FFF2-40B4-BE49-F238E27FC236}">
                <a16:creationId xmlns:a16="http://schemas.microsoft.com/office/drawing/2014/main" id="{04A2587C-60AB-C25A-BAE9-73761BB8A7FA}"/>
              </a:ext>
            </a:extLst>
          </p:cNvPr>
          <p:cNvSpPr>
            <a:spLocks noGrp="1" noChangeArrowheads="1"/>
          </p:cNvSpPr>
          <p:nvPr>
            <p:custDataLst>
              <p:tags r:id="rId6"/>
            </p:custDataLst>
          </p:nvPr>
        </p:nvSpPr>
        <p:spPr bwMode="auto">
          <a:xfrm>
            <a:off x="2733676" y="2606279"/>
            <a:ext cx="375047"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E25C8FC8-086C-433D-9689-12016C272BEC}" type="datetime'M''''''o''''''''rr''''''''''o''''c''''''''''c''''o'''''''''">
              <a:rPr lang="en-US" altLang="en-US" sz="600"/>
              <a:pPr lvl="1" algn="ctr">
                <a:spcAft>
                  <a:spcPct val="0"/>
                </a:spcAft>
                <a:buSzTx/>
                <a:buNone/>
              </a:pPr>
              <a:t>Morrocco</a:t>
            </a:fld>
            <a:endParaRPr lang="en-US" altLang="en-US" sz="600">
              <a:sym typeface="+mn-lt"/>
            </a:endParaRPr>
          </a:p>
        </p:txBody>
      </p:sp>
      <p:sp>
        <p:nvSpPr>
          <p:cNvPr id="146449" name="Text Placeholder 1">
            <a:extLst>
              <a:ext uri="{FF2B5EF4-FFF2-40B4-BE49-F238E27FC236}">
                <a16:creationId xmlns:a16="http://schemas.microsoft.com/office/drawing/2014/main" id="{355B1933-6B13-1DCE-C7F7-4EE51A5AACBF}"/>
              </a:ext>
            </a:extLst>
          </p:cNvPr>
          <p:cNvSpPr>
            <a:spLocks noGrp="1" noChangeArrowheads="1"/>
          </p:cNvSpPr>
          <p:nvPr>
            <p:custDataLst>
              <p:tags r:id="rId7"/>
            </p:custDataLst>
          </p:nvPr>
        </p:nvSpPr>
        <p:spPr bwMode="auto">
          <a:xfrm>
            <a:off x="3152775" y="2606279"/>
            <a:ext cx="434579"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2BDEB5F4-B940-46D4-9E3E-59FDA16947B2}" type="datetime'''Iv''''''''''''''''o''''''r''''''''''y'''' ''''''Co''''ast'''">
              <a:rPr lang="en-US" altLang="en-US" sz="600"/>
              <a:pPr lvl="1" algn="ctr">
                <a:spcAft>
                  <a:spcPct val="0"/>
                </a:spcAft>
                <a:buSzTx/>
                <a:buNone/>
              </a:pPr>
              <a:t>Ivory Coast</a:t>
            </a:fld>
            <a:endParaRPr lang="en-US" altLang="en-US" sz="600">
              <a:sym typeface="+mn-lt"/>
            </a:endParaRPr>
          </a:p>
        </p:txBody>
      </p:sp>
      <p:sp>
        <p:nvSpPr>
          <p:cNvPr id="146450" name="Text Placeholder 1">
            <a:extLst>
              <a:ext uri="{FF2B5EF4-FFF2-40B4-BE49-F238E27FC236}">
                <a16:creationId xmlns:a16="http://schemas.microsoft.com/office/drawing/2014/main" id="{890B169F-DCAD-28B5-7D08-60EBAC648106}"/>
              </a:ext>
            </a:extLst>
          </p:cNvPr>
          <p:cNvSpPr>
            <a:spLocks noGrp="1" noChangeArrowheads="1"/>
          </p:cNvSpPr>
          <p:nvPr>
            <p:custDataLst>
              <p:tags r:id="rId8"/>
            </p:custDataLst>
          </p:nvPr>
        </p:nvSpPr>
        <p:spPr bwMode="auto">
          <a:xfrm>
            <a:off x="3683794" y="2606279"/>
            <a:ext cx="269081"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1E1B10D4-2ABD-4319-B20D-EE4557E50632}" type="datetime'''''''G''''h''''''''''a''''na'''''''''''''' '''">
              <a:rPr lang="en-US" altLang="en-US" sz="600"/>
              <a:pPr lvl="1" algn="ctr">
                <a:spcAft>
                  <a:spcPct val="0"/>
                </a:spcAft>
                <a:buSzTx/>
                <a:buNone/>
              </a:pPr>
              <a:t>Ghana </a:t>
            </a:fld>
            <a:endParaRPr lang="en-US" altLang="en-US" sz="600">
              <a:sym typeface="+mn-lt"/>
            </a:endParaRPr>
          </a:p>
        </p:txBody>
      </p:sp>
      <p:sp>
        <p:nvSpPr>
          <p:cNvPr id="146451" name="Text Placeholder 1">
            <a:extLst>
              <a:ext uri="{FF2B5EF4-FFF2-40B4-BE49-F238E27FC236}">
                <a16:creationId xmlns:a16="http://schemas.microsoft.com/office/drawing/2014/main" id="{1A8A007D-108C-F486-7F02-786991D07C7F}"/>
              </a:ext>
            </a:extLst>
          </p:cNvPr>
          <p:cNvSpPr>
            <a:spLocks noGrp="1" noChangeArrowheads="1"/>
          </p:cNvSpPr>
          <p:nvPr>
            <p:custDataLst>
              <p:tags r:id="rId9"/>
            </p:custDataLst>
          </p:nvPr>
        </p:nvSpPr>
        <p:spPr bwMode="auto">
          <a:xfrm>
            <a:off x="4130279" y="2606279"/>
            <a:ext cx="272653"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BFF30774-40C7-4C19-9CA8-F22D15DFB36A}" type="datetime'Ni''''''g''''''''''''e''''''''''''''''''''r''''i''''''a'''">
              <a:rPr lang="en-US" altLang="en-US" sz="600"/>
              <a:pPr lvl="1" algn="ctr">
                <a:spcAft>
                  <a:spcPct val="0"/>
                </a:spcAft>
                <a:buSzTx/>
                <a:buNone/>
              </a:pPr>
              <a:t>Nigeria</a:t>
            </a:fld>
            <a:endParaRPr lang="en-US" altLang="en-US" sz="600">
              <a:sym typeface="+mn-lt"/>
            </a:endParaRPr>
          </a:p>
        </p:txBody>
      </p:sp>
      <p:sp>
        <p:nvSpPr>
          <p:cNvPr id="146452" name="Text Placeholder 1">
            <a:extLst>
              <a:ext uri="{FF2B5EF4-FFF2-40B4-BE49-F238E27FC236}">
                <a16:creationId xmlns:a16="http://schemas.microsoft.com/office/drawing/2014/main" id="{B5807EF6-C9CD-0973-A1C2-36636648672D}"/>
              </a:ext>
            </a:extLst>
          </p:cNvPr>
          <p:cNvSpPr>
            <a:spLocks noGrp="1" noChangeArrowheads="1"/>
          </p:cNvSpPr>
          <p:nvPr>
            <p:custDataLst>
              <p:tags r:id="rId10"/>
            </p:custDataLst>
          </p:nvPr>
        </p:nvSpPr>
        <p:spPr bwMode="auto">
          <a:xfrm>
            <a:off x="4597004" y="2606279"/>
            <a:ext cx="235744" cy="183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CA37F044-6778-4605-83CF-128EC4D90442}" type="datetime'''''''''S''''''''''ou''''''''t''''h'' ''A''''f''''''ric''a'">
              <a:rPr lang="en-US" altLang="en-US" sz="600"/>
              <a:pPr lvl="1" algn="ctr">
                <a:spcAft>
                  <a:spcPct val="0"/>
                </a:spcAft>
                <a:buSzTx/>
                <a:buNone/>
              </a:pPr>
              <a:t>South Africa</a:t>
            </a:fld>
            <a:endParaRPr lang="en-US" altLang="en-US" sz="600">
              <a:sym typeface="+mn-lt"/>
            </a:endParaRPr>
          </a:p>
        </p:txBody>
      </p:sp>
      <p:sp>
        <p:nvSpPr>
          <p:cNvPr id="146453" name="Text Placeholder 1">
            <a:extLst>
              <a:ext uri="{FF2B5EF4-FFF2-40B4-BE49-F238E27FC236}">
                <a16:creationId xmlns:a16="http://schemas.microsoft.com/office/drawing/2014/main" id="{538F4AA1-6F85-C416-44C9-23835110C205}"/>
              </a:ext>
            </a:extLst>
          </p:cNvPr>
          <p:cNvSpPr>
            <a:spLocks noGrp="1" noChangeArrowheads="1"/>
          </p:cNvSpPr>
          <p:nvPr>
            <p:custDataLst>
              <p:tags r:id="rId11"/>
            </p:custDataLst>
          </p:nvPr>
        </p:nvSpPr>
        <p:spPr bwMode="auto">
          <a:xfrm>
            <a:off x="5004197" y="2606279"/>
            <a:ext cx="319088"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3D484D2E-FD30-4F6E-A0A4-15B32E136A2D}" type="datetime'''''S''''w''''''e''''''''''''''''d''''''''''''en'''''''''''''">
              <a:rPr lang="en-US" altLang="en-US" sz="600"/>
              <a:pPr lvl="1" algn="ctr">
                <a:spcAft>
                  <a:spcPct val="0"/>
                </a:spcAft>
                <a:buSzTx/>
                <a:buNone/>
              </a:pPr>
              <a:t>Sweden</a:t>
            </a:fld>
            <a:endParaRPr lang="en-US" altLang="en-US" sz="600">
              <a:sym typeface="+mn-lt"/>
            </a:endParaRPr>
          </a:p>
        </p:txBody>
      </p:sp>
      <p:sp>
        <p:nvSpPr>
          <p:cNvPr id="146454" name="Text Placeholder 1">
            <a:extLst>
              <a:ext uri="{FF2B5EF4-FFF2-40B4-BE49-F238E27FC236}">
                <a16:creationId xmlns:a16="http://schemas.microsoft.com/office/drawing/2014/main" id="{91EE37F4-96DD-9B97-5AD6-C4B95EC2AC6C}"/>
              </a:ext>
            </a:extLst>
          </p:cNvPr>
          <p:cNvSpPr>
            <a:spLocks noGrp="1" noChangeArrowheads="1"/>
          </p:cNvSpPr>
          <p:nvPr>
            <p:custDataLst>
              <p:tags r:id="rId12"/>
            </p:custDataLst>
          </p:nvPr>
        </p:nvSpPr>
        <p:spPr bwMode="auto">
          <a:xfrm>
            <a:off x="5516167" y="2606279"/>
            <a:ext cx="192881"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D108BE6A-1ED4-4FD5-8AD1-AA9118C0F329}" type="datetime'''''''In''''''''''''''''''''''''''''''''''d''''''i''''''''a'''">
              <a:rPr lang="en-US" altLang="en-US" sz="600"/>
              <a:pPr lvl="1" algn="ctr">
                <a:spcAft>
                  <a:spcPct val="0"/>
                </a:spcAft>
                <a:buSzTx/>
                <a:buNone/>
              </a:pPr>
              <a:t>India</a:t>
            </a:fld>
            <a:endParaRPr lang="en-US" altLang="en-US" sz="600">
              <a:sym typeface="+mn-lt"/>
            </a:endParaRPr>
          </a:p>
        </p:txBody>
      </p:sp>
      <p:sp>
        <p:nvSpPr>
          <p:cNvPr id="146455" name="Text Placeholder 1">
            <a:extLst>
              <a:ext uri="{FF2B5EF4-FFF2-40B4-BE49-F238E27FC236}">
                <a16:creationId xmlns:a16="http://schemas.microsoft.com/office/drawing/2014/main" id="{AA100518-42EB-0CA3-2B7D-348184FC02F5}"/>
              </a:ext>
            </a:extLst>
          </p:cNvPr>
          <p:cNvSpPr>
            <a:spLocks noGrp="1" noChangeArrowheads="1"/>
          </p:cNvSpPr>
          <p:nvPr>
            <p:custDataLst>
              <p:tags r:id="rId13"/>
            </p:custDataLst>
          </p:nvPr>
        </p:nvSpPr>
        <p:spPr bwMode="auto">
          <a:xfrm>
            <a:off x="5942410" y="2606279"/>
            <a:ext cx="235744" cy="183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0FC273FE-5710-4D8E-8A69-D06CC1474EB3}" type="datetime'''So''ut''h'''''''''''' Ko''''re''''''''''''''''''''''a'''">
              <a:rPr lang="en-US" altLang="en-US" sz="600"/>
              <a:pPr lvl="1" algn="ctr">
                <a:spcAft>
                  <a:spcPct val="0"/>
                </a:spcAft>
                <a:buSzTx/>
                <a:buNone/>
              </a:pPr>
              <a:t>South Korea</a:t>
            </a:fld>
            <a:endParaRPr lang="en-US" altLang="en-US" sz="600">
              <a:sym typeface="+mn-lt"/>
            </a:endParaRPr>
          </a:p>
        </p:txBody>
      </p:sp>
      <p:sp>
        <p:nvSpPr>
          <p:cNvPr id="146456" name="Text Placeholder 1">
            <a:extLst>
              <a:ext uri="{FF2B5EF4-FFF2-40B4-BE49-F238E27FC236}">
                <a16:creationId xmlns:a16="http://schemas.microsoft.com/office/drawing/2014/main" id="{E1317609-E4EC-78A7-D0F9-0439C49ABFF0}"/>
              </a:ext>
            </a:extLst>
          </p:cNvPr>
          <p:cNvSpPr>
            <a:spLocks noGrp="1" noChangeArrowheads="1"/>
          </p:cNvSpPr>
          <p:nvPr>
            <p:custDataLst>
              <p:tags r:id="rId14"/>
            </p:custDataLst>
          </p:nvPr>
        </p:nvSpPr>
        <p:spPr bwMode="auto">
          <a:xfrm>
            <a:off x="6313885" y="2606279"/>
            <a:ext cx="390525"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2473EF9D-8DF1-45BD-A68C-76861A733505}" type="datetime'''''S''i''''''ng''''''''''a''po''''''''''''''''re'''''">
              <a:rPr lang="en-US" altLang="en-US" sz="600"/>
              <a:pPr lvl="1" algn="ctr">
                <a:spcAft>
                  <a:spcPct val="0"/>
                </a:spcAft>
                <a:buSzTx/>
                <a:buNone/>
              </a:pPr>
              <a:t>Singapore</a:t>
            </a:fld>
            <a:endParaRPr lang="en-US" altLang="en-US" sz="600">
              <a:sym typeface="+mn-lt"/>
            </a:endParaRPr>
          </a:p>
        </p:txBody>
      </p:sp>
      <p:sp>
        <p:nvSpPr>
          <p:cNvPr id="146457" name="Text Placeholder 1">
            <a:extLst>
              <a:ext uri="{FF2B5EF4-FFF2-40B4-BE49-F238E27FC236}">
                <a16:creationId xmlns:a16="http://schemas.microsoft.com/office/drawing/2014/main" id="{736A75AD-BE8D-D088-8EEC-0E08ABAAA932}"/>
              </a:ext>
            </a:extLst>
          </p:cNvPr>
          <p:cNvSpPr>
            <a:spLocks noGrp="1" noChangeArrowheads="1"/>
          </p:cNvSpPr>
          <p:nvPr>
            <p:custDataLst>
              <p:tags r:id="rId15"/>
            </p:custDataLst>
          </p:nvPr>
        </p:nvSpPr>
        <p:spPr bwMode="auto">
          <a:xfrm>
            <a:off x="6846094" y="2606279"/>
            <a:ext cx="225029" cy="91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B032DBFD-7949-4F09-A18B-A10EBC7890E3}" type="datetime'''''''''''''''C''''''''''''h''''''''''''i''''n''''a'''''''''">
              <a:rPr lang="en-US" altLang="en-US" sz="600"/>
              <a:pPr lvl="1" algn="ctr">
                <a:spcAft>
                  <a:spcPct val="0"/>
                </a:spcAft>
                <a:buSzTx/>
                <a:buNone/>
              </a:pPr>
              <a:t>China</a:t>
            </a:fld>
            <a:endParaRPr lang="en-US" altLang="en-US" sz="600">
              <a:sym typeface="+mn-lt"/>
            </a:endParaRPr>
          </a:p>
        </p:txBody>
      </p:sp>
      <p:sp>
        <p:nvSpPr>
          <p:cNvPr id="363" name="Text Placeholder 1">
            <a:extLst>
              <a:ext uri="{FF2B5EF4-FFF2-40B4-BE49-F238E27FC236}">
                <a16:creationId xmlns:a16="http://schemas.microsoft.com/office/drawing/2014/main" id="{FD3B3C13-0BE0-8D0A-BCB1-279E012BAF6A}"/>
              </a:ext>
            </a:extLst>
          </p:cNvPr>
          <p:cNvSpPr>
            <a:spLocks noGrp="1"/>
          </p:cNvSpPr>
          <p:nvPr>
            <p:custDataLst>
              <p:tags r:id="rId16"/>
            </p:custDataLst>
          </p:nvPr>
        </p:nvSpPr>
        <p:spPr bwMode="gray">
          <a:xfrm>
            <a:off x="1035844" y="1800225"/>
            <a:ext cx="182166"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67B2D4DD-7842-47F7-8D50-4B3CB7161CD7}" type="datetime'''''''6''''4''''''''''''''''%'''''''''''''''''''''''''''">
              <a:rPr lang="en-US" altLang="en-US" sz="600">
                <a:latin typeface="+mn-lt"/>
              </a:rPr>
              <a:pPr algn="ctr" fontAlgn="auto">
                <a:spcBef>
                  <a:spcPct val="0"/>
                </a:spcBef>
                <a:spcAft>
                  <a:spcPct val="0"/>
                </a:spcAft>
                <a:defRPr/>
              </a:pPr>
              <a:t>64%</a:t>
            </a:fld>
            <a:endParaRPr lang="en-US" sz="600" dirty="0">
              <a:latin typeface="+mn-lt"/>
              <a:sym typeface="+mn-lt"/>
            </a:endParaRPr>
          </a:p>
        </p:txBody>
      </p:sp>
      <p:sp>
        <p:nvSpPr>
          <p:cNvPr id="336" name="Text Placeholder 1">
            <a:extLst>
              <a:ext uri="{FF2B5EF4-FFF2-40B4-BE49-F238E27FC236}">
                <a16:creationId xmlns:a16="http://schemas.microsoft.com/office/drawing/2014/main" id="{F59A8335-4374-8FFA-1106-F33BE3176D7A}"/>
              </a:ext>
            </a:extLst>
          </p:cNvPr>
          <p:cNvSpPr>
            <a:spLocks noGrp="1"/>
          </p:cNvSpPr>
          <p:nvPr>
            <p:custDataLst>
              <p:tags r:id="rId17"/>
            </p:custDataLst>
          </p:nvPr>
        </p:nvSpPr>
        <p:spPr bwMode="gray">
          <a:xfrm>
            <a:off x="1482328" y="1946673"/>
            <a:ext cx="185738"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FDDEA725-A244-46D7-933B-80718B7BE4E1}" type="datetime'5''''''''''''''''''''''''''''''''''''''0''%'''''''''''''''''''">
              <a:rPr lang="en-US" altLang="en-US" sz="600">
                <a:latin typeface="+mn-lt"/>
              </a:rPr>
              <a:pPr algn="ctr" fontAlgn="auto">
                <a:spcBef>
                  <a:spcPct val="0"/>
                </a:spcBef>
                <a:spcAft>
                  <a:spcPct val="0"/>
                </a:spcAft>
                <a:defRPr/>
              </a:pPr>
              <a:t>50%</a:t>
            </a:fld>
            <a:endParaRPr lang="en-US" sz="600" dirty="0">
              <a:latin typeface="+mn-lt"/>
              <a:sym typeface="+mn-lt"/>
            </a:endParaRPr>
          </a:p>
        </p:txBody>
      </p:sp>
      <p:sp>
        <p:nvSpPr>
          <p:cNvPr id="413" name="Text Placeholder 1">
            <a:extLst>
              <a:ext uri="{FF2B5EF4-FFF2-40B4-BE49-F238E27FC236}">
                <a16:creationId xmlns:a16="http://schemas.microsoft.com/office/drawing/2014/main" id="{C46361E4-FF9E-58AC-EDCD-6068C76F475F}"/>
              </a:ext>
            </a:extLst>
          </p:cNvPr>
          <p:cNvSpPr>
            <a:spLocks noGrp="1"/>
          </p:cNvSpPr>
          <p:nvPr>
            <p:custDataLst>
              <p:tags r:id="rId18"/>
            </p:custDataLst>
          </p:nvPr>
        </p:nvSpPr>
        <p:spPr bwMode="gray">
          <a:xfrm>
            <a:off x="1935957" y="1925241"/>
            <a:ext cx="175022"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4E5AFD9A-3819-4D08-BEF3-CBCD8897D6FF}" type="datetime'''''''5''''''''''''''''2''''''''''%'''''''''''''''''''''''''''">
              <a:rPr lang="en-US" altLang="en-US" sz="600">
                <a:latin typeface="+mn-lt"/>
              </a:rPr>
              <a:pPr algn="ctr" fontAlgn="auto">
                <a:spcBef>
                  <a:spcPct val="0"/>
                </a:spcBef>
                <a:spcAft>
                  <a:spcPct val="0"/>
                </a:spcAft>
                <a:defRPr/>
              </a:pPr>
              <a:t>52%</a:t>
            </a:fld>
            <a:endParaRPr lang="en-US" sz="600" dirty="0">
              <a:latin typeface="+mn-lt"/>
              <a:sym typeface="+mn-lt"/>
            </a:endParaRPr>
          </a:p>
        </p:txBody>
      </p:sp>
      <p:sp>
        <p:nvSpPr>
          <p:cNvPr id="395" name="Text Placeholder 1">
            <a:extLst>
              <a:ext uri="{FF2B5EF4-FFF2-40B4-BE49-F238E27FC236}">
                <a16:creationId xmlns:a16="http://schemas.microsoft.com/office/drawing/2014/main" id="{1853344C-9B9C-1C4C-F023-A0A5820E9CDE}"/>
              </a:ext>
            </a:extLst>
          </p:cNvPr>
          <p:cNvSpPr>
            <a:spLocks noGrp="1"/>
          </p:cNvSpPr>
          <p:nvPr>
            <p:custDataLst>
              <p:tags r:id="rId19"/>
            </p:custDataLst>
          </p:nvPr>
        </p:nvSpPr>
        <p:spPr bwMode="gray">
          <a:xfrm>
            <a:off x="2383631" y="1684735"/>
            <a:ext cx="177404"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E9386427-FD85-40B8-8180-76A32C1AFBB0}" type="datetime'''''''''''''7''''''5''''''''''%'''''''''">
              <a:rPr lang="en-US" altLang="en-US" sz="600">
                <a:latin typeface="+mn-lt"/>
              </a:rPr>
              <a:pPr algn="ctr" fontAlgn="auto">
                <a:spcBef>
                  <a:spcPct val="0"/>
                </a:spcBef>
                <a:spcAft>
                  <a:spcPct val="0"/>
                </a:spcAft>
                <a:defRPr/>
              </a:pPr>
              <a:t>75%</a:t>
            </a:fld>
            <a:endParaRPr lang="en-US" sz="600" dirty="0">
              <a:latin typeface="+mn-lt"/>
              <a:sym typeface="+mn-lt"/>
            </a:endParaRPr>
          </a:p>
        </p:txBody>
      </p:sp>
      <p:sp>
        <p:nvSpPr>
          <p:cNvPr id="420" name="Text Placeholder 1">
            <a:extLst>
              <a:ext uri="{FF2B5EF4-FFF2-40B4-BE49-F238E27FC236}">
                <a16:creationId xmlns:a16="http://schemas.microsoft.com/office/drawing/2014/main" id="{CB0AA542-CB06-BB72-5C25-F64E7E7BE110}"/>
              </a:ext>
            </a:extLst>
          </p:cNvPr>
          <p:cNvSpPr>
            <a:spLocks noGrp="1"/>
          </p:cNvSpPr>
          <p:nvPr>
            <p:custDataLst>
              <p:tags r:id="rId20"/>
            </p:custDataLst>
          </p:nvPr>
        </p:nvSpPr>
        <p:spPr bwMode="gray">
          <a:xfrm>
            <a:off x="2831307" y="1905000"/>
            <a:ext cx="179785"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80209BB0-D562-4722-AA50-5BEF07A0F3B7}" type="datetime'''''''''''''''''''''''''''''''''''''5''''4''''''''''%'''''''''">
              <a:rPr lang="en-US" altLang="en-US" sz="600">
                <a:latin typeface="+mn-lt"/>
              </a:rPr>
              <a:pPr algn="ctr" fontAlgn="auto">
                <a:spcBef>
                  <a:spcPct val="0"/>
                </a:spcBef>
                <a:spcAft>
                  <a:spcPct val="0"/>
                </a:spcAft>
                <a:defRPr/>
              </a:pPr>
              <a:t>54%</a:t>
            </a:fld>
            <a:endParaRPr lang="en-US" sz="600" dirty="0">
              <a:latin typeface="+mn-lt"/>
              <a:sym typeface="+mn-lt"/>
            </a:endParaRPr>
          </a:p>
        </p:txBody>
      </p:sp>
      <p:sp>
        <p:nvSpPr>
          <p:cNvPr id="427" name="Text Placeholder 1">
            <a:extLst>
              <a:ext uri="{FF2B5EF4-FFF2-40B4-BE49-F238E27FC236}">
                <a16:creationId xmlns:a16="http://schemas.microsoft.com/office/drawing/2014/main" id="{88C63685-10C9-EC6F-CAB4-C305A94D363E}"/>
              </a:ext>
            </a:extLst>
          </p:cNvPr>
          <p:cNvSpPr>
            <a:spLocks noGrp="1"/>
          </p:cNvSpPr>
          <p:nvPr>
            <p:custDataLst>
              <p:tags r:id="rId21"/>
            </p:custDataLst>
          </p:nvPr>
        </p:nvSpPr>
        <p:spPr bwMode="gray">
          <a:xfrm>
            <a:off x="3282553" y="1925241"/>
            <a:ext cx="175022"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8CD701AD-BA2A-4EE6-A219-F280312063EE}" type="datetime'5''''''''''''''''''''''''2''''''''''''''''''''%'''''''''''''''">
              <a:rPr lang="en-US" altLang="en-US" sz="600">
                <a:latin typeface="+mn-lt"/>
              </a:rPr>
              <a:pPr algn="ctr" fontAlgn="auto">
                <a:spcBef>
                  <a:spcPct val="0"/>
                </a:spcBef>
                <a:spcAft>
                  <a:spcPct val="0"/>
                </a:spcAft>
                <a:defRPr/>
              </a:pPr>
              <a:t>52%</a:t>
            </a:fld>
            <a:endParaRPr lang="en-US" sz="600" dirty="0">
              <a:latin typeface="+mn-lt"/>
              <a:sym typeface="+mn-lt"/>
            </a:endParaRPr>
          </a:p>
        </p:txBody>
      </p:sp>
      <p:sp>
        <p:nvSpPr>
          <p:cNvPr id="434" name="Text Placeholder 1">
            <a:extLst>
              <a:ext uri="{FF2B5EF4-FFF2-40B4-BE49-F238E27FC236}">
                <a16:creationId xmlns:a16="http://schemas.microsoft.com/office/drawing/2014/main" id="{E739A510-7271-71FD-5FBA-EE629309F9FE}"/>
              </a:ext>
            </a:extLst>
          </p:cNvPr>
          <p:cNvSpPr>
            <a:spLocks noGrp="1"/>
          </p:cNvSpPr>
          <p:nvPr>
            <p:custDataLst>
              <p:tags r:id="rId22"/>
            </p:custDataLst>
          </p:nvPr>
        </p:nvSpPr>
        <p:spPr bwMode="gray">
          <a:xfrm>
            <a:off x="3731419" y="1614488"/>
            <a:ext cx="173831" cy="183356"/>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br>
              <a:rPr lang="en-US" altLang="en-US" sz="600" dirty="0">
                <a:latin typeface="+mn-lt"/>
                <a:sym typeface="+mn-lt"/>
              </a:rPr>
            </a:br>
            <a:fld id="{FCFB8328-1A2E-4412-8E11-7D665F6CCB5D}" type="datetime'''''''''''''''''7''''''''''''''''''''''''''3%'">
              <a:rPr lang="en-US" altLang="en-US" sz="600">
                <a:latin typeface="+mn-lt"/>
              </a:rPr>
              <a:pPr algn="ctr" fontAlgn="auto">
                <a:spcBef>
                  <a:spcPct val="0"/>
                </a:spcBef>
                <a:spcAft>
                  <a:spcPct val="0"/>
                </a:spcAft>
                <a:defRPr/>
              </a:pPr>
              <a:t>73%</a:t>
            </a:fld>
            <a:endParaRPr lang="en-US" sz="600" dirty="0">
              <a:latin typeface="+mn-lt"/>
              <a:sym typeface="+mn-lt"/>
            </a:endParaRPr>
          </a:p>
        </p:txBody>
      </p:sp>
      <p:sp>
        <p:nvSpPr>
          <p:cNvPr id="449" name="Text Placeholder 1">
            <a:extLst>
              <a:ext uri="{FF2B5EF4-FFF2-40B4-BE49-F238E27FC236}">
                <a16:creationId xmlns:a16="http://schemas.microsoft.com/office/drawing/2014/main" id="{59982C74-B577-A636-2489-4BBC5BCB8D0E}"/>
              </a:ext>
            </a:extLst>
          </p:cNvPr>
          <p:cNvSpPr>
            <a:spLocks noGrp="1"/>
          </p:cNvSpPr>
          <p:nvPr>
            <p:custDataLst>
              <p:tags r:id="rId23"/>
            </p:custDataLst>
          </p:nvPr>
        </p:nvSpPr>
        <p:spPr bwMode="gray">
          <a:xfrm>
            <a:off x="4186238" y="2282429"/>
            <a:ext cx="159544"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AE635C6D-928C-4E38-97C6-F29637B8618F}" type="datetime'''''''''''''''''1''''''''''''''''''''''''''''''8''''%'''''''''">
              <a:rPr lang="en-US" altLang="en-US" sz="600">
                <a:latin typeface="+mn-lt"/>
              </a:rPr>
              <a:pPr algn="ctr" fontAlgn="auto">
                <a:spcBef>
                  <a:spcPct val="0"/>
                </a:spcBef>
                <a:spcAft>
                  <a:spcPct val="0"/>
                </a:spcAft>
                <a:defRPr/>
              </a:pPr>
              <a:t>18%</a:t>
            </a:fld>
            <a:endParaRPr lang="en-US" sz="600" dirty="0">
              <a:latin typeface="+mn-lt"/>
              <a:sym typeface="+mn-lt"/>
            </a:endParaRPr>
          </a:p>
        </p:txBody>
      </p:sp>
      <p:sp>
        <p:nvSpPr>
          <p:cNvPr id="454" name="Text Placeholder 1">
            <a:extLst>
              <a:ext uri="{FF2B5EF4-FFF2-40B4-BE49-F238E27FC236}">
                <a16:creationId xmlns:a16="http://schemas.microsoft.com/office/drawing/2014/main" id="{A14BE260-E3A2-06D6-3DAF-B34AC92C5ECC}"/>
              </a:ext>
            </a:extLst>
          </p:cNvPr>
          <p:cNvSpPr>
            <a:spLocks noGrp="1"/>
          </p:cNvSpPr>
          <p:nvPr>
            <p:custDataLst>
              <p:tags r:id="rId24"/>
            </p:custDataLst>
          </p:nvPr>
        </p:nvSpPr>
        <p:spPr bwMode="gray">
          <a:xfrm>
            <a:off x="4627960" y="1610916"/>
            <a:ext cx="175022"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99513C52-ECFD-4709-BC14-2DEB260CDD8F}" type="datetime'''''''''''''''8''2%'''''''''''''''''">
              <a:rPr lang="en-US" altLang="en-US" sz="600">
                <a:latin typeface="+mn-lt"/>
              </a:rPr>
              <a:pPr algn="ctr" fontAlgn="auto">
                <a:spcBef>
                  <a:spcPct val="0"/>
                </a:spcBef>
                <a:spcAft>
                  <a:spcPct val="0"/>
                </a:spcAft>
                <a:defRPr/>
              </a:pPr>
              <a:t>82%</a:t>
            </a:fld>
            <a:endParaRPr lang="en-US" sz="600" dirty="0">
              <a:latin typeface="+mn-lt"/>
              <a:sym typeface="+mn-lt"/>
            </a:endParaRPr>
          </a:p>
        </p:txBody>
      </p:sp>
      <p:sp>
        <p:nvSpPr>
          <p:cNvPr id="459" name="Text Placeholder 1">
            <a:extLst>
              <a:ext uri="{FF2B5EF4-FFF2-40B4-BE49-F238E27FC236}">
                <a16:creationId xmlns:a16="http://schemas.microsoft.com/office/drawing/2014/main" id="{94BA8BF0-2699-5943-228A-8C48C8ACD337}"/>
              </a:ext>
            </a:extLst>
          </p:cNvPr>
          <p:cNvSpPr>
            <a:spLocks noGrp="1"/>
          </p:cNvSpPr>
          <p:nvPr>
            <p:custDataLst>
              <p:tags r:id="rId25"/>
            </p:custDataLst>
          </p:nvPr>
        </p:nvSpPr>
        <p:spPr bwMode="gray">
          <a:xfrm>
            <a:off x="5070872" y="1464469"/>
            <a:ext cx="185738"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43AE2F6C-C312-4CDD-AB86-C59FD32DBF1F}" type="datetime'9''''6''''''''%'''''''''''">
              <a:rPr lang="en-US" altLang="en-US" sz="600">
                <a:latin typeface="+mn-lt"/>
              </a:rPr>
              <a:pPr algn="ctr" fontAlgn="auto">
                <a:spcBef>
                  <a:spcPct val="0"/>
                </a:spcBef>
                <a:spcAft>
                  <a:spcPct val="0"/>
                </a:spcAft>
                <a:defRPr/>
              </a:pPr>
              <a:t>96%</a:t>
            </a:fld>
            <a:endParaRPr lang="en-US" sz="600" dirty="0">
              <a:latin typeface="+mn-lt"/>
              <a:sym typeface="+mn-lt"/>
            </a:endParaRPr>
          </a:p>
        </p:txBody>
      </p:sp>
      <p:sp>
        <p:nvSpPr>
          <p:cNvPr id="470" name="Text Placeholder 1">
            <a:extLst>
              <a:ext uri="{FF2B5EF4-FFF2-40B4-BE49-F238E27FC236}">
                <a16:creationId xmlns:a16="http://schemas.microsoft.com/office/drawing/2014/main" id="{53DFFC09-A676-25CC-B58B-98567E4064A2}"/>
              </a:ext>
            </a:extLst>
          </p:cNvPr>
          <p:cNvSpPr>
            <a:spLocks noGrp="1"/>
          </p:cNvSpPr>
          <p:nvPr>
            <p:custDataLst>
              <p:tags r:id="rId26"/>
            </p:custDataLst>
          </p:nvPr>
        </p:nvSpPr>
        <p:spPr bwMode="gray">
          <a:xfrm>
            <a:off x="5532835" y="2282429"/>
            <a:ext cx="159544"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5669083D-BB51-4E4C-A12F-898080587E33}" type="datetime'''''''1''''''''''''8''''''''''''''''''''%'''''''">
              <a:rPr lang="en-US" altLang="en-US" sz="600">
                <a:latin typeface="+mn-lt"/>
              </a:rPr>
              <a:pPr algn="ctr" fontAlgn="auto">
                <a:spcBef>
                  <a:spcPct val="0"/>
                </a:spcBef>
                <a:spcAft>
                  <a:spcPct val="0"/>
                </a:spcAft>
                <a:defRPr/>
              </a:pPr>
              <a:t>18%</a:t>
            </a:fld>
            <a:endParaRPr lang="en-US" sz="600" dirty="0">
              <a:latin typeface="+mn-lt"/>
              <a:sym typeface="+mn-lt"/>
            </a:endParaRPr>
          </a:p>
        </p:txBody>
      </p:sp>
      <p:sp>
        <p:nvSpPr>
          <p:cNvPr id="477" name="Text Placeholder 1">
            <a:extLst>
              <a:ext uri="{FF2B5EF4-FFF2-40B4-BE49-F238E27FC236}">
                <a16:creationId xmlns:a16="http://schemas.microsoft.com/office/drawing/2014/main" id="{86DDA533-E6BC-B28B-9C64-EC3615ACE21B}"/>
              </a:ext>
            </a:extLst>
          </p:cNvPr>
          <p:cNvSpPr>
            <a:spLocks noGrp="1"/>
          </p:cNvSpPr>
          <p:nvPr>
            <p:custDataLst>
              <p:tags r:id="rId27"/>
            </p:custDataLst>
          </p:nvPr>
        </p:nvSpPr>
        <p:spPr bwMode="gray">
          <a:xfrm>
            <a:off x="5973367" y="1663304"/>
            <a:ext cx="173831"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9C80CF2C-260D-404E-B217-26623EC880A8}" type="datetime'7''''7%'''''''''''''''''''''''''''''">
              <a:rPr lang="en-US" altLang="en-US" sz="600">
                <a:latin typeface="+mn-lt"/>
              </a:rPr>
              <a:pPr algn="ctr" fontAlgn="auto">
                <a:spcBef>
                  <a:spcPct val="0"/>
                </a:spcBef>
                <a:spcAft>
                  <a:spcPct val="0"/>
                </a:spcAft>
                <a:defRPr/>
              </a:pPr>
              <a:t>77%</a:t>
            </a:fld>
            <a:endParaRPr lang="en-US" sz="600" dirty="0">
              <a:latin typeface="+mn-lt"/>
              <a:sym typeface="+mn-lt"/>
            </a:endParaRPr>
          </a:p>
        </p:txBody>
      </p:sp>
      <p:sp>
        <p:nvSpPr>
          <p:cNvPr id="484" name="Text Placeholder 1">
            <a:extLst>
              <a:ext uri="{FF2B5EF4-FFF2-40B4-BE49-F238E27FC236}">
                <a16:creationId xmlns:a16="http://schemas.microsoft.com/office/drawing/2014/main" id="{FEA9A7E8-8C0A-1D76-C20F-69B8DBB473EA}"/>
              </a:ext>
            </a:extLst>
          </p:cNvPr>
          <p:cNvSpPr>
            <a:spLocks noGrp="1"/>
          </p:cNvSpPr>
          <p:nvPr>
            <p:custDataLst>
              <p:tags r:id="rId28"/>
            </p:custDataLst>
          </p:nvPr>
        </p:nvSpPr>
        <p:spPr bwMode="gray">
          <a:xfrm>
            <a:off x="6417469" y="1538287"/>
            <a:ext cx="183356"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39FB388A-70AC-409F-8AEF-959279506957}" type="datetime'''''''''''''''''''''''''''''''''8''''9''''''%'">
              <a:rPr lang="en-US" altLang="en-US" sz="600">
                <a:latin typeface="+mn-lt"/>
              </a:rPr>
              <a:pPr algn="ctr" fontAlgn="auto">
                <a:spcBef>
                  <a:spcPct val="0"/>
                </a:spcBef>
                <a:spcAft>
                  <a:spcPct val="0"/>
                </a:spcAft>
                <a:defRPr/>
              </a:pPr>
              <a:t>89%</a:t>
            </a:fld>
            <a:endParaRPr lang="en-US" sz="600" dirty="0">
              <a:latin typeface="+mn-lt"/>
              <a:sym typeface="+mn-lt"/>
            </a:endParaRPr>
          </a:p>
        </p:txBody>
      </p:sp>
      <p:sp>
        <p:nvSpPr>
          <p:cNvPr id="491" name="Text Placeholder 1">
            <a:extLst>
              <a:ext uri="{FF2B5EF4-FFF2-40B4-BE49-F238E27FC236}">
                <a16:creationId xmlns:a16="http://schemas.microsoft.com/office/drawing/2014/main" id="{AD615071-C010-2D4C-1EEC-B1FBDE220D00}"/>
              </a:ext>
            </a:extLst>
          </p:cNvPr>
          <p:cNvSpPr>
            <a:spLocks noGrp="1"/>
          </p:cNvSpPr>
          <p:nvPr>
            <p:custDataLst>
              <p:tags r:id="rId29"/>
            </p:custDataLst>
          </p:nvPr>
        </p:nvSpPr>
        <p:spPr bwMode="gray">
          <a:xfrm>
            <a:off x="6867525" y="1800225"/>
            <a:ext cx="182166"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96B2B97D-6253-467B-9CB6-1042B40CE459}" type="datetime'''''''''6''4%'''''''''''''''''''''''''''''''''">
              <a:rPr lang="en-US" altLang="en-US" sz="600">
                <a:latin typeface="+mn-lt"/>
              </a:rPr>
              <a:pPr algn="ctr" fontAlgn="auto">
                <a:spcBef>
                  <a:spcPct val="0"/>
                </a:spcBef>
                <a:spcAft>
                  <a:spcPct val="0"/>
                </a:spcAft>
                <a:defRPr/>
              </a:pPr>
              <a:t>64%</a:t>
            </a:fld>
            <a:endParaRPr lang="en-US" sz="600" dirty="0">
              <a:latin typeface="+mn-lt"/>
              <a:sym typeface="+mn-lt"/>
            </a:endParaRPr>
          </a:p>
        </p:txBody>
      </p:sp>
      <p:sp>
        <p:nvSpPr>
          <p:cNvPr id="46" name="Rectangle 45">
            <a:extLst>
              <a:ext uri="{FF2B5EF4-FFF2-40B4-BE49-F238E27FC236}">
                <a16:creationId xmlns:a16="http://schemas.microsoft.com/office/drawing/2014/main" id="{0021DF29-A005-3D27-F3EE-72F7121FEFED}"/>
              </a:ext>
            </a:extLst>
          </p:cNvPr>
          <p:cNvSpPr/>
          <p:nvPr/>
        </p:nvSpPr>
        <p:spPr>
          <a:xfrm>
            <a:off x="457200" y="1165623"/>
            <a:ext cx="4849084" cy="219291"/>
          </a:xfrm>
          <a:prstGeom prst="rect">
            <a:avLst/>
          </a:prstGeom>
        </p:spPr>
        <p:txBody>
          <a:bodyPr wrap="none" lIns="0" rIns="0">
            <a:spAutoFit/>
          </a:bodyPr>
          <a:lstStyle/>
          <a:p>
            <a:pPr eaLnBrk="1" fontAlgn="auto" hangingPunct="1">
              <a:defRPr/>
            </a:pPr>
            <a:r>
              <a:rPr lang="en-US" sz="825" b="1" dirty="0">
                <a:latin typeface="Century Gothic" panose="020B0502020202020204" pitchFamily="34" charset="0"/>
                <a:sym typeface="+mn-lt"/>
              </a:rPr>
              <a:t>Digital Payment Use base </a:t>
            </a:r>
            <a:r>
              <a:rPr lang="en-US" sz="825" i="1" dirty="0">
                <a:solidFill>
                  <a:schemeClr val="bg1">
                    <a:lumMod val="50000"/>
                  </a:schemeClr>
                </a:solidFill>
                <a:latin typeface="Century Gothic" panose="020B0502020202020204" pitchFamily="34" charset="0"/>
              </a:rPr>
              <a:t>(% of Population)- Number of users utilizing digital payment platforms.</a:t>
            </a:r>
            <a:endParaRPr lang="en-US" sz="825" b="1" dirty="0">
              <a:latin typeface="Century Gothic" panose="020B0502020202020204" pitchFamily="34" charset="0"/>
              <a:sym typeface="+mn-lt"/>
            </a:endParaRPr>
          </a:p>
        </p:txBody>
      </p:sp>
      <p:sp>
        <p:nvSpPr>
          <p:cNvPr id="146473" name="Rectangle 175">
            <a:extLst>
              <a:ext uri="{FF2B5EF4-FFF2-40B4-BE49-F238E27FC236}">
                <a16:creationId xmlns:a16="http://schemas.microsoft.com/office/drawing/2014/main" id="{32559714-3614-F48F-76F9-048976580343}"/>
              </a:ext>
            </a:extLst>
          </p:cNvPr>
          <p:cNvSpPr>
            <a:spLocks noChangeArrowheads="1"/>
          </p:cNvSpPr>
          <p:nvPr/>
        </p:nvSpPr>
        <p:spPr bwMode="auto">
          <a:xfrm>
            <a:off x="1398985" y="1397794"/>
            <a:ext cx="1225153"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East Africa Comparators</a:t>
            </a:r>
            <a:endParaRPr lang="en-US" altLang="en-US" sz="825" b="1"/>
          </a:p>
        </p:txBody>
      </p:sp>
      <p:sp>
        <p:nvSpPr>
          <p:cNvPr id="146474" name="Rectangle 177">
            <a:extLst>
              <a:ext uri="{FF2B5EF4-FFF2-40B4-BE49-F238E27FC236}">
                <a16:creationId xmlns:a16="http://schemas.microsoft.com/office/drawing/2014/main" id="{294879D6-3145-F9EF-5307-B0C4C8799859}"/>
              </a:ext>
            </a:extLst>
          </p:cNvPr>
          <p:cNvSpPr>
            <a:spLocks noChangeArrowheads="1"/>
          </p:cNvSpPr>
          <p:nvPr/>
        </p:nvSpPr>
        <p:spPr bwMode="auto">
          <a:xfrm>
            <a:off x="3312319" y="1383506"/>
            <a:ext cx="1225154"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Africa Comparators</a:t>
            </a:r>
            <a:endParaRPr lang="en-US" altLang="en-US" sz="825" b="1"/>
          </a:p>
        </p:txBody>
      </p:sp>
      <p:sp>
        <p:nvSpPr>
          <p:cNvPr id="146475" name="Rectangle 179">
            <a:extLst>
              <a:ext uri="{FF2B5EF4-FFF2-40B4-BE49-F238E27FC236}">
                <a16:creationId xmlns:a16="http://schemas.microsoft.com/office/drawing/2014/main" id="{C1BEDC52-697D-1757-CA79-8D139E98102F}"/>
              </a:ext>
            </a:extLst>
          </p:cNvPr>
          <p:cNvSpPr>
            <a:spLocks noChangeArrowheads="1"/>
          </p:cNvSpPr>
          <p:nvPr/>
        </p:nvSpPr>
        <p:spPr bwMode="auto">
          <a:xfrm>
            <a:off x="5548312" y="1377554"/>
            <a:ext cx="1225154"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Global Comparators</a:t>
            </a:r>
            <a:endParaRPr lang="en-US" altLang="en-US" sz="825" b="1"/>
          </a:p>
        </p:txBody>
      </p:sp>
      <p:sp>
        <p:nvSpPr>
          <p:cNvPr id="221" name="Rectangle 220">
            <a:extLst>
              <a:ext uri="{FF2B5EF4-FFF2-40B4-BE49-F238E27FC236}">
                <a16:creationId xmlns:a16="http://schemas.microsoft.com/office/drawing/2014/main" id="{AE3AE2F7-03CE-13FB-D168-225B5A0CA1A4}"/>
              </a:ext>
            </a:extLst>
          </p:cNvPr>
          <p:cNvSpPr/>
          <p:nvPr/>
        </p:nvSpPr>
        <p:spPr>
          <a:xfrm>
            <a:off x="4942285" y="3093244"/>
            <a:ext cx="2302669" cy="145137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222" name="Rectangle 221">
            <a:extLst>
              <a:ext uri="{FF2B5EF4-FFF2-40B4-BE49-F238E27FC236}">
                <a16:creationId xmlns:a16="http://schemas.microsoft.com/office/drawing/2014/main" id="{8ABF4FE7-23AA-4116-AAD1-3C2DA7A7AD0D}"/>
              </a:ext>
            </a:extLst>
          </p:cNvPr>
          <p:cNvSpPr/>
          <p:nvPr/>
        </p:nvSpPr>
        <p:spPr>
          <a:xfrm>
            <a:off x="2671763" y="3093244"/>
            <a:ext cx="2237185" cy="1451372"/>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sp>
        <p:nvSpPr>
          <p:cNvPr id="223" name="Rectangle 222">
            <a:extLst>
              <a:ext uri="{FF2B5EF4-FFF2-40B4-BE49-F238E27FC236}">
                <a16:creationId xmlns:a16="http://schemas.microsoft.com/office/drawing/2014/main" id="{4BC5E62D-B20A-52AD-65C7-34DE069F6DA2}"/>
              </a:ext>
            </a:extLst>
          </p:cNvPr>
          <p:cNvSpPr/>
          <p:nvPr/>
        </p:nvSpPr>
        <p:spPr>
          <a:xfrm>
            <a:off x="1329929" y="3093244"/>
            <a:ext cx="1294210" cy="145137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r="100000" b="100000"/>
            </a:path>
            <a:tileRect l="-100000" t="-100000"/>
          </a:gradFill>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US" sz="1050"/>
          </a:p>
        </p:txBody>
      </p:sp>
      <p:graphicFrame>
        <p:nvGraphicFramePr>
          <p:cNvPr id="146481" name="Chart 30">
            <a:extLst>
              <a:ext uri="{FF2B5EF4-FFF2-40B4-BE49-F238E27FC236}">
                <a16:creationId xmlns:a16="http://schemas.microsoft.com/office/drawing/2014/main" id="{678674DA-5B16-58D4-9703-DB75D6143CEA}"/>
              </a:ext>
            </a:extLst>
          </p:cNvPr>
          <p:cNvGraphicFramePr>
            <a:graphicFrameLocks/>
          </p:cNvGraphicFramePr>
          <p:nvPr/>
        </p:nvGraphicFramePr>
        <p:xfrm>
          <a:off x="616744" y="3089673"/>
          <a:ext cx="6666310" cy="1315640"/>
        </p:xfrm>
        <a:graphic>
          <a:graphicData uri="http://schemas.openxmlformats.org/presentationml/2006/ole">
            <mc:AlternateContent xmlns:mc="http://schemas.openxmlformats.org/markup-compatibility/2006">
              <mc:Choice xmlns:v="urn:schemas-microsoft-com:vml" Requires="v">
                <p:oleObj name="Chart" r:id="rId63" imgW="8894835" imgH="1761897" progId="Excel.Chart.8">
                  <p:embed/>
                </p:oleObj>
              </mc:Choice>
              <mc:Fallback>
                <p:oleObj name="Chart" r:id="rId63" imgW="8894835" imgH="1761897" progId="Excel.Chart.8">
                  <p:embed/>
                  <p:pic>
                    <p:nvPicPr>
                      <p:cNvPr id="146481" name="Chart 30">
                        <a:extLst>
                          <a:ext uri="{FF2B5EF4-FFF2-40B4-BE49-F238E27FC236}">
                            <a16:creationId xmlns:a16="http://schemas.microsoft.com/office/drawing/2014/main" id="{678674DA-5B16-58D4-9703-DB75D6143CEA}"/>
                          </a:ext>
                        </a:extLst>
                      </p:cNvPr>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616744" y="3089673"/>
                        <a:ext cx="6666310" cy="131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6482" name="Text Placeholder 1">
            <a:extLst>
              <a:ext uri="{FF2B5EF4-FFF2-40B4-BE49-F238E27FC236}">
                <a16:creationId xmlns:a16="http://schemas.microsoft.com/office/drawing/2014/main" id="{7612A3D2-7310-4AC8-E870-979A317F92C4}"/>
              </a:ext>
            </a:extLst>
          </p:cNvPr>
          <p:cNvSpPr>
            <a:spLocks noGrp="1" noChangeArrowheads="1"/>
          </p:cNvSpPr>
          <p:nvPr>
            <p:custDataLst>
              <p:tags r:id="rId30"/>
            </p:custDataLst>
          </p:nvPr>
        </p:nvSpPr>
        <p:spPr bwMode="auto">
          <a:xfrm>
            <a:off x="1004887" y="4295775"/>
            <a:ext cx="244079"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83B23959-7C1F-470D-8DC5-31601B7A934C}" type="datetime'''''''''''''''''Ke''''ny''a'''''''''">
              <a:rPr lang="en-US" altLang="en-US" sz="600"/>
              <a:pPr lvl="1" algn="ctr">
                <a:spcAft>
                  <a:spcPct val="0"/>
                </a:spcAft>
                <a:buSzTx/>
                <a:buNone/>
              </a:pPr>
              <a:t>Kenya</a:t>
            </a:fld>
            <a:endParaRPr lang="en-US" altLang="en-US" sz="600">
              <a:sym typeface="+mn-lt"/>
            </a:endParaRPr>
          </a:p>
        </p:txBody>
      </p:sp>
      <p:sp>
        <p:nvSpPr>
          <p:cNvPr id="146483" name="Text Placeholder 1">
            <a:extLst>
              <a:ext uri="{FF2B5EF4-FFF2-40B4-BE49-F238E27FC236}">
                <a16:creationId xmlns:a16="http://schemas.microsoft.com/office/drawing/2014/main" id="{BCC1A7FF-E0D2-9FA9-D668-5CA54B17B3C9}"/>
              </a:ext>
            </a:extLst>
          </p:cNvPr>
          <p:cNvSpPr>
            <a:spLocks noGrp="1" noChangeArrowheads="1"/>
          </p:cNvSpPr>
          <p:nvPr>
            <p:custDataLst>
              <p:tags r:id="rId31"/>
            </p:custDataLst>
          </p:nvPr>
        </p:nvSpPr>
        <p:spPr bwMode="auto">
          <a:xfrm>
            <a:off x="1425179" y="4295775"/>
            <a:ext cx="301228"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103B1229-DEEB-49FD-A891-E6039966C239}" type="datetime'''''''U''g''''''''a''''''''''''''''''''n''''''''''d''''''a'">
              <a:rPr lang="en-US" altLang="en-US" sz="600"/>
              <a:pPr lvl="1" algn="ctr">
                <a:spcAft>
                  <a:spcPct val="0"/>
                </a:spcAft>
                <a:buSzTx/>
                <a:buNone/>
              </a:pPr>
              <a:t>Uganda</a:t>
            </a:fld>
            <a:endParaRPr lang="en-US" altLang="en-US" sz="600">
              <a:sym typeface="+mn-lt"/>
            </a:endParaRPr>
          </a:p>
        </p:txBody>
      </p:sp>
      <p:sp>
        <p:nvSpPr>
          <p:cNvPr id="146484" name="Text Placeholder 1">
            <a:extLst>
              <a:ext uri="{FF2B5EF4-FFF2-40B4-BE49-F238E27FC236}">
                <a16:creationId xmlns:a16="http://schemas.microsoft.com/office/drawing/2014/main" id="{5397BCF5-807C-7977-ED6D-B96189AA378C}"/>
              </a:ext>
            </a:extLst>
          </p:cNvPr>
          <p:cNvSpPr>
            <a:spLocks noGrp="1" noChangeArrowheads="1"/>
          </p:cNvSpPr>
          <p:nvPr>
            <p:custDataLst>
              <p:tags r:id="rId32"/>
            </p:custDataLst>
          </p:nvPr>
        </p:nvSpPr>
        <p:spPr bwMode="auto">
          <a:xfrm>
            <a:off x="1849041" y="4295775"/>
            <a:ext cx="347663"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72969C6C-7A07-4024-A47A-EAAEE7023C2E}" type="datetime'T''a''''n''''''''z''''a''''''''''''n''''i''''''''''''''a'''">
              <a:rPr lang="en-US" altLang="en-US" sz="600"/>
              <a:pPr lvl="1" algn="ctr">
                <a:spcAft>
                  <a:spcPct val="0"/>
                </a:spcAft>
                <a:buSzTx/>
                <a:buNone/>
              </a:pPr>
              <a:t>Tanzania</a:t>
            </a:fld>
            <a:endParaRPr lang="en-US" altLang="en-US" sz="600">
              <a:sym typeface="+mn-lt"/>
            </a:endParaRPr>
          </a:p>
        </p:txBody>
      </p:sp>
      <p:sp>
        <p:nvSpPr>
          <p:cNvPr id="146485" name="Text Placeholder 1">
            <a:extLst>
              <a:ext uri="{FF2B5EF4-FFF2-40B4-BE49-F238E27FC236}">
                <a16:creationId xmlns:a16="http://schemas.microsoft.com/office/drawing/2014/main" id="{A102ADC4-B8B0-EBDB-555A-B7BBEC8668ED}"/>
              </a:ext>
            </a:extLst>
          </p:cNvPr>
          <p:cNvSpPr>
            <a:spLocks noGrp="1" noChangeArrowheads="1"/>
          </p:cNvSpPr>
          <p:nvPr>
            <p:custDataLst>
              <p:tags r:id="rId33"/>
            </p:custDataLst>
          </p:nvPr>
        </p:nvSpPr>
        <p:spPr bwMode="auto">
          <a:xfrm>
            <a:off x="2313385" y="4295775"/>
            <a:ext cx="317897"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8305F384-E062-4A2C-9EA5-75BE44E8CF51}" type="datetime'''''''''''''''''''Rwa''n''''''d''''''''a'''''">
              <a:rPr lang="en-US" altLang="en-US" sz="600"/>
              <a:pPr lvl="1" algn="ctr">
                <a:spcAft>
                  <a:spcPct val="0"/>
                </a:spcAft>
                <a:buSzTx/>
                <a:buNone/>
              </a:pPr>
              <a:t>Rwanda</a:t>
            </a:fld>
            <a:endParaRPr lang="en-US" altLang="en-US" sz="600">
              <a:sym typeface="+mn-lt"/>
            </a:endParaRPr>
          </a:p>
        </p:txBody>
      </p:sp>
      <p:sp>
        <p:nvSpPr>
          <p:cNvPr id="146486" name="Text Placeholder 1">
            <a:extLst>
              <a:ext uri="{FF2B5EF4-FFF2-40B4-BE49-F238E27FC236}">
                <a16:creationId xmlns:a16="http://schemas.microsoft.com/office/drawing/2014/main" id="{3AC58D03-8B93-431E-F255-2268516211F8}"/>
              </a:ext>
            </a:extLst>
          </p:cNvPr>
          <p:cNvSpPr>
            <a:spLocks noGrp="1" noChangeArrowheads="1"/>
          </p:cNvSpPr>
          <p:nvPr>
            <p:custDataLst>
              <p:tags r:id="rId34"/>
            </p:custDataLst>
          </p:nvPr>
        </p:nvSpPr>
        <p:spPr bwMode="auto">
          <a:xfrm>
            <a:off x="2733676" y="4295775"/>
            <a:ext cx="375047"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AD4BA2DD-38ED-4087-A090-EE1A1FE8A8B7}" type="datetime'''''''''M''o''''r''''''''''''r''''''''''''''''o''''cc''''''o'">
              <a:rPr lang="en-US" altLang="en-US" sz="600"/>
              <a:pPr lvl="1" algn="ctr">
                <a:spcAft>
                  <a:spcPct val="0"/>
                </a:spcAft>
                <a:buSzTx/>
                <a:buNone/>
              </a:pPr>
              <a:t>Morrocco</a:t>
            </a:fld>
            <a:endParaRPr lang="en-US" altLang="en-US" sz="600">
              <a:sym typeface="+mn-lt"/>
            </a:endParaRPr>
          </a:p>
        </p:txBody>
      </p:sp>
      <p:sp>
        <p:nvSpPr>
          <p:cNvPr id="146487" name="Text Placeholder 1">
            <a:extLst>
              <a:ext uri="{FF2B5EF4-FFF2-40B4-BE49-F238E27FC236}">
                <a16:creationId xmlns:a16="http://schemas.microsoft.com/office/drawing/2014/main" id="{56B4D0A9-8D6F-3998-7B9E-25004A25502E}"/>
              </a:ext>
            </a:extLst>
          </p:cNvPr>
          <p:cNvSpPr>
            <a:spLocks noGrp="1" noChangeArrowheads="1"/>
          </p:cNvSpPr>
          <p:nvPr>
            <p:custDataLst>
              <p:tags r:id="rId35"/>
            </p:custDataLst>
          </p:nvPr>
        </p:nvSpPr>
        <p:spPr bwMode="auto">
          <a:xfrm>
            <a:off x="3152775" y="4295775"/>
            <a:ext cx="434579"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A0F82758-C0E5-44D8-9252-BC25A8B6EB3F}" type="datetime'I''''''''''''''''vo''''r''''''''y Co''a''''''''s''''''t'''">
              <a:rPr lang="en-US" altLang="en-US" sz="600"/>
              <a:pPr lvl="1" algn="ctr">
                <a:spcAft>
                  <a:spcPct val="0"/>
                </a:spcAft>
                <a:buSzTx/>
                <a:buNone/>
              </a:pPr>
              <a:t>Ivory Coast</a:t>
            </a:fld>
            <a:endParaRPr lang="en-US" altLang="en-US" sz="600">
              <a:sym typeface="+mn-lt"/>
            </a:endParaRPr>
          </a:p>
        </p:txBody>
      </p:sp>
      <p:sp>
        <p:nvSpPr>
          <p:cNvPr id="146488" name="Text Placeholder 1">
            <a:extLst>
              <a:ext uri="{FF2B5EF4-FFF2-40B4-BE49-F238E27FC236}">
                <a16:creationId xmlns:a16="http://schemas.microsoft.com/office/drawing/2014/main" id="{9D108B91-D632-9753-91F8-1281B436D1C2}"/>
              </a:ext>
            </a:extLst>
          </p:cNvPr>
          <p:cNvSpPr>
            <a:spLocks noGrp="1" noChangeArrowheads="1"/>
          </p:cNvSpPr>
          <p:nvPr>
            <p:custDataLst>
              <p:tags r:id="rId36"/>
            </p:custDataLst>
          </p:nvPr>
        </p:nvSpPr>
        <p:spPr bwMode="auto">
          <a:xfrm>
            <a:off x="3683794" y="4295775"/>
            <a:ext cx="269081"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5E3F99B7-A1A9-4F24-AD98-778968ACA414}" type="datetime'''''''''''''''''G''''''''ha''n''''''''a'' '''''''''''">
              <a:rPr lang="en-US" altLang="en-US" sz="600"/>
              <a:pPr lvl="1" algn="ctr">
                <a:spcAft>
                  <a:spcPct val="0"/>
                </a:spcAft>
                <a:buSzTx/>
                <a:buNone/>
              </a:pPr>
              <a:t>Ghana </a:t>
            </a:fld>
            <a:endParaRPr lang="en-US" altLang="en-US" sz="600">
              <a:sym typeface="+mn-lt"/>
            </a:endParaRPr>
          </a:p>
        </p:txBody>
      </p:sp>
      <p:sp>
        <p:nvSpPr>
          <p:cNvPr id="146489" name="Text Placeholder 1">
            <a:extLst>
              <a:ext uri="{FF2B5EF4-FFF2-40B4-BE49-F238E27FC236}">
                <a16:creationId xmlns:a16="http://schemas.microsoft.com/office/drawing/2014/main" id="{99AF8388-EE41-3E71-982A-07551EDE940C}"/>
              </a:ext>
            </a:extLst>
          </p:cNvPr>
          <p:cNvSpPr>
            <a:spLocks noGrp="1" noChangeArrowheads="1"/>
          </p:cNvSpPr>
          <p:nvPr>
            <p:custDataLst>
              <p:tags r:id="rId37"/>
            </p:custDataLst>
          </p:nvPr>
        </p:nvSpPr>
        <p:spPr bwMode="auto">
          <a:xfrm>
            <a:off x="4130279" y="4295775"/>
            <a:ext cx="272653"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4486A788-A1C9-4CC4-A27F-75FBBD0FF00B}" type="datetime'''''N''''''''''''''''i''''''''g''''''''eri''''''''''a'">
              <a:rPr lang="en-US" altLang="en-US" sz="600"/>
              <a:pPr lvl="1" algn="ctr">
                <a:spcAft>
                  <a:spcPct val="0"/>
                </a:spcAft>
                <a:buSzTx/>
                <a:buNone/>
              </a:pPr>
              <a:t>Nigeria</a:t>
            </a:fld>
            <a:endParaRPr lang="en-US" altLang="en-US" sz="600">
              <a:sym typeface="+mn-lt"/>
            </a:endParaRPr>
          </a:p>
        </p:txBody>
      </p:sp>
      <p:sp>
        <p:nvSpPr>
          <p:cNvPr id="146490" name="Text Placeholder 1">
            <a:extLst>
              <a:ext uri="{FF2B5EF4-FFF2-40B4-BE49-F238E27FC236}">
                <a16:creationId xmlns:a16="http://schemas.microsoft.com/office/drawing/2014/main" id="{7428C364-6057-B111-CB73-1CCD34EC2E50}"/>
              </a:ext>
            </a:extLst>
          </p:cNvPr>
          <p:cNvSpPr>
            <a:spLocks noGrp="1" noChangeArrowheads="1"/>
          </p:cNvSpPr>
          <p:nvPr>
            <p:custDataLst>
              <p:tags r:id="rId38"/>
            </p:custDataLst>
          </p:nvPr>
        </p:nvSpPr>
        <p:spPr bwMode="auto">
          <a:xfrm>
            <a:off x="4597004" y="4295776"/>
            <a:ext cx="235744" cy="183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69EBE26D-D5D3-49CB-BE1C-E23A7E6E8352}" type="datetime'''''S''ou''t''''''h'''''''''' A''''f''''''''ri''''c''''''a'''">
              <a:rPr lang="en-US" altLang="en-US" sz="600"/>
              <a:pPr lvl="1" algn="ctr">
                <a:spcAft>
                  <a:spcPct val="0"/>
                </a:spcAft>
                <a:buSzTx/>
                <a:buNone/>
              </a:pPr>
              <a:t>South Africa</a:t>
            </a:fld>
            <a:endParaRPr lang="en-US" altLang="en-US" sz="600">
              <a:sym typeface="+mn-lt"/>
            </a:endParaRPr>
          </a:p>
        </p:txBody>
      </p:sp>
      <p:sp>
        <p:nvSpPr>
          <p:cNvPr id="146491" name="Text Placeholder 1">
            <a:extLst>
              <a:ext uri="{FF2B5EF4-FFF2-40B4-BE49-F238E27FC236}">
                <a16:creationId xmlns:a16="http://schemas.microsoft.com/office/drawing/2014/main" id="{55507415-3927-3910-8AD9-2942BC6A80E0}"/>
              </a:ext>
            </a:extLst>
          </p:cNvPr>
          <p:cNvSpPr>
            <a:spLocks noGrp="1" noChangeArrowheads="1"/>
          </p:cNvSpPr>
          <p:nvPr>
            <p:custDataLst>
              <p:tags r:id="rId39"/>
            </p:custDataLst>
          </p:nvPr>
        </p:nvSpPr>
        <p:spPr bwMode="auto">
          <a:xfrm>
            <a:off x="5004197" y="4295775"/>
            <a:ext cx="319088"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E6FA3B9C-84C4-49B3-82B6-76B4686E3DA5}" type="datetime'''''''S''''w''''e''''''''''''de''''''''''''''n'''''''''">
              <a:rPr lang="en-US" altLang="en-US" sz="600"/>
              <a:pPr lvl="1" algn="ctr">
                <a:spcAft>
                  <a:spcPct val="0"/>
                </a:spcAft>
                <a:buSzTx/>
                <a:buNone/>
              </a:pPr>
              <a:t>Sweden</a:t>
            </a:fld>
            <a:endParaRPr lang="en-US" altLang="en-US" sz="600">
              <a:sym typeface="+mn-lt"/>
            </a:endParaRPr>
          </a:p>
        </p:txBody>
      </p:sp>
      <p:sp>
        <p:nvSpPr>
          <p:cNvPr id="146492" name="Text Placeholder 1">
            <a:extLst>
              <a:ext uri="{FF2B5EF4-FFF2-40B4-BE49-F238E27FC236}">
                <a16:creationId xmlns:a16="http://schemas.microsoft.com/office/drawing/2014/main" id="{2F769D5F-1B4C-22DF-F8DF-1AD29D65707F}"/>
              </a:ext>
            </a:extLst>
          </p:cNvPr>
          <p:cNvSpPr>
            <a:spLocks noGrp="1" noChangeArrowheads="1"/>
          </p:cNvSpPr>
          <p:nvPr>
            <p:custDataLst>
              <p:tags r:id="rId40"/>
            </p:custDataLst>
          </p:nvPr>
        </p:nvSpPr>
        <p:spPr bwMode="auto">
          <a:xfrm>
            <a:off x="5516167" y="4295775"/>
            <a:ext cx="192881"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3B42E28D-C2F7-45B7-B138-7A1CDE7B72EE}" type="datetime'''''I''''n''''''''''''''''''''''''''''''''d''''i''a'''''''''">
              <a:rPr lang="en-US" altLang="en-US" sz="600"/>
              <a:pPr lvl="1" algn="ctr">
                <a:spcAft>
                  <a:spcPct val="0"/>
                </a:spcAft>
                <a:buSzTx/>
                <a:buNone/>
              </a:pPr>
              <a:t>India</a:t>
            </a:fld>
            <a:endParaRPr lang="en-US" altLang="en-US" sz="600">
              <a:sym typeface="+mn-lt"/>
            </a:endParaRPr>
          </a:p>
        </p:txBody>
      </p:sp>
      <p:sp>
        <p:nvSpPr>
          <p:cNvPr id="146493" name="Text Placeholder 1">
            <a:extLst>
              <a:ext uri="{FF2B5EF4-FFF2-40B4-BE49-F238E27FC236}">
                <a16:creationId xmlns:a16="http://schemas.microsoft.com/office/drawing/2014/main" id="{08A26016-5B87-78D0-D442-62CD956C53C3}"/>
              </a:ext>
            </a:extLst>
          </p:cNvPr>
          <p:cNvSpPr>
            <a:spLocks noGrp="1" noChangeArrowheads="1"/>
          </p:cNvSpPr>
          <p:nvPr>
            <p:custDataLst>
              <p:tags r:id="rId41"/>
            </p:custDataLst>
          </p:nvPr>
        </p:nvSpPr>
        <p:spPr bwMode="auto">
          <a:xfrm>
            <a:off x="5942410" y="4295776"/>
            <a:ext cx="235744" cy="183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5228E933-D71B-4BD7-82B8-60241C3E9D3E}" type="datetime'''''So''''u''''''''t''''''''h'''''' K''o''''''''''rea'''">
              <a:rPr lang="en-US" altLang="en-US" sz="600"/>
              <a:pPr lvl="1" algn="ctr">
                <a:spcAft>
                  <a:spcPct val="0"/>
                </a:spcAft>
                <a:buSzTx/>
                <a:buNone/>
              </a:pPr>
              <a:t>South Korea</a:t>
            </a:fld>
            <a:endParaRPr lang="en-US" altLang="en-US" sz="600">
              <a:sym typeface="+mn-lt"/>
            </a:endParaRPr>
          </a:p>
        </p:txBody>
      </p:sp>
      <p:sp>
        <p:nvSpPr>
          <p:cNvPr id="146494" name="Text Placeholder 1">
            <a:extLst>
              <a:ext uri="{FF2B5EF4-FFF2-40B4-BE49-F238E27FC236}">
                <a16:creationId xmlns:a16="http://schemas.microsoft.com/office/drawing/2014/main" id="{EA4FBFC6-B0DD-E1A8-1985-F205FF184FE6}"/>
              </a:ext>
            </a:extLst>
          </p:cNvPr>
          <p:cNvSpPr>
            <a:spLocks noGrp="1" noChangeArrowheads="1"/>
          </p:cNvSpPr>
          <p:nvPr>
            <p:custDataLst>
              <p:tags r:id="rId42"/>
            </p:custDataLst>
          </p:nvPr>
        </p:nvSpPr>
        <p:spPr bwMode="auto">
          <a:xfrm>
            <a:off x="6313885" y="4295775"/>
            <a:ext cx="390525"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0608FD33-A286-4A02-856D-DF5DE10A096D}" type="datetime'''S''in''''''''''g''a''p''''''''ore'''''''''''''">
              <a:rPr lang="en-US" altLang="en-US" sz="600"/>
              <a:pPr lvl="1" algn="ctr">
                <a:spcAft>
                  <a:spcPct val="0"/>
                </a:spcAft>
                <a:buSzTx/>
                <a:buNone/>
              </a:pPr>
              <a:t>Singapore</a:t>
            </a:fld>
            <a:endParaRPr lang="en-US" altLang="en-US" sz="600">
              <a:sym typeface="+mn-lt"/>
            </a:endParaRPr>
          </a:p>
        </p:txBody>
      </p:sp>
      <p:sp>
        <p:nvSpPr>
          <p:cNvPr id="146495" name="Text Placeholder 1">
            <a:extLst>
              <a:ext uri="{FF2B5EF4-FFF2-40B4-BE49-F238E27FC236}">
                <a16:creationId xmlns:a16="http://schemas.microsoft.com/office/drawing/2014/main" id="{C76210EB-207E-C8CA-9E4F-DD605A1D2A17}"/>
              </a:ext>
            </a:extLst>
          </p:cNvPr>
          <p:cNvSpPr>
            <a:spLocks noGrp="1" noChangeArrowheads="1"/>
          </p:cNvSpPr>
          <p:nvPr>
            <p:custDataLst>
              <p:tags r:id="rId43"/>
            </p:custDataLst>
          </p:nvPr>
        </p:nvSpPr>
        <p:spPr bwMode="auto">
          <a:xfrm>
            <a:off x="6846094" y="4295775"/>
            <a:ext cx="225029" cy="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spcAft>
                <a:spcPts val="600"/>
              </a:spcAft>
              <a:buFont typeface="Arial" panose="020B0604020202020204" pitchFamily="34" charset="0"/>
              <a:defRPr sz="1400">
                <a:solidFill>
                  <a:schemeClr val="tx1"/>
                </a:solidFill>
                <a:latin typeface="Visa Dialect Regular" pitchFamily="2" charset="0"/>
              </a:defRPr>
            </a:lvl1pPr>
            <a:lvl2pPr>
              <a:spcAft>
                <a:spcPts val="600"/>
              </a:spcAft>
              <a:buSzPct val="110000"/>
              <a:buFont typeface="Symbol" panose="05050102010706020507" pitchFamily="18" charset="2"/>
              <a:buChar char="-"/>
              <a:defRPr sz="1400">
                <a:solidFill>
                  <a:schemeClr val="tx1"/>
                </a:solidFill>
                <a:latin typeface="Visa Dialect Regular" pitchFamily="2" charset="0"/>
              </a:defRPr>
            </a:lvl2pPr>
            <a:lvl3pPr marL="228600"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3pPr>
            <a:lvl4pPr marL="460375" indent="-228600">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4pPr>
            <a:lvl5pPr marL="742950" indent="-280988">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5pPr>
            <a:lvl6pPr marL="12001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6pPr>
            <a:lvl7pPr marL="16573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7pPr>
            <a:lvl8pPr marL="21145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8pPr>
            <a:lvl9pPr marL="2571750" indent="-280988" eaLnBrk="0" fontAlgn="base" hangingPunct="0">
              <a:spcBef>
                <a:spcPct val="0"/>
              </a:spcBef>
              <a:spcAft>
                <a:spcPts val="600"/>
              </a:spcAft>
              <a:buClr>
                <a:schemeClr val="bg2"/>
              </a:buClr>
              <a:buSzPct val="110000"/>
              <a:buFont typeface="Arial" panose="020B0604020202020204" pitchFamily="34" charset="0"/>
              <a:buChar char="•"/>
              <a:defRPr sz="1400">
                <a:solidFill>
                  <a:schemeClr val="tx1"/>
                </a:solidFill>
                <a:latin typeface="Visa Dialect Regular" pitchFamily="2" charset="0"/>
              </a:defRPr>
            </a:lvl9pPr>
          </a:lstStyle>
          <a:p>
            <a:pPr lvl="1" algn="ctr">
              <a:spcAft>
                <a:spcPct val="0"/>
              </a:spcAft>
              <a:buSzTx/>
              <a:buNone/>
            </a:pPr>
            <a:fld id="{77950113-3157-4392-BE1F-8C0106F30AFE}" type="datetime'C''''''''''''''''''h''in''''''''''''''''''''''''a'''''">
              <a:rPr lang="en-US" altLang="en-US" sz="600"/>
              <a:pPr lvl="1" algn="ctr">
                <a:spcAft>
                  <a:spcPct val="0"/>
                </a:spcAft>
                <a:buSzTx/>
                <a:buNone/>
              </a:pPr>
              <a:t>China</a:t>
            </a:fld>
            <a:endParaRPr lang="en-US" altLang="en-US" sz="600">
              <a:sym typeface="+mn-lt"/>
            </a:endParaRPr>
          </a:p>
        </p:txBody>
      </p:sp>
      <p:sp>
        <p:nvSpPr>
          <p:cNvPr id="496" name="Text Placeholder 1">
            <a:extLst>
              <a:ext uri="{FF2B5EF4-FFF2-40B4-BE49-F238E27FC236}">
                <a16:creationId xmlns:a16="http://schemas.microsoft.com/office/drawing/2014/main" id="{E8D6CB81-9855-B428-7742-995159E8A288}"/>
              </a:ext>
            </a:extLst>
          </p:cNvPr>
          <p:cNvSpPr>
            <a:spLocks noGrp="1"/>
          </p:cNvSpPr>
          <p:nvPr>
            <p:custDataLst>
              <p:tags r:id="rId44"/>
            </p:custDataLst>
          </p:nvPr>
        </p:nvSpPr>
        <p:spPr bwMode="gray">
          <a:xfrm>
            <a:off x="1038225" y="3193256"/>
            <a:ext cx="177404"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7B976FF0-8907-41D9-A044-1E9882AB6E87}" type="datetime'''''''''''8''''''''''''''3''''''''%'''''">
              <a:rPr lang="en-US" altLang="en-US" sz="600">
                <a:latin typeface="+mn-lt"/>
              </a:rPr>
              <a:pPr algn="ctr" fontAlgn="auto">
                <a:spcBef>
                  <a:spcPct val="0"/>
                </a:spcBef>
                <a:spcAft>
                  <a:spcPct val="0"/>
                </a:spcAft>
                <a:defRPr/>
              </a:pPr>
              <a:t>83%</a:t>
            </a:fld>
            <a:endParaRPr lang="en-US" sz="600" dirty="0">
              <a:latin typeface="+mn-lt"/>
              <a:sym typeface="+mn-lt"/>
            </a:endParaRPr>
          </a:p>
        </p:txBody>
      </p:sp>
      <p:sp>
        <p:nvSpPr>
          <p:cNvPr id="503" name="Text Placeholder 1">
            <a:extLst>
              <a:ext uri="{FF2B5EF4-FFF2-40B4-BE49-F238E27FC236}">
                <a16:creationId xmlns:a16="http://schemas.microsoft.com/office/drawing/2014/main" id="{4CCF4D32-6703-813C-B2D1-3891B6511DA4}"/>
              </a:ext>
            </a:extLst>
          </p:cNvPr>
          <p:cNvSpPr>
            <a:spLocks noGrp="1"/>
          </p:cNvSpPr>
          <p:nvPr>
            <p:custDataLst>
              <p:tags r:id="rId45"/>
            </p:custDataLst>
          </p:nvPr>
        </p:nvSpPr>
        <p:spPr bwMode="gray">
          <a:xfrm>
            <a:off x="1481138" y="3461148"/>
            <a:ext cx="188119"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9C7493D5-0A1E-4974-9113-A361AB69532F}" type="datetime'''''''''''''''''''6''''''''''''''0''''''%'''">
              <a:rPr lang="en-US" altLang="en-US" sz="600">
                <a:latin typeface="+mn-lt"/>
              </a:rPr>
              <a:pPr algn="ctr" fontAlgn="auto">
                <a:spcBef>
                  <a:spcPct val="0"/>
                </a:spcBef>
                <a:spcAft>
                  <a:spcPct val="0"/>
                </a:spcAft>
                <a:defRPr/>
              </a:pPr>
              <a:t>60%</a:t>
            </a:fld>
            <a:endParaRPr lang="en-US" sz="600" dirty="0">
              <a:latin typeface="+mn-lt"/>
              <a:sym typeface="+mn-lt"/>
            </a:endParaRPr>
          </a:p>
        </p:txBody>
      </p:sp>
      <p:sp>
        <p:nvSpPr>
          <p:cNvPr id="510" name="Text Placeholder 1">
            <a:extLst>
              <a:ext uri="{FF2B5EF4-FFF2-40B4-BE49-F238E27FC236}">
                <a16:creationId xmlns:a16="http://schemas.microsoft.com/office/drawing/2014/main" id="{064C08E2-F08E-F650-61BF-F5A0AA7DC1D8}"/>
              </a:ext>
            </a:extLst>
          </p:cNvPr>
          <p:cNvSpPr>
            <a:spLocks noGrp="1"/>
          </p:cNvSpPr>
          <p:nvPr>
            <p:custDataLst>
              <p:tags r:id="rId46"/>
            </p:custDataLst>
          </p:nvPr>
        </p:nvSpPr>
        <p:spPr bwMode="gray">
          <a:xfrm>
            <a:off x="1934766" y="3287316"/>
            <a:ext cx="177403"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D7362B11-2718-45BF-BC8C-4935E3BD763B}" type="datetime'''7''''''5''''''''''''''''''''''%'''''''">
              <a:rPr lang="en-US" altLang="en-US" sz="600">
                <a:latin typeface="+mn-lt"/>
              </a:rPr>
              <a:pPr algn="ctr" fontAlgn="auto">
                <a:spcBef>
                  <a:spcPct val="0"/>
                </a:spcBef>
                <a:spcAft>
                  <a:spcPct val="0"/>
                </a:spcAft>
                <a:defRPr/>
              </a:pPr>
              <a:t>75%</a:t>
            </a:fld>
            <a:endParaRPr lang="en-US" sz="600" dirty="0">
              <a:latin typeface="+mn-lt"/>
              <a:sym typeface="+mn-lt"/>
            </a:endParaRPr>
          </a:p>
        </p:txBody>
      </p:sp>
      <p:sp>
        <p:nvSpPr>
          <p:cNvPr id="517" name="Text Placeholder 1">
            <a:extLst>
              <a:ext uri="{FF2B5EF4-FFF2-40B4-BE49-F238E27FC236}">
                <a16:creationId xmlns:a16="http://schemas.microsoft.com/office/drawing/2014/main" id="{BE3E33A6-47FB-34FA-3D2C-E49CD0571CDD}"/>
              </a:ext>
            </a:extLst>
          </p:cNvPr>
          <p:cNvSpPr>
            <a:spLocks noGrp="1"/>
          </p:cNvSpPr>
          <p:nvPr>
            <p:custDataLst>
              <p:tags r:id="rId47"/>
            </p:custDataLst>
          </p:nvPr>
        </p:nvSpPr>
        <p:spPr bwMode="gray">
          <a:xfrm>
            <a:off x="2378869" y="3577829"/>
            <a:ext cx="185738"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9C989CCB-6232-4E73-88AF-690279E31C13}" type="datetime'''''''''''''''50''''''''''''%'">
              <a:rPr lang="en-US" altLang="en-US" sz="600">
                <a:latin typeface="+mn-lt"/>
              </a:rPr>
              <a:pPr algn="ctr" fontAlgn="auto">
                <a:spcBef>
                  <a:spcPct val="0"/>
                </a:spcBef>
                <a:spcAft>
                  <a:spcPct val="0"/>
                </a:spcAft>
                <a:defRPr/>
              </a:pPr>
              <a:t>50%</a:t>
            </a:fld>
            <a:endParaRPr lang="en-US" sz="600" dirty="0">
              <a:latin typeface="+mn-lt"/>
              <a:sym typeface="+mn-lt"/>
            </a:endParaRPr>
          </a:p>
        </p:txBody>
      </p:sp>
      <p:sp>
        <p:nvSpPr>
          <p:cNvPr id="524" name="Text Placeholder 1">
            <a:extLst>
              <a:ext uri="{FF2B5EF4-FFF2-40B4-BE49-F238E27FC236}">
                <a16:creationId xmlns:a16="http://schemas.microsoft.com/office/drawing/2014/main" id="{A2561F6B-C542-D362-45B0-90637AA02915}"/>
              </a:ext>
            </a:extLst>
          </p:cNvPr>
          <p:cNvSpPr>
            <a:spLocks noGrp="1"/>
          </p:cNvSpPr>
          <p:nvPr>
            <p:custDataLst>
              <p:tags r:id="rId48"/>
            </p:custDataLst>
          </p:nvPr>
        </p:nvSpPr>
        <p:spPr bwMode="gray">
          <a:xfrm>
            <a:off x="2830116" y="3519487"/>
            <a:ext cx="180975"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6621D19C-67DC-49E4-86F0-440EA9A9BA4D}" type="datetime'''''''''''''''''''''5''''''''5''''''%'''''''''''''''''''''">
              <a:rPr lang="en-US" altLang="en-US" sz="600">
                <a:latin typeface="+mn-lt"/>
              </a:rPr>
              <a:pPr algn="ctr" fontAlgn="auto">
                <a:spcBef>
                  <a:spcPct val="0"/>
                </a:spcBef>
                <a:spcAft>
                  <a:spcPct val="0"/>
                </a:spcAft>
                <a:defRPr/>
              </a:pPr>
              <a:t>55%</a:t>
            </a:fld>
            <a:endParaRPr lang="en-US" sz="600" dirty="0">
              <a:latin typeface="+mn-lt"/>
              <a:sym typeface="+mn-lt"/>
            </a:endParaRPr>
          </a:p>
        </p:txBody>
      </p:sp>
      <p:sp>
        <p:nvSpPr>
          <p:cNvPr id="535" name="Text Placeholder 1">
            <a:extLst>
              <a:ext uri="{FF2B5EF4-FFF2-40B4-BE49-F238E27FC236}">
                <a16:creationId xmlns:a16="http://schemas.microsoft.com/office/drawing/2014/main" id="{A426477F-36F5-EB7E-3B95-6B40B6505DBC}"/>
              </a:ext>
            </a:extLst>
          </p:cNvPr>
          <p:cNvSpPr>
            <a:spLocks noGrp="1"/>
          </p:cNvSpPr>
          <p:nvPr>
            <p:custDataLst>
              <p:tags r:id="rId49"/>
            </p:custDataLst>
          </p:nvPr>
        </p:nvSpPr>
        <p:spPr bwMode="gray">
          <a:xfrm>
            <a:off x="3277791" y="3694510"/>
            <a:ext cx="184547"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7AE8E54A-55E8-4678-A243-1F6FEE57F9CD}" type="datetime'''''''''''''''''4''''''0''''''''''''''''%'''''''''''">
              <a:rPr lang="en-US" altLang="en-US" sz="600">
                <a:latin typeface="+mn-lt"/>
              </a:rPr>
              <a:pPr algn="ctr" fontAlgn="auto">
                <a:spcBef>
                  <a:spcPct val="0"/>
                </a:spcBef>
                <a:spcAft>
                  <a:spcPct val="0"/>
                </a:spcAft>
                <a:defRPr/>
              </a:pPr>
              <a:t>40%</a:t>
            </a:fld>
            <a:endParaRPr lang="en-US" sz="600" dirty="0">
              <a:latin typeface="+mn-lt"/>
              <a:sym typeface="+mn-lt"/>
            </a:endParaRPr>
          </a:p>
        </p:txBody>
      </p:sp>
      <p:sp>
        <p:nvSpPr>
          <p:cNvPr id="542" name="Text Placeholder 1">
            <a:extLst>
              <a:ext uri="{FF2B5EF4-FFF2-40B4-BE49-F238E27FC236}">
                <a16:creationId xmlns:a16="http://schemas.microsoft.com/office/drawing/2014/main" id="{5D9C7F8F-4460-1C7E-ED11-E345CF7C0841}"/>
              </a:ext>
            </a:extLst>
          </p:cNvPr>
          <p:cNvSpPr>
            <a:spLocks noGrp="1"/>
          </p:cNvSpPr>
          <p:nvPr>
            <p:custDataLst>
              <p:tags r:id="rId50"/>
            </p:custDataLst>
          </p:nvPr>
        </p:nvSpPr>
        <p:spPr bwMode="gray">
          <a:xfrm>
            <a:off x="3730229" y="3717131"/>
            <a:ext cx="177403"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1845BF3F-6743-4E91-BB74-B440E90D7B01}" type="datetime'''''''''''''3''8''%'''''''''''''''''''''">
              <a:rPr lang="en-US" altLang="en-US" sz="600">
                <a:latin typeface="+mn-lt"/>
              </a:rPr>
              <a:pPr algn="ctr" fontAlgn="auto">
                <a:spcBef>
                  <a:spcPct val="0"/>
                </a:spcBef>
                <a:spcAft>
                  <a:spcPct val="0"/>
                </a:spcAft>
                <a:defRPr/>
              </a:pPr>
              <a:t>38%</a:t>
            </a:fld>
            <a:endParaRPr lang="en-US" sz="600" dirty="0">
              <a:latin typeface="+mn-lt"/>
              <a:sym typeface="+mn-lt"/>
            </a:endParaRPr>
          </a:p>
        </p:txBody>
      </p:sp>
      <p:sp>
        <p:nvSpPr>
          <p:cNvPr id="549" name="Text Placeholder 1">
            <a:extLst>
              <a:ext uri="{FF2B5EF4-FFF2-40B4-BE49-F238E27FC236}">
                <a16:creationId xmlns:a16="http://schemas.microsoft.com/office/drawing/2014/main" id="{09D7B4D1-806D-F101-4093-EAAFB35C83B6}"/>
              </a:ext>
            </a:extLst>
          </p:cNvPr>
          <p:cNvSpPr>
            <a:spLocks noGrp="1"/>
          </p:cNvSpPr>
          <p:nvPr>
            <p:custDataLst>
              <p:tags r:id="rId51"/>
            </p:custDataLst>
          </p:nvPr>
        </p:nvSpPr>
        <p:spPr bwMode="gray">
          <a:xfrm>
            <a:off x="4176713" y="3926681"/>
            <a:ext cx="179785"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7E1D9E01-432E-4F32-9B2B-D0C04552DEC6}" type="datetime'2''''0''''''''''''''%'''''''''''''''''''''''">
              <a:rPr lang="en-US" altLang="en-US" sz="600">
                <a:latin typeface="+mn-lt"/>
              </a:rPr>
              <a:pPr algn="ctr" fontAlgn="auto">
                <a:spcBef>
                  <a:spcPct val="0"/>
                </a:spcBef>
                <a:spcAft>
                  <a:spcPct val="0"/>
                </a:spcAft>
                <a:defRPr/>
              </a:pPr>
              <a:t>20%</a:t>
            </a:fld>
            <a:endParaRPr lang="en-US" sz="600" dirty="0">
              <a:latin typeface="+mn-lt"/>
              <a:sym typeface="+mn-lt"/>
            </a:endParaRPr>
          </a:p>
        </p:txBody>
      </p:sp>
      <p:sp>
        <p:nvSpPr>
          <p:cNvPr id="554" name="Text Placeholder 1">
            <a:extLst>
              <a:ext uri="{FF2B5EF4-FFF2-40B4-BE49-F238E27FC236}">
                <a16:creationId xmlns:a16="http://schemas.microsoft.com/office/drawing/2014/main" id="{D118CFF1-62E8-30B9-9DC8-3C54EA0E866C}"/>
              </a:ext>
            </a:extLst>
          </p:cNvPr>
          <p:cNvSpPr>
            <a:spLocks noGrp="1"/>
          </p:cNvSpPr>
          <p:nvPr>
            <p:custDataLst>
              <p:tags r:id="rId52"/>
            </p:custDataLst>
          </p:nvPr>
        </p:nvSpPr>
        <p:spPr bwMode="gray">
          <a:xfrm>
            <a:off x="4622006" y="3577829"/>
            <a:ext cx="185738"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18606160-3021-4FA4-AA67-9EB1773C26E0}" type="datetime'''''''''''''''''''5''''''''''''''''''''''''''0''''''''%'''">
              <a:rPr lang="en-US" altLang="en-US" sz="600">
                <a:latin typeface="+mn-lt"/>
              </a:rPr>
              <a:pPr algn="ctr" fontAlgn="auto">
                <a:spcBef>
                  <a:spcPct val="0"/>
                </a:spcBef>
                <a:spcAft>
                  <a:spcPct val="0"/>
                </a:spcAft>
                <a:defRPr/>
              </a:pPr>
              <a:t>50%</a:t>
            </a:fld>
            <a:endParaRPr lang="en-US" sz="600" dirty="0">
              <a:latin typeface="+mn-lt"/>
              <a:sym typeface="+mn-lt"/>
            </a:endParaRPr>
          </a:p>
        </p:txBody>
      </p:sp>
      <p:sp>
        <p:nvSpPr>
          <p:cNvPr id="559" name="Text Placeholder 1">
            <a:extLst>
              <a:ext uri="{FF2B5EF4-FFF2-40B4-BE49-F238E27FC236}">
                <a16:creationId xmlns:a16="http://schemas.microsoft.com/office/drawing/2014/main" id="{E3DABBBF-245E-B2EF-51AC-3A68E5D7777C}"/>
              </a:ext>
            </a:extLst>
          </p:cNvPr>
          <p:cNvSpPr>
            <a:spLocks noGrp="1"/>
          </p:cNvSpPr>
          <p:nvPr>
            <p:custDataLst>
              <p:tags r:id="rId53"/>
            </p:custDataLst>
          </p:nvPr>
        </p:nvSpPr>
        <p:spPr bwMode="gray">
          <a:xfrm>
            <a:off x="5069682" y="3461148"/>
            <a:ext cx="188119" cy="91678"/>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1C273874-C7F7-4863-BEA7-C96DF89AC4DD}" type="datetime'''''''''''''''''''6''''''0''''%'''''''''''''">
              <a:rPr lang="en-US" altLang="en-US" sz="600">
                <a:latin typeface="+mn-lt"/>
              </a:rPr>
              <a:pPr algn="ctr" fontAlgn="auto">
                <a:spcBef>
                  <a:spcPct val="0"/>
                </a:spcBef>
                <a:spcAft>
                  <a:spcPct val="0"/>
                </a:spcAft>
                <a:defRPr/>
              </a:pPr>
              <a:t>60%</a:t>
            </a:fld>
            <a:endParaRPr lang="en-US" sz="600" dirty="0">
              <a:latin typeface="+mn-lt"/>
              <a:sym typeface="+mn-lt"/>
            </a:endParaRPr>
          </a:p>
        </p:txBody>
      </p:sp>
      <p:sp>
        <p:nvSpPr>
          <p:cNvPr id="566" name="Text Placeholder 1">
            <a:extLst>
              <a:ext uri="{FF2B5EF4-FFF2-40B4-BE49-F238E27FC236}">
                <a16:creationId xmlns:a16="http://schemas.microsoft.com/office/drawing/2014/main" id="{6487FEA8-8BD9-5AC2-F1F0-1A3AE939A35E}"/>
              </a:ext>
            </a:extLst>
          </p:cNvPr>
          <p:cNvSpPr>
            <a:spLocks noGrp="1"/>
          </p:cNvSpPr>
          <p:nvPr>
            <p:custDataLst>
              <p:tags r:id="rId54"/>
            </p:custDataLst>
          </p:nvPr>
        </p:nvSpPr>
        <p:spPr bwMode="gray">
          <a:xfrm>
            <a:off x="5523310" y="3636169"/>
            <a:ext cx="179784"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C24DB968-7E3A-46E2-8B8F-D9A410CB7D10}" type="datetime'''''''''''''''''''''''''''''''4''''''5''''''%'''''''">
              <a:rPr lang="en-US" altLang="en-US" sz="600">
                <a:latin typeface="+mn-lt"/>
              </a:rPr>
              <a:pPr algn="ctr" fontAlgn="auto">
                <a:spcBef>
                  <a:spcPct val="0"/>
                </a:spcBef>
                <a:spcAft>
                  <a:spcPct val="0"/>
                </a:spcAft>
                <a:defRPr/>
              </a:pPr>
              <a:t>45%</a:t>
            </a:fld>
            <a:endParaRPr lang="en-US" sz="600" dirty="0">
              <a:latin typeface="+mn-lt"/>
              <a:sym typeface="+mn-lt"/>
            </a:endParaRPr>
          </a:p>
        </p:txBody>
      </p:sp>
      <p:sp>
        <p:nvSpPr>
          <p:cNvPr id="571" name="Text Placeholder 1">
            <a:extLst>
              <a:ext uri="{FF2B5EF4-FFF2-40B4-BE49-F238E27FC236}">
                <a16:creationId xmlns:a16="http://schemas.microsoft.com/office/drawing/2014/main" id="{E8208925-8713-D3CE-52EB-2999740C885D}"/>
              </a:ext>
            </a:extLst>
          </p:cNvPr>
          <p:cNvSpPr>
            <a:spLocks noGrp="1"/>
          </p:cNvSpPr>
          <p:nvPr>
            <p:custDataLst>
              <p:tags r:id="rId55"/>
            </p:custDataLst>
          </p:nvPr>
        </p:nvSpPr>
        <p:spPr bwMode="gray">
          <a:xfrm>
            <a:off x="5969794" y="3345656"/>
            <a:ext cx="182166"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79690EF2-B5C1-4A8D-86AE-A03EF9974A5F}" type="datetime'''''''''7''''''''''''''''0''''''''''%'''''''''''''''''">
              <a:rPr lang="en-US" altLang="en-US" sz="600">
                <a:latin typeface="+mn-lt"/>
              </a:rPr>
              <a:pPr algn="ctr" fontAlgn="auto">
                <a:spcBef>
                  <a:spcPct val="0"/>
                </a:spcBef>
                <a:spcAft>
                  <a:spcPct val="0"/>
                </a:spcAft>
                <a:defRPr/>
              </a:pPr>
              <a:t>70%</a:t>
            </a:fld>
            <a:endParaRPr lang="en-US" sz="600" dirty="0">
              <a:latin typeface="+mn-lt"/>
              <a:sym typeface="+mn-lt"/>
            </a:endParaRPr>
          </a:p>
        </p:txBody>
      </p:sp>
      <p:sp>
        <p:nvSpPr>
          <p:cNvPr id="578" name="Text Placeholder 1">
            <a:extLst>
              <a:ext uri="{FF2B5EF4-FFF2-40B4-BE49-F238E27FC236}">
                <a16:creationId xmlns:a16="http://schemas.microsoft.com/office/drawing/2014/main" id="{5B0D6D19-54A1-52C2-1EDD-1EE202FBD5B2}"/>
              </a:ext>
            </a:extLst>
          </p:cNvPr>
          <p:cNvSpPr>
            <a:spLocks noGrp="1"/>
          </p:cNvSpPr>
          <p:nvPr>
            <p:custDataLst>
              <p:tags r:id="rId56"/>
            </p:custDataLst>
          </p:nvPr>
        </p:nvSpPr>
        <p:spPr bwMode="gray">
          <a:xfrm>
            <a:off x="6416278" y="3228975"/>
            <a:ext cx="185738"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00A76F39-E647-40F8-8579-62EC0918B7C2}" type="datetime'''''''8''''0''''%'''">
              <a:rPr lang="en-US" altLang="en-US" sz="600">
                <a:latin typeface="+mn-lt"/>
              </a:rPr>
              <a:pPr algn="ctr" fontAlgn="auto">
                <a:spcBef>
                  <a:spcPct val="0"/>
                </a:spcBef>
                <a:spcAft>
                  <a:spcPct val="0"/>
                </a:spcAft>
                <a:defRPr/>
              </a:pPr>
              <a:t>80%</a:t>
            </a:fld>
            <a:endParaRPr lang="en-US" sz="600" dirty="0">
              <a:latin typeface="+mn-lt"/>
              <a:sym typeface="+mn-lt"/>
            </a:endParaRPr>
          </a:p>
        </p:txBody>
      </p:sp>
      <p:sp>
        <p:nvSpPr>
          <p:cNvPr id="585" name="Text Placeholder 1">
            <a:extLst>
              <a:ext uri="{FF2B5EF4-FFF2-40B4-BE49-F238E27FC236}">
                <a16:creationId xmlns:a16="http://schemas.microsoft.com/office/drawing/2014/main" id="{57FDAB89-B4F2-C4BA-3284-AAF48FDA888F}"/>
              </a:ext>
            </a:extLst>
          </p:cNvPr>
          <p:cNvSpPr>
            <a:spLocks noGrp="1"/>
          </p:cNvSpPr>
          <p:nvPr>
            <p:custDataLst>
              <p:tags r:id="rId57"/>
            </p:custDataLst>
          </p:nvPr>
        </p:nvSpPr>
        <p:spPr bwMode="gray">
          <a:xfrm>
            <a:off x="6863954" y="3112294"/>
            <a:ext cx="188119" cy="91679"/>
          </a:xfrm>
          <a:prstGeom prst="rect">
            <a:avLst/>
          </a:prstGeom>
          <a:noFill/>
          <a:ln>
            <a:noFill/>
          </a:ln>
          <a:effectLst/>
        </p:spPr>
        <p:txBody>
          <a:bodyPr wrap="none" lIns="10716" tIns="0" rIns="10716" bIns="0" anchor="b"/>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Visa Dialect Regular" pitchFamily="2" charset="0"/>
                <a:ea typeface="+mn-ea"/>
                <a:cs typeface="+mn-cs"/>
              </a:defRPr>
            </a:lvl1pPr>
            <a:lvl2pPr marL="463550" indent="-231775" algn="l" defTabSz="914400" rtl="0" eaLnBrk="1" latinLnBrk="0" hangingPunct="1">
              <a:lnSpc>
                <a:spcPct val="100000"/>
              </a:lnSpc>
              <a:spcBef>
                <a:spcPts val="0"/>
              </a:spcBef>
              <a:spcAft>
                <a:spcPts val="600"/>
              </a:spcAft>
              <a:buClrTx/>
              <a:buSzPct val="110000"/>
              <a:buFont typeface="Symbol" panose="05050102010706020507" pitchFamily="18" charset="2"/>
              <a:buChar char="-"/>
              <a:defRPr sz="1400" kern="1200">
                <a:solidFill>
                  <a:schemeClr val="tx1"/>
                </a:solidFill>
                <a:latin typeface="Visa Dialect Regular" pitchFamily="2" charset="0"/>
                <a:ea typeface="+mn-ea"/>
                <a:cs typeface="+mn-cs"/>
              </a:defRPr>
            </a:lvl2pPr>
            <a:lvl3pPr marL="682625" indent="-2190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defRPr sz="1400" kern="1200">
                <a:solidFill>
                  <a:schemeClr val="tx1"/>
                </a:solidFill>
                <a:latin typeface="Visa Dialect Regular" pitchFamily="2" charset="0"/>
                <a:ea typeface="+mn-ea"/>
                <a:cs typeface="+mn-cs"/>
              </a:defRPr>
            </a:lvl3pPr>
            <a:lvl4pPr marL="91440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4pPr>
            <a:lvl5pPr marL="1146175"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5pPr>
            <a:lvl6pPr marL="1377950" indent="-231775" algn="l" defTabSz="914400" rtl="0" eaLnBrk="1" latinLnBrk="0" hangingPunct="1">
              <a:lnSpc>
                <a:spcPct val="100000"/>
              </a:lnSpc>
              <a:spcBef>
                <a:spcPts val="0"/>
              </a:spcBef>
              <a:spcAft>
                <a:spcPts val="600"/>
              </a:spcAft>
              <a:buClr>
                <a:schemeClr val="bg2"/>
              </a:buClr>
              <a:buSzPct val="110000"/>
              <a:buFont typeface="Arial" panose="020B0604020202020204" pitchFamily="34" charset="0"/>
              <a:buChar char="•"/>
              <a:tabLst/>
              <a:defRPr sz="1400" kern="1200">
                <a:solidFill>
                  <a:schemeClr val="tx1"/>
                </a:solidFill>
                <a:latin typeface="Visa Dialect Regular" pitchFamily="2"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spcBef>
                <a:spcPct val="0"/>
              </a:spcBef>
              <a:spcAft>
                <a:spcPct val="0"/>
              </a:spcAft>
              <a:defRPr/>
            </a:pPr>
            <a:fld id="{3B069D76-57ED-4B18-8146-657A79CEFD39}" type="datetime'''''''''''''''''''''''''''90''''''''''''%'''''''''''''">
              <a:rPr lang="en-US" altLang="en-US" sz="600">
                <a:latin typeface="+mn-lt"/>
              </a:rPr>
              <a:pPr algn="ctr" fontAlgn="auto">
                <a:spcBef>
                  <a:spcPct val="0"/>
                </a:spcBef>
                <a:spcAft>
                  <a:spcPct val="0"/>
                </a:spcAft>
                <a:defRPr/>
              </a:pPr>
              <a:t>90%</a:t>
            </a:fld>
            <a:endParaRPr lang="en-US" sz="600" dirty="0">
              <a:latin typeface="+mn-lt"/>
              <a:sym typeface="+mn-lt"/>
            </a:endParaRPr>
          </a:p>
        </p:txBody>
      </p:sp>
      <p:sp>
        <p:nvSpPr>
          <p:cNvPr id="253" name="Rectangle 252">
            <a:extLst>
              <a:ext uri="{FF2B5EF4-FFF2-40B4-BE49-F238E27FC236}">
                <a16:creationId xmlns:a16="http://schemas.microsoft.com/office/drawing/2014/main" id="{7A608476-0E32-B4FF-35E0-DC882ECAB81C}"/>
              </a:ext>
            </a:extLst>
          </p:cNvPr>
          <p:cNvSpPr/>
          <p:nvPr/>
        </p:nvSpPr>
        <p:spPr>
          <a:xfrm>
            <a:off x="457200" y="2855119"/>
            <a:ext cx="4558940" cy="219291"/>
          </a:xfrm>
          <a:prstGeom prst="rect">
            <a:avLst/>
          </a:prstGeom>
        </p:spPr>
        <p:txBody>
          <a:bodyPr wrap="none" lIns="0" rIns="0">
            <a:spAutoFit/>
          </a:bodyPr>
          <a:lstStyle/>
          <a:p>
            <a:pPr eaLnBrk="1" fontAlgn="auto" hangingPunct="1">
              <a:defRPr/>
            </a:pPr>
            <a:r>
              <a:rPr lang="en-US" sz="825" b="1" dirty="0">
                <a:latin typeface="+mn-lt"/>
                <a:sym typeface="+mn-lt"/>
              </a:rPr>
              <a:t>Mobile Wallet Penetration </a:t>
            </a:r>
            <a:r>
              <a:rPr lang="en-US" sz="825" i="1" dirty="0">
                <a:solidFill>
                  <a:schemeClr val="bg1">
                    <a:lumMod val="50000"/>
                  </a:schemeClr>
                </a:solidFill>
                <a:latin typeface="+mn-lt"/>
              </a:rPr>
              <a:t>(% of Population)- Percentage of the population using mobile wallets.</a:t>
            </a:r>
            <a:endParaRPr lang="en-US" sz="825" b="1" dirty="0">
              <a:latin typeface="+mn-lt"/>
              <a:sym typeface="+mn-lt"/>
            </a:endParaRPr>
          </a:p>
        </p:txBody>
      </p:sp>
      <p:sp>
        <p:nvSpPr>
          <p:cNvPr id="146511" name="Rectangle 253">
            <a:extLst>
              <a:ext uri="{FF2B5EF4-FFF2-40B4-BE49-F238E27FC236}">
                <a16:creationId xmlns:a16="http://schemas.microsoft.com/office/drawing/2014/main" id="{67E5CFCC-7486-57E4-90F3-0D07CE0E4FF3}"/>
              </a:ext>
            </a:extLst>
          </p:cNvPr>
          <p:cNvSpPr>
            <a:spLocks noChangeArrowheads="1"/>
          </p:cNvSpPr>
          <p:nvPr/>
        </p:nvSpPr>
        <p:spPr bwMode="auto">
          <a:xfrm>
            <a:off x="1398985" y="3087291"/>
            <a:ext cx="1225153"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East Africa Comparators</a:t>
            </a:r>
            <a:endParaRPr lang="en-US" altLang="en-US" sz="825" b="1"/>
          </a:p>
        </p:txBody>
      </p:sp>
      <p:sp>
        <p:nvSpPr>
          <p:cNvPr id="146512" name="Rectangle 254">
            <a:extLst>
              <a:ext uri="{FF2B5EF4-FFF2-40B4-BE49-F238E27FC236}">
                <a16:creationId xmlns:a16="http://schemas.microsoft.com/office/drawing/2014/main" id="{0D7D2A6F-8830-E746-EB82-693BA4427518}"/>
              </a:ext>
            </a:extLst>
          </p:cNvPr>
          <p:cNvSpPr>
            <a:spLocks noChangeArrowheads="1"/>
          </p:cNvSpPr>
          <p:nvPr/>
        </p:nvSpPr>
        <p:spPr bwMode="auto">
          <a:xfrm>
            <a:off x="3312319" y="3073004"/>
            <a:ext cx="1225154"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Africa Comparators</a:t>
            </a:r>
            <a:endParaRPr lang="en-US" altLang="en-US" sz="825" b="1"/>
          </a:p>
        </p:txBody>
      </p:sp>
      <p:sp>
        <p:nvSpPr>
          <p:cNvPr id="146513" name="Rectangle 255">
            <a:extLst>
              <a:ext uri="{FF2B5EF4-FFF2-40B4-BE49-F238E27FC236}">
                <a16:creationId xmlns:a16="http://schemas.microsoft.com/office/drawing/2014/main" id="{DFF7EFC6-8891-06DE-3AFB-14B9D04CA136}"/>
              </a:ext>
            </a:extLst>
          </p:cNvPr>
          <p:cNvSpPr>
            <a:spLocks noChangeArrowheads="1"/>
          </p:cNvSpPr>
          <p:nvPr/>
        </p:nvSpPr>
        <p:spPr bwMode="auto">
          <a:xfrm>
            <a:off x="5548312" y="3067050"/>
            <a:ext cx="1225154"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75" b="1">
                <a:cs typeface="Segoe UI" panose="020B0502040204020203" pitchFamily="34" charset="0"/>
                <a:sym typeface="Segoe UI" panose="020B0502040204020203" pitchFamily="34" charset="0"/>
              </a:rPr>
              <a:t>Global Comparators</a:t>
            </a:r>
            <a:endParaRPr lang="en-US" altLang="en-US" sz="825" b="1"/>
          </a:p>
        </p:txBody>
      </p:sp>
      <p:grpSp>
        <p:nvGrpSpPr>
          <p:cNvPr id="146514" name="Group 291">
            <a:extLst>
              <a:ext uri="{FF2B5EF4-FFF2-40B4-BE49-F238E27FC236}">
                <a16:creationId xmlns:a16="http://schemas.microsoft.com/office/drawing/2014/main" id="{EB94F34D-EB8F-2C23-E548-92B25F9A1240}"/>
              </a:ext>
            </a:extLst>
          </p:cNvPr>
          <p:cNvGrpSpPr>
            <a:grpSpLocks/>
          </p:cNvGrpSpPr>
          <p:nvPr/>
        </p:nvGrpSpPr>
        <p:grpSpPr bwMode="auto">
          <a:xfrm>
            <a:off x="7262813" y="1165623"/>
            <a:ext cx="363141" cy="3415903"/>
            <a:chOff x="5804120" y="1656819"/>
            <a:chExt cx="484333" cy="4553481"/>
          </a:xfrm>
        </p:grpSpPr>
        <p:grpSp>
          <p:nvGrpSpPr>
            <p:cNvPr id="146550" name="Group 292">
              <a:extLst>
                <a:ext uri="{FF2B5EF4-FFF2-40B4-BE49-F238E27FC236}">
                  <a16:creationId xmlns:a16="http://schemas.microsoft.com/office/drawing/2014/main" id="{5608675D-D0CB-DCDE-892B-7C6970F066D1}"/>
                </a:ext>
              </a:extLst>
            </p:cNvPr>
            <p:cNvGrpSpPr>
              <a:grpSpLocks/>
            </p:cNvGrpSpPr>
            <p:nvPr/>
          </p:nvGrpSpPr>
          <p:grpSpPr bwMode="auto">
            <a:xfrm>
              <a:off x="5804120" y="3605556"/>
              <a:ext cx="484333" cy="784330"/>
              <a:chOff x="4730750" y="1404938"/>
              <a:chExt cx="403482" cy="266700"/>
            </a:xfrm>
          </p:grpSpPr>
          <p:sp>
            <p:nvSpPr>
              <p:cNvPr id="295" name="Rectangle 294">
                <a:extLst>
                  <a:ext uri="{FF2B5EF4-FFF2-40B4-BE49-F238E27FC236}">
                    <a16:creationId xmlns:a16="http://schemas.microsoft.com/office/drawing/2014/main" id="{12A26477-1E19-FCD3-EBDA-ABA366CB03B0}"/>
                  </a:ext>
                </a:extLst>
              </p:cNvPr>
              <p:cNvSpPr/>
              <p:nvPr/>
            </p:nvSpPr>
            <p:spPr>
              <a:xfrm>
                <a:off x="4730750" y="1405027"/>
                <a:ext cx="403482" cy="266602"/>
              </a:xfrm>
              <a:prstGeom prst="rect">
                <a:avLst/>
              </a:prstGeom>
              <a:solidFill>
                <a:srgbClr val="FFFFFF"/>
              </a:solidFill>
              <a:ln w="12700" cap="flat" cmpd="sng" algn="ctr">
                <a:solidFill>
                  <a:srgbClr val="FFFFFF"/>
                </a:solidFill>
                <a:prstDash val="solid"/>
                <a:miter lim="800000"/>
              </a:ln>
              <a:effectLst/>
            </p:spPr>
            <p:txBody>
              <a:bodyPr anchor="ctr"/>
              <a:lstStyle/>
              <a:p>
                <a:pPr algn="ctr" defTabSz="342900">
                  <a:defRPr/>
                </a:pPr>
                <a:endParaRPr lang="en-US" sz="1050">
                  <a:solidFill>
                    <a:srgbClr val="FFFFFF"/>
                  </a:solidFill>
                  <a:latin typeface="Visa Dialect Regular"/>
                </a:endParaRPr>
              </a:p>
            </p:txBody>
          </p:sp>
          <p:sp>
            <p:nvSpPr>
              <p:cNvPr id="296" name="Arrow: Chevron 295">
                <a:extLst>
                  <a:ext uri="{FF2B5EF4-FFF2-40B4-BE49-F238E27FC236}">
                    <a16:creationId xmlns:a16="http://schemas.microsoft.com/office/drawing/2014/main" id="{978DB64B-D31E-A008-C7AE-57E0AA7B7345}"/>
                  </a:ext>
                </a:extLst>
              </p:cNvPr>
              <p:cNvSpPr/>
              <p:nvPr/>
            </p:nvSpPr>
            <p:spPr>
              <a:xfrm>
                <a:off x="4898758" y="1443344"/>
                <a:ext cx="177267" cy="189968"/>
              </a:xfrm>
              <a:prstGeom prst="chevron">
                <a:avLst>
                  <a:gd name="adj" fmla="val 48692"/>
                </a:avLst>
              </a:prstGeom>
              <a:solidFill>
                <a:srgbClr val="1434CB"/>
              </a:solidFill>
              <a:ln w="12700" cap="flat" cmpd="sng" algn="ctr">
                <a:solidFill>
                  <a:srgbClr val="1434CB"/>
                </a:solidFill>
                <a:prstDash val="solid"/>
                <a:miter lim="800000"/>
              </a:ln>
              <a:effectLst/>
            </p:spPr>
            <p:txBody>
              <a:bodyPr anchor="ctr"/>
              <a:lstStyle/>
              <a:p>
                <a:pPr algn="ctr" defTabSz="342900">
                  <a:defRPr/>
                </a:pPr>
                <a:endParaRPr lang="en-US" sz="1050">
                  <a:latin typeface="Visa Dialect Regular"/>
                </a:endParaRPr>
              </a:p>
            </p:txBody>
          </p:sp>
          <p:sp>
            <p:nvSpPr>
              <p:cNvPr id="297" name="Arrow: Chevron 296">
                <a:extLst>
                  <a:ext uri="{FF2B5EF4-FFF2-40B4-BE49-F238E27FC236}">
                    <a16:creationId xmlns:a16="http://schemas.microsoft.com/office/drawing/2014/main" id="{17964A4D-89C6-7C79-F3D7-84C732252709}"/>
                  </a:ext>
                </a:extLst>
              </p:cNvPr>
              <p:cNvSpPr/>
              <p:nvPr/>
            </p:nvSpPr>
            <p:spPr>
              <a:xfrm>
                <a:off x="4818061" y="1460614"/>
                <a:ext cx="133612" cy="153809"/>
              </a:xfrm>
              <a:prstGeom prst="chevron">
                <a:avLst>
                  <a:gd name="adj" fmla="val 51182"/>
                </a:avLst>
              </a:prstGeom>
              <a:solidFill>
                <a:srgbClr val="CAD2F9">
                  <a:lumMod val="90000"/>
                </a:srgbClr>
              </a:solidFill>
              <a:ln w="12700" cap="flat" cmpd="sng" algn="ctr">
                <a:solidFill>
                  <a:srgbClr val="CAD2F9">
                    <a:lumMod val="90000"/>
                  </a:srgbClr>
                </a:solidFill>
                <a:prstDash val="solid"/>
                <a:miter lim="800000"/>
              </a:ln>
              <a:effectLst/>
            </p:spPr>
            <p:txBody>
              <a:bodyPr anchor="ctr"/>
              <a:lstStyle/>
              <a:p>
                <a:pPr algn="ctr" defTabSz="342900">
                  <a:defRPr/>
                </a:pPr>
                <a:endParaRPr lang="en-US" sz="1050">
                  <a:latin typeface="Visa Dialect Regular"/>
                </a:endParaRPr>
              </a:p>
            </p:txBody>
          </p:sp>
          <p:sp>
            <p:nvSpPr>
              <p:cNvPr id="298" name="Arrow: Chevron 297">
                <a:extLst>
                  <a:ext uri="{FF2B5EF4-FFF2-40B4-BE49-F238E27FC236}">
                    <a16:creationId xmlns:a16="http://schemas.microsoft.com/office/drawing/2014/main" id="{DF7BB4F8-1F2B-68C1-4BA7-BC70E3E02F56}"/>
                  </a:ext>
                </a:extLst>
              </p:cNvPr>
              <p:cNvSpPr/>
              <p:nvPr/>
            </p:nvSpPr>
            <p:spPr>
              <a:xfrm>
                <a:off x="4806155" y="1460614"/>
                <a:ext cx="134935" cy="153809"/>
              </a:xfrm>
              <a:prstGeom prst="chevron">
                <a:avLst>
                  <a:gd name="adj" fmla="val 51182"/>
                </a:avLst>
              </a:prstGeom>
              <a:solidFill>
                <a:srgbClr val="CAD2F9">
                  <a:lumMod val="90000"/>
                </a:srgbClr>
              </a:solidFill>
              <a:ln w="12700" cap="flat" cmpd="sng" algn="ctr">
                <a:solidFill>
                  <a:srgbClr val="CAD2F9">
                    <a:lumMod val="90000"/>
                  </a:srgbClr>
                </a:solidFill>
                <a:prstDash val="solid"/>
                <a:miter lim="800000"/>
              </a:ln>
              <a:effectLst/>
            </p:spPr>
            <p:txBody>
              <a:bodyPr anchor="ctr"/>
              <a:lstStyle/>
              <a:p>
                <a:pPr algn="ctr" defTabSz="342900">
                  <a:defRPr/>
                </a:pPr>
                <a:endParaRPr lang="en-US" sz="1050">
                  <a:latin typeface="Visa Dialect Regular"/>
                </a:endParaRPr>
              </a:p>
            </p:txBody>
          </p:sp>
        </p:grpSp>
        <p:cxnSp>
          <p:nvCxnSpPr>
            <p:cNvPr id="146551" name="Straight Connector 293">
              <a:extLst>
                <a:ext uri="{FF2B5EF4-FFF2-40B4-BE49-F238E27FC236}">
                  <a16:creationId xmlns:a16="http://schemas.microsoft.com/office/drawing/2014/main" id="{564E8E4B-0D81-1E1C-ED8B-0ED1BDB18EE1}"/>
                </a:ext>
              </a:extLst>
            </p:cNvPr>
            <p:cNvCxnSpPr>
              <a:cxnSpLocks/>
            </p:cNvCxnSpPr>
            <p:nvPr/>
          </p:nvCxnSpPr>
          <p:spPr bwMode="auto">
            <a:xfrm>
              <a:off x="6096000" y="1656819"/>
              <a:ext cx="0" cy="4553481"/>
            </a:xfrm>
            <a:prstGeom prst="line">
              <a:avLst/>
            </a:prstGeom>
            <a:noFill/>
            <a:ln w="6350" algn="ctr">
              <a:solidFill>
                <a:srgbClr val="1434CB"/>
              </a:solidFill>
              <a:miter lim="800000"/>
              <a:headEnd/>
              <a:tailEnd/>
            </a:ln>
            <a:extLst>
              <a:ext uri="{909E8E84-426E-40DD-AFC4-6F175D3DCCD1}">
                <a14:hiddenFill xmlns:a14="http://schemas.microsoft.com/office/drawing/2010/main">
                  <a:noFill/>
                </a14:hiddenFill>
              </a:ext>
            </a:extLst>
          </p:spPr>
        </p:cxnSp>
      </p:grpSp>
      <p:sp>
        <p:nvSpPr>
          <p:cNvPr id="146515" name="TextBox 299">
            <a:extLst>
              <a:ext uri="{FF2B5EF4-FFF2-40B4-BE49-F238E27FC236}">
                <a16:creationId xmlns:a16="http://schemas.microsoft.com/office/drawing/2014/main" id="{21585D19-F506-EA57-87BA-838B7A560E1F}"/>
              </a:ext>
            </a:extLst>
          </p:cNvPr>
          <p:cNvSpPr txBox="1">
            <a:spLocks noChangeArrowheads="1"/>
          </p:cNvSpPr>
          <p:nvPr/>
        </p:nvSpPr>
        <p:spPr bwMode="auto">
          <a:xfrm>
            <a:off x="7525082" y="1071938"/>
            <a:ext cx="1574944" cy="3785652"/>
          </a:xfrm>
          <a:prstGeom prst="rect">
            <a:avLst/>
          </a:prstGeom>
          <a:solidFill>
            <a:schemeClr val="tx1">
              <a:lumMod val="10000"/>
              <a:lumOff val="90000"/>
            </a:schemeClr>
          </a:solidFill>
          <a:ln>
            <a:noFill/>
          </a:ln>
        </p:spPr>
        <p:txBody>
          <a:bodyPr wrap="square">
            <a:spAutoFit/>
          </a:bodyPr>
          <a:lstStyle>
            <a:lvl1pPr marL="171450" indent="-171450">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buFont typeface="Arial" panose="020B0604020202020204" pitchFamily="34" charset="0"/>
              <a:buChar char="•"/>
            </a:pPr>
            <a:r>
              <a:rPr lang="en-US" altLang="en-US" sz="1000" dirty="0">
                <a:latin typeface="Century Gothic" panose="020B0502020202020204" pitchFamily="34" charset="0"/>
              </a:rPr>
              <a:t>Kenya demonstrates a robust </a:t>
            </a:r>
            <a:r>
              <a:rPr lang="en-US" altLang="en-US" sz="1000" b="1" dirty="0">
                <a:latin typeface="Century Gothic" panose="020B0502020202020204" pitchFamily="34" charset="0"/>
              </a:rPr>
              <a:t>digital payments user penetration rate </a:t>
            </a:r>
            <a:r>
              <a:rPr lang="en-US" altLang="en-US" sz="1000" dirty="0">
                <a:latin typeface="Century Gothic" panose="020B0502020202020204" pitchFamily="34" charset="0"/>
              </a:rPr>
              <a:t>of approximately </a:t>
            </a:r>
            <a:r>
              <a:rPr lang="en-US" altLang="en-US" sz="1000" b="1" dirty="0">
                <a:latin typeface="Century Gothic" panose="020B0502020202020204" pitchFamily="34" charset="0"/>
              </a:rPr>
              <a:t>64%</a:t>
            </a:r>
            <a:r>
              <a:rPr lang="en-US" altLang="en-US" sz="1000" dirty="0">
                <a:latin typeface="Century Gothic" panose="020B0502020202020204" pitchFamily="34" charset="0"/>
              </a:rPr>
              <a:t>, surpassing India (18%), Nigeria (18%), Uganda (50%), and Tanzania (52%). In comparison, leading nations such as Sweden and Singapore exhibit penetration rates of 96% and 89%, respectively.</a:t>
            </a:r>
          </a:p>
          <a:p>
            <a:pPr eaLnBrk="1" hangingPunct="1">
              <a:buFont typeface="Arial" panose="020B0604020202020204" pitchFamily="34" charset="0"/>
              <a:buChar char="•"/>
            </a:pPr>
            <a:r>
              <a:rPr lang="en-US" altLang="en-US" sz="1000" dirty="0">
                <a:latin typeface="Century Gothic" panose="020B0502020202020204" pitchFamily="34" charset="0"/>
              </a:rPr>
              <a:t>In terms of </a:t>
            </a:r>
            <a:r>
              <a:rPr lang="en-US" altLang="en-US" sz="1000" b="1" dirty="0">
                <a:latin typeface="Century Gothic" panose="020B0502020202020204" pitchFamily="34" charset="0"/>
              </a:rPr>
              <a:t>mobile wallet penetration</a:t>
            </a:r>
            <a:r>
              <a:rPr lang="en-US" altLang="en-US" sz="1000" dirty="0">
                <a:latin typeface="Century Gothic" panose="020B0502020202020204" pitchFamily="34" charset="0"/>
              </a:rPr>
              <a:t>, Kenya leads all the comparators at 83% except China at 90</a:t>
            </a:r>
            <a:r>
              <a:rPr lang="en-US" altLang="en-US" sz="900" dirty="0">
                <a:latin typeface="Century Gothic" panose="020B0502020202020204" pitchFamily="34" charset="0"/>
              </a:rPr>
              <a:t>%</a:t>
            </a:r>
          </a:p>
        </p:txBody>
      </p:sp>
      <p:sp>
        <p:nvSpPr>
          <p:cNvPr id="146516" name="TextBox 2">
            <a:extLst>
              <a:ext uri="{FF2B5EF4-FFF2-40B4-BE49-F238E27FC236}">
                <a16:creationId xmlns:a16="http://schemas.microsoft.com/office/drawing/2014/main" id="{5F2025FA-0080-3A69-46F6-A9E7207E5625}"/>
              </a:ext>
            </a:extLst>
          </p:cNvPr>
          <p:cNvSpPr txBox="1">
            <a:spLocks noChangeArrowheads="1"/>
          </p:cNvSpPr>
          <p:nvPr/>
        </p:nvSpPr>
        <p:spPr bwMode="auto">
          <a:xfrm>
            <a:off x="854869" y="4750594"/>
            <a:ext cx="54649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300" dirty="0">
                <a:latin typeface="Century Gothic" panose="020B0502020202020204" pitchFamily="34" charset="0"/>
              </a:rPr>
              <a:t>Sources: Central Banks: Central Bank of Kenya (CBK), </a:t>
            </a:r>
            <a:r>
              <a:rPr lang="en-US" altLang="en-US" sz="300" dirty="0" err="1">
                <a:latin typeface="Century Gothic" panose="020B0502020202020204" pitchFamily="34" charset="0"/>
              </a:rPr>
              <a:t>Sveriges</a:t>
            </a:r>
            <a:r>
              <a:rPr lang="en-US" altLang="en-US" sz="300" dirty="0">
                <a:latin typeface="Century Gothic" panose="020B0502020202020204" pitchFamily="34" charset="0"/>
              </a:rPr>
              <a:t> Riksbank (Swedish Central Bank), Reserve Bank of India (RBI), Bank of Korea, Monetary Authority of Singapore (MAS), People’s Bank of China, South African Reserve Bank (SARB), Central Bank of Nigeria (CBN), Bank of Ghana, Bank Al-Maghrib (Morocco), Central Bank of West African States (BCEAO) for Ivory Coast.</a:t>
            </a:r>
          </a:p>
          <a:p>
            <a:pPr eaLnBrk="1" hangingPunct="1"/>
            <a:r>
              <a:rPr lang="en-US" altLang="en-US" sz="300" dirty="0">
                <a:latin typeface="Century Gothic" panose="020B0502020202020204" pitchFamily="34" charset="0"/>
              </a:rPr>
              <a:t>Communications Authorities: Communications Authority of Kenya (CAK), Nigerian Communications Commission (NCC),</a:t>
            </a:r>
          </a:p>
          <a:p>
            <a:pPr eaLnBrk="1" hangingPunct="1"/>
            <a:r>
              <a:rPr lang="en-US" altLang="en-US" sz="300" dirty="0">
                <a:latin typeface="Century Gothic" panose="020B0502020202020204" pitchFamily="34" charset="0"/>
              </a:rPr>
              <a:t>Market Research Firms: Statista, McKinsey, BCG.</a:t>
            </a:r>
          </a:p>
          <a:p>
            <a:pPr eaLnBrk="1" hangingPunct="1"/>
            <a:r>
              <a:rPr lang="en-US" altLang="en-US" sz="300" dirty="0">
                <a:latin typeface="Century Gothic" panose="020B0502020202020204" pitchFamily="34" charset="0"/>
              </a:rPr>
              <a:t>Mobile Money Providers: Safaricom (Kenya), MTN, Airtel, Orange.</a:t>
            </a:r>
          </a:p>
          <a:p>
            <a:pPr eaLnBrk="1" hangingPunct="1"/>
            <a:endParaRPr lang="en-US" altLang="en-US" sz="300" dirty="0">
              <a:latin typeface="Century Gothic" panose="020B0502020202020204" pitchFamily="34" charset="0"/>
            </a:endParaRPr>
          </a:p>
        </p:txBody>
      </p:sp>
      <p:graphicFrame>
        <p:nvGraphicFramePr>
          <p:cNvPr id="22" name="Table 21">
            <a:extLst>
              <a:ext uri="{FF2B5EF4-FFF2-40B4-BE49-F238E27FC236}">
                <a16:creationId xmlns:a16="http://schemas.microsoft.com/office/drawing/2014/main" id="{F08FF137-E009-05C8-3C93-0BF2F53D44ED}"/>
              </a:ext>
            </a:extLst>
          </p:cNvPr>
          <p:cNvGraphicFramePr>
            <a:graphicFrameLocks noGrp="1"/>
          </p:cNvGraphicFramePr>
          <p:nvPr/>
        </p:nvGraphicFramePr>
        <p:xfrm>
          <a:off x="887016" y="4526756"/>
          <a:ext cx="6378190" cy="194172"/>
        </p:xfrm>
        <a:graphic>
          <a:graphicData uri="http://schemas.openxmlformats.org/drawingml/2006/table">
            <a:tbl>
              <a:tblPr firstRow="1" bandRow="1">
                <a:tableStyleId>{5C22544A-7EE6-4342-B048-85BDC9FD1C3A}</a:tableStyleId>
              </a:tblPr>
              <a:tblGrid>
                <a:gridCol w="455585">
                  <a:extLst>
                    <a:ext uri="{9D8B030D-6E8A-4147-A177-3AD203B41FA5}">
                      <a16:colId xmlns:a16="http://schemas.microsoft.com/office/drawing/2014/main" val="20000"/>
                    </a:ext>
                  </a:extLst>
                </a:gridCol>
                <a:gridCol w="455585">
                  <a:extLst>
                    <a:ext uri="{9D8B030D-6E8A-4147-A177-3AD203B41FA5}">
                      <a16:colId xmlns:a16="http://schemas.microsoft.com/office/drawing/2014/main" val="20001"/>
                    </a:ext>
                  </a:extLst>
                </a:gridCol>
                <a:gridCol w="455585">
                  <a:extLst>
                    <a:ext uri="{9D8B030D-6E8A-4147-A177-3AD203B41FA5}">
                      <a16:colId xmlns:a16="http://schemas.microsoft.com/office/drawing/2014/main" val="20002"/>
                    </a:ext>
                  </a:extLst>
                </a:gridCol>
                <a:gridCol w="455585">
                  <a:extLst>
                    <a:ext uri="{9D8B030D-6E8A-4147-A177-3AD203B41FA5}">
                      <a16:colId xmlns:a16="http://schemas.microsoft.com/office/drawing/2014/main" val="20003"/>
                    </a:ext>
                  </a:extLst>
                </a:gridCol>
                <a:gridCol w="455585">
                  <a:extLst>
                    <a:ext uri="{9D8B030D-6E8A-4147-A177-3AD203B41FA5}">
                      <a16:colId xmlns:a16="http://schemas.microsoft.com/office/drawing/2014/main" val="20004"/>
                    </a:ext>
                  </a:extLst>
                </a:gridCol>
                <a:gridCol w="455585">
                  <a:extLst>
                    <a:ext uri="{9D8B030D-6E8A-4147-A177-3AD203B41FA5}">
                      <a16:colId xmlns:a16="http://schemas.microsoft.com/office/drawing/2014/main" val="20005"/>
                    </a:ext>
                  </a:extLst>
                </a:gridCol>
                <a:gridCol w="455585">
                  <a:extLst>
                    <a:ext uri="{9D8B030D-6E8A-4147-A177-3AD203B41FA5}">
                      <a16:colId xmlns:a16="http://schemas.microsoft.com/office/drawing/2014/main" val="20006"/>
                    </a:ext>
                  </a:extLst>
                </a:gridCol>
                <a:gridCol w="455585">
                  <a:extLst>
                    <a:ext uri="{9D8B030D-6E8A-4147-A177-3AD203B41FA5}">
                      <a16:colId xmlns:a16="http://schemas.microsoft.com/office/drawing/2014/main" val="20007"/>
                    </a:ext>
                  </a:extLst>
                </a:gridCol>
                <a:gridCol w="455585">
                  <a:extLst>
                    <a:ext uri="{9D8B030D-6E8A-4147-A177-3AD203B41FA5}">
                      <a16:colId xmlns:a16="http://schemas.microsoft.com/office/drawing/2014/main" val="20008"/>
                    </a:ext>
                  </a:extLst>
                </a:gridCol>
                <a:gridCol w="455585">
                  <a:extLst>
                    <a:ext uri="{9D8B030D-6E8A-4147-A177-3AD203B41FA5}">
                      <a16:colId xmlns:a16="http://schemas.microsoft.com/office/drawing/2014/main" val="20009"/>
                    </a:ext>
                  </a:extLst>
                </a:gridCol>
                <a:gridCol w="455585">
                  <a:extLst>
                    <a:ext uri="{9D8B030D-6E8A-4147-A177-3AD203B41FA5}">
                      <a16:colId xmlns:a16="http://schemas.microsoft.com/office/drawing/2014/main" val="20010"/>
                    </a:ext>
                  </a:extLst>
                </a:gridCol>
                <a:gridCol w="455585">
                  <a:extLst>
                    <a:ext uri="{9D8B030D-6E8A-4147-A177-3AD203B41FA5}">
                      <a16:colId xmlns:a16="http://schemas.microsoft.com/office/drawing/2014/main" val="20011"/>
                    </a:ext>
                  </a:extLst>
                </a:gridCol>
                <a:gridCol w="455585">
                  <a:extLst>
                    <a:ext uri="{9D8B030D-6E8A-4147-A177-3AD203B41FA5}">
                      <a16:colId xmlns:a16="http://schemas.microsoft.com/office/drawing/2014/main" val="20012"/>
                    </a:ext>
                  </a:extLst>
                </a:gridCol>
                <a:gridCol w="455585">
                  <a:extLst>
                    <a:ext uri="{9D8B030D-6E8A-4147-A177-3AD203B41FA5}">
                      <a16:colId xmlns:a16="http://schemas.microsoft.com/office/drawing/2014/main" val="20013"/>
                    </a:ext>
                  </a:extLst>
                </a:gridCol>
              </a:tblGrid>
              <a:tr h="194172">
                <a:tc>
                  <a:txBody>
                    <a:bodyPr/>
                    <a:lstStyle/>
                    <a:p>
                      <a:r>
                        <a:rPr lang="en-US" sz="800" dirty="0"/>
                        <a:t>55M</a:t>
                      </a:r>
                    </a:p>
                  </a:txBody>
                  <a:tcPr marL="68582" marR="68582" marT="34221" marB="34221"/>
                </a:tc>
                <a:tc>
                  <a:txBody>
                    <a:bodyPr/>
                    <a:lstStyle/>
                    <a:p>
                      <a:r>
                        <a:rPr lang="en-US" sz="800" dirty="0"/>
                        <a:t>50M</a:t>
                      </a:r>
                    </a:p>
                  </a:txBody>
                  <a:tcPr marL="68582" marR="68582" marT="34221" marB="34221"/>
                </a:tc>
                <a:tc>
                  <a:txBody>
                    <a:bodyPr/>
                    <a:lstStyle/>
                    <a:p>
                      <a:r>
                        <a:rPr lang="en-US" sz="800" dirty="0"/>
                        <a:t>67M</a:t>
                      </a:r>
                    </a:p>
                  </a:txBody>
                  <a:tcPr marL="68582" marR="68582" marT="34221" marB="34221"/>
                </a:tc>
                <a:tc>
                  <a:txBody>
                    <a:bodyPr/>
                    <a:lstStyle/>
                    <a:p>
                      <a:r>
                        <a:rPr lang="en-US" sz="800" dirty="0"/>
                        <a:t>13M</a:t>
                      </a:r>
                    </a:p>
                  </a:txBody>
                  <a:tcPr marL="68582" marR="68582" marT="34221" marB="34221"/>
                </a:tc>
                <a:tc>
                  <a:txBody>
                    <a:bodyPr/>
                    <a:lstStyle/>
                    <a:p>
                      <a:r>
                        <a:rPr lang="en-US" sz="800" dirty="0"/>
                        <a:t>37M</a:t>
                      </a:r>
                    </a:p>
                  </a:txBody>
                  <a:tcPr marL="68582" marR="68582" marT="34221" marB="34221"/>
                </a:tc>
                <a:tc>
                  <a:txBody>
                    <a:bodyPr/>
                    <a:lstStyle/>
                    <a:p>
                      <a:r>
                        <a:rPr lang="en-US" sz="800" dirty="0"/>
                        <a:t>29M</a:t>
                      </a:r>
                    </a:p>
                  </a:txBody>
                  <a:tcPr marL="68582" marR="68582" marT="34221" marB="34221"/>
                </a:tc>
                <a:tc>
                  <a:txBody>
                    <a:bodyPr/>
                    <a:lstStyle/>
                    <a:p>
                      <a:r>
                        <a:rPr lang="en-US" sz="800" dirty="0"/>
                        <a:t>34M</a:t>
                      </a:r>
                    </a:p>
                  </a:txBody>
                  <a:tcPr marL="68582" marR="68582" marT="34221" marB="34221"/>
                </a:tc>
                <a:tc>
                  <a:txBody>
                    <a:bodyPr/>
                    <a:lstStyle/>
                    <a:p>
                      <a:r>
                        <a:rPr lang="en-US" sz="800" dirty="0"/>
                        <a:t>224M</a:t>
                      </a:r>
                    </a:p>
                  </a:txBody>
                  <a:tcPr marL="68582" marR="68582" marT="34221" marB="34221"/>
                </a:tc>
                <a:tc>
                  <a:txBody>
                    <a:bodyPr/>
                    <a:lstStyle/>
                    <a:p>
                      <a:r>
                        <a:rPr lang="en-US" sz="800" dirty="0"/>
                        <a:t>61M</a:t>
                      </a:r>
                    </a:p>
                  </a:txBody>
                  <a:tcPr marL="68582" marR="68582" marT="34221" marB="34221"/>
                </a:tc>
                <a:tc>
                  <a:txBody>
                    <a:bodyPr/>
                    <a:lstStyle/>
                    <a:p>
                      <a:r>
                        <a:rPr lang="en-US" sz="800" dirty="0"/>
                        <a:t>10M</a:t>
                      </a:r>
                    </a:p>
                  </a:txBody>
                  <a:tcPr marL="68582" marR="68582" marT="34221" marB="34221"/>
                </a:tc>
                <a:tc>
                  <a:txBody>
                    <a:bodyPr/>
                    <a:lstStyle/>
                    <a:p>
                      <a:r>
                        <a:rPr lang="en-US" sz="800" dirty="0"/>
                        <a:t>1.4B</a:t>
                      </a:r>
                    </a:p>
                  </a:txBody>
                  <a:tcPr marL="68582" marR="68582" marT="34221" marB="34221"/>
                </a:tc>
                <a:tc>
                  <a:txBody>
                    <a:bodyPr/>
                    <a:lstStyle/>
                    <a:p>
                      <a:r>
                        <a:rPr lang="en-US" sz="800" dirty="0"/>
                        <a:t>52M</a:t>
                      </a:r>
                    </a:p>
                  </a:txBody>
                  <a:tcPr marL="68582" marR="68582" marT="34221" marB="34221"/>
                </a:tc>
                <a:tc>
                  <a:txBody>
                    <a:bodyPr/>
                    <a:lstStyle/>
                    <a:p>
                      <a:r>
                        <a:rPr lang="en-US" sz="800" dirty="0"/>
                        <a:t>5.6M</a:t>
                      </a:r>
                    </a:p>
                  </a:txBody>
                  <a:tcPr marL="68582" marR="68582" marT="34221" marB="34221"/>
                </a:tc>
                <a:tc>
                  <a:txBody>
                    <a:bodyPr/>
                    <a:lstStyle/>
                    <a:p>
                      <a:r>
                        <a:rPr lang="en-US" sz="800" dirty="0"/>
                        <a:t>1.4B</a:t>
                      </a:r>
                    </a:p>
                  </a:txBody>
                  <a:tcPr marL="68582" marR="68582" marT="34221" marB="34221"/>
                </a:tc>
                <a:extLst>
                  <a:ext uri="{0D108BD9-81ED-4DB2-BD59-A6C34878D82A}">
                    <a16:rowId xmlns:a16="http://schemas.microsoft.com/office/drawing/2014/main" val="10000"/>
                  </a:ext>
                </a:extLst>
              </a:tr>
            </a:tbl>
          </a:graphicData>
        </a:graphic>
      </p:graphicFrame>
      <p:sp>
        <p:nvSpPr>
          <p:cNvPr id="146549" name="TextBox 31">
            <a:extLst>
              <a:ext uri="{FF2B5EF4-FFF2-40B4-BE49-F238E27FC236}">
                <a16:creationId xmlns:a16="http://schemas.microsoft.com/office/drawing/2014/main" id="{860FA459-644E-9D20-7FBF-684F1A6EA0C3}"/>
              </a:ext>
            </a:extLst>
          </p:cNvPr>
          <p:cNvSpPr txBox="1">
            <a:spLocks noChangeArrowheads="1"/>
          </p:cNvSpPr>
          <p:nvPr/>
        </p:nvSpPr>
        <p:spPr bwMode="auto">
          <a:xfrm>
            <a:off x="301229" y="4482704"/>
            <a:ext cx="60840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isa Dialect Regular" pitchFamily="2" charset="0"/>
              </a:defRPr>
            </a:lvl1pPr>
            <a:lvl2pPr marL="742950" indent="-285750">
              <a:defRPr>
                <a:solidFill>
                  <a:schemeClr val="tx1"/>
                </a:solidFill>
                <a:latin typeface="Visa Dialect Regular" pitchFamily="2" charset="0"/>
              </a:defRPr>
            </a:lvl2pPr>
            <a:lvl3pPr marL="1143000" indent="-228600">
              <a:defRPr>
                <a:solidFill>
                  <a:schemeClr val="tx1"/>
                </a:solidFill>
                <a:latin typeface="Visa Dialect Regular" pitchFamily="2" charset="0"/>
              </a:defRPr>
            </a:lvl3pPr>
            <a:lvl4pPr marL="1600200" indent="-228600">
              <a:defRPr>
                <a:solidFill>
                  <a:schemeClr val="tx1"/>
                </a:solidFill>
                <a:latin typeface="Visa Dialect Regular" pitchFamily="2" charset="0"/>
              </a:defRPr>
            </a:lvl4pPr>
            <a:lvl5pPr marL="2057400" indent="-228600">
              <a:defRPr>
                <a:solidFill>
                  <a:schemeClr val="tx1"/>
                </a:solidFill>
                <a:latin typeface="Visa Dialect Regular" pitchFamily="2" charset="0"/>
              </a:defRPr>
            </a:lvl5pPr>
            <a:lvl6pPr marL="2514600" indent="-228600" eaLnBrk="0" fontAlgn="base" hangingPunct="0">
              <a:spcBef>
                <a:spcPct val="0"/>
              </a:spcBef>
              <a:spcAft>
                <a:spcPct val="0"/>
              </a:spcAft>
              <a:defRPr>
                <a:solidFill>
                  <a:schemeClr val="tx1"/>
                </a:solidFill>
                <a:latin typeface="Visa Dialect Regular" pitchFamily="2" charset="0"/>
              </a:defRPr>
            </a:lvl6pPr>
            <a:lvl7pPr marL="2971800" indent="-228600" eaLnBrk="0" fontAlgn="base" hangingPunct="0">
              <a:spcBef>
                <a:spcPct val="0"/>
              </a:spcBef>
              <a:spcAft>
                <a:spcPct val="0"/>
              </a:spcAft>
              <a:defRPr>
                <a:solidFill>
                  <a:schemeClr val="tx1"/>
                </a:solidFill>
                <a:latin typeface="Visa Dialect Regular" pitchFamily="2" charset="0"/>
              </a:defRPr>
            </a:lvl7pPr>
            <a:lvl8pPr marL="3429000" indent="-228600" eaLnBrk="0" fontAlgn="base" hangingPunct="0">
              <a:spcBef>
                <a:spcPct val="0"/>
              </a:spcBef>
              <a:spcAft>
                <a:spcPct val="0"/>
              </a:spcAft>
              <a:defRPr>
                <a:solidFill>
                  <a:schemeClr val="tx1"/>
                </a:solidFill>
                <a:latin typeface="Visa Dialect Regular" pitchFamily="2" charset="0"/>
              </a:defRPr>
            </a:lvl8pPr>
            <a:lvl9pPr marL="3886200" indent="-228600" eaLnBrk="0" fontAlgn="base" hangingPunct="0">
              <a:spcBef>
                <a:spcPct val="0"/>
              </a:spcBef>
              <a:spcAft>
                <a:spcPct val="0"/>
              </a:spcAft>
              <a:defRPr>
                <a:solidFill>
                  <a:schemeClr val="tx1"/>
                </a:solidFill>
                <a:latin typeface="Visa Dialect Regular" pitchFamily="2" charset="0"/>
              </a:defRPr>
            </a:lvl9pPr>
          </a:lstStyle>
          <a:p>
            <a:pPr algn="ctr" eaLnBrk="1" hangingPunct="1"/>
            <a:r>
              <a:rPr lang="en-US" altLang="en-US" sz="750" b="1" dirty="0">
                <a:latin typeface="Century Gothic" panose="020B0502020202020204" pitchFamily="34" charset="0"/>
              </a:rPr>
              <a:t>Total Population</a:t>
            </a:r>
          </a:p>
        </p:txBody>
      </p:sp>
      <p:sp>
        <p:nvSpPr>
          <p:cNvPr id="4" name="Title 10">
            <a:extLst>
              <a:ext uri="{FF2B5EF4-FFF2-40B4-BE49-F238E27FC236}">
                <a16:creationId xmlns:a16="http://schemas.microsoft.com/office/drawing/2014/main" id="{B483C1EB-88BF-DFC3-254F-5F6355A1D629}"/>
              </a:ext>
            </a:extLst>
          </p:cNvPr>
          <p:cNvSpPr txBox="1">
            <a:spLocks/>
          </p:cNvSpPr>
          <p:nvPr/>
        </p:nvSpPr>
        <p:spPr>
          <a:xfrm>
            <a:off x="-62175" y="45889"/>
            <a:ext cx="54000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b="1" dirty="0">
                <a:solidFill>
                  <a:schemeClr val="tx1"/>
                </a:solidFill>
                <a:latin typeface="Century Gothic" panose="020B0502020202020204" pitchFamily="34" charset="0"/>
              </a:rPr>
              <a:t>15.</a:t>
            </a:r>
          </a:p>
        </p:txBody>
      </p:sp>
      <p:sp>
        <p:nvSpPr>
          <p:cNvPr id="2" name="TextBox 1">
            <a:extLst>
              <a:ext uri="{FF2B5EF4-FFF2-40B4-BE49-F238E27FC236}">
                <a16:creationId xmlns:a16="http://schemas.microsoft.com/office/drawing/2014/main" id="{658B0A5D-E442-84C3-BFB5-90902F2786C1}"/>
              </a:ext>
            </a:extLst>
          </p:cNvPr>
          <p:cNvSpPr txBox="1"/>
          <p:nvPr/>
        </p:nvSpPr>
        <p:spPr>
          <a:xfrm>
            <a:off x="6059686" y="4856933"/>
            <a:ext cx="1289447" cy="215444"/>
          </a:xfrm>
          <a:prstGeom prst="rect">
            <a:avLst/>
          </a:prstGeom>
          <a:noFill/>
        </p:spPr>
        <p:txBody>
          <a:bodyPr wrap="square" rtlCol="0">
            <a:spAutoFit/>
          </a:bodyPr>
          <a:lstStyle/>
          <a:p>
            <a:r>
              <a:rPr lang="en-US" sz="800" i="1" dirty="0">
                <a:latin typeface="Century Gothic" panose="020B0502020202020204" pitchFamily="34" charset="0"/>
              </a:rPr>
              <a:t>Source: Visa</a:t>
            </a:r>
          </a:p>
        </p:txBody>
      </p:sp>
      <p:sp>
        <p:nvSpPr>
          <p:cNvPr id="7" name="TextBox 6">
            <a:extLst>
              <a:ext uri="{FF2B5EF4-FFF2-40B4-BE49-F238E27FC236}">
                <a16:creationId xmlns:a16="http://schemas.microsoft.com/office/drawing/2014/main" id="{EF822B10-7C24-00CB-442E-E07179640AB1}"/>
              </a:ext>
            </a:extLst>
          </p:cNvPr>
          <p:cNvSpPr txBox="1"/>
          <p:nvPr/>
        </p:nvSpPr>
        <p:spPr>
          <a:xfrm>
            <a:off x="7244954" y="-7440"/>
            <a:ext cx="1613701" cy="307777"/>
          </a:xfrm>
          <a:prstGeom prst="rect">
            <a:avLst/>
          </a:prstGeom>
          <a:solidFill>
            <a:schemeClr val="bg1"/>
          </a:solidFill>
          <a:ln>
            <a:solidFill>
              <a:schemeClr val="bg1"/>
            </a:solidFill>
          </a:ln>
        </p:spPr>
        <p:txBody>
          <a:bodyPr wrap="square" rtlCol="0">
            <a:spAutoFit/>
          </a:bodyPr>
          <a:lstStyle/>
          <a:p>
            <a:endParaRPr lang="en-US" dirty="0"/>
          </a:p>
        </p:txBody>
      </p:sp>
      <p:pic>
        <p:nvPicPr>
          <p:cNvPr id="5" name="Picture 4">
            <a:extLst>
              <a:ext uri="{FF2B5EF4-FFF2-40B4-BE49-F238E27FC236}">
                <a16:creationId xmlns:a16="http://schemas.microsoft.com/office/drawing/2014/main" id="{07D694BD-C6AA-35B9-79DF-AD2E20AAD588}"/>
              </a:ext>
            </a:extLst>
          </p:cNvPr>
          <p:cNvPicPr>
            <a:picLocks noChangeAspect="1"/>
          </p:cNvPicPr>
          <p:nvPr/>
        </p:nvPicPr>
        <p:blipFill>
          <a:blip r:embed="rId65"/>
          <a:stretch>
            <a:fillRect/>
          </a:stretch>
        </p:blipFill>
        <p:spPr>
          <a:xfrm>
            <a:off x="8642005" y="-26948"/>
            <a:ext cx="490278" cy="390114"/>
          </a:xfrm>
          <a:prstGeom prst="rect">
            <a:avLst/>
          </a:prstGeom>
        </p:spPr>
      </p:pic>
      <p:sp>
        <p:nvSpPr>
          <p:cNvPr id="8" name="TextBox 7">
            <a:extLst>
              <a:ext uri="{FF2B5EF4-FFF2-40B4-BE49-F238E27FC236}">
                <a16:creationId xmlns:a16="http://schemas.microsoft.com/office/drawing/2014/main" id="{19D666DF-FF60-B892-4E06-F80B99B3FD84}"/>
              </a:ext>
            </a:extLst>
          </p:cNvPr>
          <p:cNvSpPr txBox="1"/>
          <p:nvPr/>
        </p:nvSpPr>
        <p:spPr>
          <a:xfrm>
            <a:off x="392765" y="4712453"/>
            <a:ext cx="525340" cy="307777"/>
          </a:xfrm>
          <a:prstGeom prst="rect">
            <a:avLst/>
          </a:prstGeom>
          <a:solidFill>
            <a:schemeClr val="bg1"/>
          </a:solidFill>
        </p:spPr>
        <p:txBody>
          <a:bodyPr wrap="square" rtlCol="0">
            <a:spAutoFit/>
          </a:bodyPr>
          <a:lstStyle/>
          <a:p>
            <a:endParaRPr lang="en-US" dirty="0"/>
          </a:p>
        </p:txBody>
      </p:sp>
      <p:sp>
        <p:nvSpPr>
          <p:cNvPr id="9" name="TextBox 8">
            <a:extLst>
              <a:ext uri="{FF2B5EF4-FFF2-40B4-BE49-F238E27FC236}">
                <a16:creationId xmlns:a16="http://schemas.microsoft.com/office/drawing/2014/main" id="{D8D516B0-AA24-B9CC-0324-2381C82CE089}"/>
              </a:ext>
            </a:extLst>
          </p:cNvPr>
          <p:cNvSpPr txBox="1"/>
          <p:nvPr/>
        </p:nvSpPr>
        <p:spPr>
          <a:xfrm>
            <a:off x="6773466" y="4691361"/>
            <a:ext cx="743602" cy="213121"/>
          </a:xfrm>
          <a:prstGeom prst="rect">
            <a:avLst/>
          </a:prstGeom>
          <a:solidFill>
            <a:schemeClr val="bg1"/>
          </a:solidFill>
        </p:spPr>
        <p:txBody>
          <a:bodyPr wrap="square" rtlCol="0">
            <a:spAutoFit/>
          </a:bodyPr>
          <a:lstStyle/>
          <a:p>
            <a:endParaRPr lang="en-US" dirty="0"/>
          </a:p>
        </p:txBody>
      </p:sp>
    </p:spTree>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alpha val="50000"/>
          </a:schemeClr>
        </a:solidFill>
        <a:effectLst/>
      </p:bgPr>
    </p:bg>
    <p:spTree>
      <p:nvGrpSpPr>
        <p:cNvPr id="1" name="">
          <a:extLst>
            <a:ext uri="{FF2B5EF4-FFF2-40B4-BE49-F238E27FC236}">
              <a16:creationId xmlns:a16="http://schemas.microsoft.com/office/drawing/2014/main" id="{B74F7095-0D2D-039D-7289-EFA494D50C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145161-F72B-D8C7-58B2-3A023EF6EE3B}"/>
              </a:ext>
            </a:extLst>
          </p:cNvPr>
          <p:cNvSpPr>
            <a:spLocks noGrp="1"/>
          </p:cNvSpPr>
          <p:nvPr>
            <p:ph type="title"/>
          </p:nvPr>
        </p:nvSpPr>
        <p:spPr>
          <a:xfrm>
            <a:off x="1005073" y="71957"/>
            <a:ext cx="7306886" cy="341632"/>
          </a:xfr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a:lstStyle/>
          <a:p>
            <a:pPr marL="8637" algn="ctr">
              <a:spcBef>
                <a:spcPts val="68"/>
              </a:spcBef>
            </a:pPr>
            <a:r>
              <a:rPr lang="en-US" sz="1800" dirty="0">
                <a:latin typeface="Century Gothic" panose="020B0502020202020204" pitchFamily="34" charset="0"/>
              </a:rPr>
              <a:t>Year on Year % Growth on the number of transactions</a:t>
            </a:r>
            <a:endParaRPr lang="en-GB" sz="1800" dirty="0">
              <a:latin typeface="Century Gothic" panose="020B0502020202020204" pitchFamily="34" charset="0"/>
            </a:endParaRPr>
          </a:p>
        </p:txBody>
      </p:sp>
      <p:sp>
        <p:nvSpPr>
          <p:cNvPr id="5" name="Title 9">
            <a:extLst>
              <a:ext uri="{FF2B5EF4-FFF2-40B4-BE49-F238E27FC236}">
                <a16:creationId xmlns:a16="http://schemas.microsoft.com/office/drawing/2014/main" id="{AC94AAD5-AE1F-0B85-6E92-A7703B8AD71F}"/>
              </a:ext>
            </a:extLst>
          </p:cNvPr>
          <p:cNvSpPr txBox="1">
            <a:spLocks/>
          </p:cNvSpPr>
          <p:nvPr/>
        </p:nvSpPr>
        <p:spPr>
          <a:xfrm>
            <a:off x="19625" y="13592"/>
            <a:ext cx="526234"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16.</a:t>
            </a:r>
          </a:p>
        </p:txBody>
      </p:sp>
      <p:pic>
        <p:nvPicPr>
          <p:cNvPr id="4" name="Picture 3">
            <a:extLst>
              <a:ext uri="{FF2B5EF4-FFF2-40B4-BE49-F238E27FC236}">
                <a16:creationId xmlns:a16="http://schemas.microsoft.com/office/drawing/2014/main" id="{3C8FBF16-C77E-5113-2741-697210159387}"/>
              </a:ext>
            </a:extLst>
          </p:cNvPr>
          <p:cNvPicPr>
            <a:picLocks noChangeAspect="1"/>
          </p:cNvPicPr>
          <p:nvPr/>
        </p:nvPicPr>
        <p:blipFill>
          <a:blip r:embed="rId3"/>
          <a:stretch>
            <a:fillRect/>
          </a:stretch>
        </p:blipFill>
        <p:spPr>
          <a:xfrm>
            <a:off x="8577646" y="-21088"/>
            <a:ext cx="584197" cy="460617"/>
          </a:xfrm>
          <a:prstGeom prst="rect">
            <a:avLst/>
          </a:prstGeom>
        </p:spPr>
      </p:pic>
      <p:graphicFrame>
        <p:nvGraphicFramePr>
          <p:cNvPr id="6" name="Chart 5">
            <a:extLst>
              <a:ext uri="{FF2B5EF4-FFF2-40B4-BE49-F238E27FC236}">
                <a16:creationId xmlns:a16="http://schemas.microsoft.com/office/drawing/2014/main" id="{3C2069A6-C5B9-F1CA-BECD-5513C3E2CE99}"/>
              </a:ext>
            </a:extLst>
          </p:cNvPr>
          <p:cNvGraphicFramePr>
            <a:graphicFrameLocks/>
          </p:cNvGraphicFramePr>
          <p:nvPr>
            <p:extLst>
              <p:ext uri="{D42A27DB-BD31-4B8C-83A1-F6EECF244321}">
                <p14:modId xmlns:p14="http://schemas.microsoft.com/office/powerpoint/2010/main" val="4091563365"/>
              </p:ext>
            </p:extLst>
          </p:nvPr>
        </p:nvGraphicFramePr>
        <p:xfrm>
          <a:off x="167297" y="466928"/>
          <a:ext cx="8614806" cy="4396903"/>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D3D4F8BD-777D-DA2C-653C-D19EA12E519F}"/>
              </a:ext>
            </a:extLst>
          </p:cNvPr>
          <p:cNvSpPr txBox="1"/>
          <p:nvPr/>
        </p:nvSpPr>
        <p:spPr>
          <a:xfrm>
            <a:off x="3761362" y="3683540"/>
            <a:ext cx="1387812" cy="584775"/>
          </a:xfrm>
          <a:prstGeom prst="rect">
            <a:avLst/>
          </a:prstGeom>
          <a:noFill/>
        </p:spPr>
        <p:txBody>
          <a:bodyPr wrap="square" rtlCol="0">
            <a:spAutoFit/>
          </a:bodyPr>
          <a:lstStyle/>
          <a:p>
            <a:pPr algn="ctr"/>
            <a:r>
              <a:rPr lang="en-US" sz="1000" i="1" dirty="0">
                <a:latin typeface="Century Gothic" panose="020B0502020202020204" pitchFamily="34" charset="0"/>
              </a:rPr>
              <a:t>Growth between 2020 vs 2024</a:t>
            </a:r>
          </a:p>
          <a:p>
            <a:pPr algn="ctr"/>
            <a:r>
              <a:rPr lang="en-US" sz="1200" b="1" i="1" dirty="0">
                <a:solidFill>
                  <a:srgbClr val="FF0000"/>
                </a:solidFill>
                <a:latin typeface="Century Gothic" panose="020B0502020202020204" pitchFamily="34" charset="0"/>
              </a:rPr>
              <a:t>45%</a:t>
            </a:r>
            <a:endParaRPr lang="en-US" sz="1000" b="1" i="1" dirty="0">
              <a:solidFill>
                <a:srgbClr val="FF0000"/>
              </a:solidFill>
              <a:latin typeface="Century Gothic" panose="020B0502020202020204" pitchFamily="34" charset="0"/>
            </a:endParaRPr>
          </a:p>
        </p:txBody>
      </p:sp>
      <p:sp>
        <p:nvSpPr>
          <p:cNvPr id="10" name="TextBox 9">
            <a:extLst>
              <a:ext uri="{FF2B5EF4-FFF2-40B4-BE49-F238E27FC236}">
                <a16:creationId xmlns:a16="http://schemas.microsoft.com/office/drawing/2014/main" id="{76EF66B3-AE8F-C130-4D6B-F86DA23931A0}"/>
              </a:ext>
            </a:extLst>
          </p:cNvPr>
          <p:cNvSpPr txBox="1"/>
          <p:nvPr/>
        </p:nvSpPr>
        <p:spPr>
          <a:xfrm>
            <a:off x="7483813" y="2666033"/>
            <a:ext cx="1377445" cy="584775"/>
          </a:xfrm>
          <a:prstGeom prst="rect">
            <a:avLst/>
          </a:prstGeom>
          <a:noFill/>
        </p:spPr>
        <p:txBody>
          <a:bodyPr wrap="square" rtlCol="0">
            <a:spAutoFit/>
          </a:bodyPr>
          <a:lstStyle/>
          <a:p>
            <a:pPr algn="ctr"/>
            <a:r>
              <a:rPr lang="en-US" sz="1000" i="1" dirty="0">
                <a:latin typeface="Century Gothic" panose="020B0502020202020204" pitchFamily="34" charset="0"/>
              </a:rPr>
              <a:t>Growth between 2020 vs 2024</a:t>
            </a:r>
          </a:p>
          <a:p>
            <a:pPr algn="ctr"/>
            <a:r>
              <a:rPr lang="en-US" sz="1200" b="1" i="1" dirty="0">
                <a:solidFill>
                  <a:srgbClr val="FF0000"/>
                </a:solidFill>
                <a:latin typeface="Century Gothic" panose="020B0502020202020204" pitchFamily="34" charset="0"/>
              </a:rPr>
              <a:t>11%</a:t>
            </a:r>
          </a:p>
        </p:txBody>
      </p:sp>
      <p:sp>
        <p:nvSpPr>
          <p:cNvPr id="12" name="TextBox 11">
            <a:extLst>
              <a:ext uri="{FF2B5EF4-FFF2-40B4-BE49-F238E27FC236}">
                <a16:creationId xmlns:a16="http://schemas.microsoft.com/office/drawing/2014/main" id="{752B47DC-D7BE-DFEB-9E53-B0022BF3E7E3}"/>
              </a:ext>
            </a:extLst>
          </p:cNvPr>
          <p:cNvSpPr txBox="1"/>
          <p:nvPr/>
        </p:nvSpPr>
        <p:spPr>
          <a:xfrm>
            <a:off x="361898" y="3774331"/>
            <a:ext cx="1447448" cy="584775"/>
          </a:xfrm>
          <a:prstGeom prst="rect">
            <a:avLst/>
          </a:prstGeom>
          <a:noFill/>
        </p:spPr>
        <p:txBody>
          <a:bodyPr wrap="square" rtlCol="0">
            <a:spAutoFit/>
          </a:bodyPr>
          <a:lstStyle/>
          <a:p>
            <a:pPr algn="ctr"/>
            <a:r>
              <a:rPr lang="en-US" sz="1000" i="1" dirty="0">
                <a:latin typeface="Century Gothic" panose="020B0502020202020204" pitchFamily="34" charset="0"/>
              </a:rPr>
              <a:t>Growth between 2020 vs 2024</a:t>
            </a:r>
          </a:p>
          <a:p>
            <a:pPr algn="ctr"/>
            <a:r>
              <a:rPr lang="en-US" sz="1200" b="1" i="1" dirty="0">
                <a:solidFill>
                  <a:srgbClr val="FF0000"/>
                </a:solidFill>
                <a:latin typeface="Century Gothic" panose="020B0502020202020204" pitchFamily="34" charset="0"/>
              </a:rPr>
              <a:t>187%</a:t>
            </a:r>
          </a:p>
        </p:txBody>
      </p:sp>
      <p:sp>
        <p:nvSpPr>
          <p:cNvPr id="3" name="TextBox 2">
            <a:extLst>
              <a:ext uri="{FF2B5EF4-FFF2-40B4-BE49-F238E27FC236}">
                <a16:creationId xmlns:a16="http://schemas.microsoft.com/office/drawing/2014/main" id="{5AD2D9F6-C881-5C5F-5CCF-CFA5A7C2C575}"/>
              </a:ext>
            </a:extLst>
          </p:cNvPr>
          <p:cNvSpPr txBox="1"/>
          <p:nvPr/>
        </p:nvSpPr>
        <p:spPr>
          <a:xfrm>
            <a:off x="282742" y="4802678"/>
            <a:ext cx="1854740" cy="246221"/>
          </a:xfrm>
          <a:prstGeom prst="rect">
            <a:avLst/>
          </a:prstGeom>
          <a:noFill/>
        </p:spPr>
        <p:txBody>
          <a:bodyPr wrap="square" rtlCol="0">
            <a:spAutoFit/>
          </a:bodyPr>
          <a:lstStyle/>
          <a:p>
            <a:r>
              <a:rPr lang="en-US" sz="1000" i="1" dirty="0">
                <a:latin typeface="Century Gothic" panose="020B0502020202020204" pitchFamily="34" charset="0"/>
              </a:rPr>
              <a:t>Source: CBK</a:t>
            </a:r>
          </a:p>
        </p:txBody>
      </p:sp>
    </p:spTree>
    <p:extLst>
      <p:ext uri="{BB962C8B-B14F-4D97-AF65-F5344CB8AC3E}">
        <p14:creationId xmlns:p14="http://schemas.microsoft.com/office/powerpoint/2010/main" val="3373130212"/>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1554" name="think-cell data - do not delete" hidden="1">
            <a:extLst>
              <a:ext uri="{FF2B5EF4-FFF2-40B4-BE49-F238E27FC236}">
                <a16:creationId xmlns:a16="http://schemas.microsoft.com/office/drawing/2014/main" id="{313AC1FB-62E0-2478-CB43-4C782787491A}"/>
              </a:ext>
            </a:extLst>
          </p:cNvPr>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1554" name="think-cell data - do not delete" hidden="1">
                        <a:extLst>
                          <a:ext uri="{FF2B5EF4-FFF2-40B4-BE49-F238E27FC236}">
                            <a16:creationId xmlns:a16="http://schemas.microsoft.com/office/drawing/2014/main" id="{313AC1FB-62E0-2478-CB43-4C78278749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16:creationId xmlns:a16="http://schemas.microsoft.com/office/drawing/2014/main" id="{1B637D87-8D12-95DE-4D0E-45E7978A3FF2}"/>
              </a:ext>
            </a:extLst>
          </p:cNvPr>
          <p:cNvSpPr>
            <a:spLocks noGrp="1"/>
          </p:cNvSpPr>
          <p:nvPr>
            <p:ph type="title"/>
          </p:nvPr>
        </p:nvSpPr>
        <p:spPr>
          <a:xfrm>
            <a:off x="457200" y="422702"/>
            <a:ext cx="8229600" cy="415498"/>
          </a:xfrm>
        </p:spPr>
        <p:txBody>
          <a:bodyPr>
            <a:spAutoFit/>
          </a:bodyPr>
          <a:lstStyle/>
          <a:p>
            <a:pPr>
              <a:defRPr/>
            </a:pPr>
            <a:r>
              <a:rPr lang="en-US" dirty="0">
                <a:solidFill>
                  <a:schemeClr val="accent2">
                    <a:lumMod val="50000"/>
                  </a:schemeClr>
                </a:solidFill>
                <a:latin typeface="Century Gothic" panose="020B0502020202020204" pitchFamily="34" charset="0"/>
              </a:rPr>
              <a:t>Understanding the stages of payment ecosystem development and challenges of every step of transition can guide the actions to take to support growth</a:t>
            </a:r>
          </a:p>
        </p:txBody>
      </p:sp>
      <p:sp>
        <p:nvSpPr>
          <p:cNvPr id="3" name="Text Placeholder 2">
            <a:extLst>
              <a:ext uri="{FF2B5EF4-FFF2-40B4-BE49-F238E27FC236}">
                <a16:creationId xmlns:a16="http://schemas.microsoft.com/office/drawing/2014/main" id="{B4C3FEBD-8EA6-41EC-16B9-D61EDABFD768}"/>
              </a:ext>
            </a:extLst>
          </p:cNvPr>
          <p:cNvSpPr>
            <a:spLocks noGrp="1"/>
          </p:cNvSpPr>
          <p:nvPr>
            <p:ph type="body" sz="quarter" idx="30"/>
          </p:nvPr>
        </p:nvSpPr>
        <p:spPr>
          <a:xfrm>
            <a:off x="1045369" y="4788694"/>
            <a:ext cx="4772025" cy="69056"/>
          </a:xfrm>
        </p:spPr>
        <p:txBody>
          <a:bodyPr rtlCol="0"/>
          <a:lstStyle/>
          <a:p>
            <a:pPr>
              <a:defRPr/>
            </a:pPr>
            <a:r>
              <a:rPr lang="en-US">
                <a:latin typeface="Century Gothic" panose="020B0502020202020204" pitchFamily="34" charset="0"/>
              </a:rPr>
              <a:t>Source: VCA Analysis, Financial Payments Acceptance Incentives report</a:t>
            </a:r>
          </a:p>
        </p:txBody>
      </p:sp>
      <p:grpSp>
        <p:nvGrpSpPr>
          <p:cNvPr id="151557" name="Group 10">
            <a:extLst>
              <a:ext uri="{FF2B5EF4-FFF2-40B4-BE49-F238E27FC236}">
                <a16:creationId xmlns:a16="http://schemas.microsoft.com/office/drawing/2014/main" id="{106F44B1-1BBD-95A5-B64E-231AC2E98CB4}"/>
              </a:ext>
            </a:extLst>
          </p:cNvPr>
          <p:cNvGrpSpPr>
            <a:grpSpLocks/>
          </p:cNvGrpSpPr>
          <p:nvPr/>
        </p:nvGrpSpPr>
        <p:grpSpPr bwMode="auto">
          <a:xfrm>
            <a:off x="6569869" y="1056085"/>
            <a:ext cx="2174081" cy="3444478"/>
            <a:chOff x="8760372" y="1407386"/>
            <a:chExt cx="2898086" cy="4594011"/>
          </a:xfrm>
        </p:grpSpPr>
        <p:sp>
          <p:nvSpPr>
            <p:cNvPr id="5" name="Rectangle: Rounded Corners 4">
              <a:extLst>
                <a:ext uri="{FF2B5EF4-FFF2-40B4-BE49-F238E27FC236}">
                  <a16:creationId xmlns:a16="http://schemas.microsoft.com/office/drawing/2014/main" id="{0BCA2DF0-8755-450D-847F-A4DE49B6C5CA}"/>
                </a:ext>
              </a:extLst>
            </p:cNvPr>
            <p:cNvSpPr/>
            <p:nvPr/>
          </p:nvSpPr>
          <p:spPr>
            <a:xfrm>
              <a:off x="8760372" y="1407386"/>
              <a:ext cx="2898086" cy="4594011"/>
            </a:xfrm>
            <a:prstGeom prst="roundRect">
              <a:avLst>
                <a:gd name="adj" fmla="val 3102"/>
              </a:avLst>
            </a:prstGeom>
            <a:solidFill>
              <a:schemeClr val="tx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342900">
                <a:defRPr/>
              </a:pPr>
              <a:endParaRPr lang="en-US" sz="1050">
                <a:solidFill>
                  <a:srgbClr val="FFFFFF"/>
                </a:solidFill>
              </a:endParaRPr>
            </a:p>
          </p:txBody>
        </p:sp>
        <p:grpSp>
          <p:nvGrpSpPr>
            <p:cNvPr id="151619" name="Group 8">
              <a:extLst>
                <a:ext uri="{FF2B5EF4-FFF2-40B4-BE49-F238E27FC236}">
                  <a16:creationId xmlns:a16="http://schemas.microsoft.com/office/drawing/2014/main" id="{047A53A8-032B-1F00-DC0D-EE9E73204348}"/>
                </a:ext>
              </a:extLst>
            </p:cNvPr>
            <p:cNvGrpSpPr>
              <a:grpSpLocks/>
            </p:cNvGrpSpPr>
            <p:nvPr/>
          </p:nvGrpSpPr>
          <p:grpSpPr bwMode="auto">
            <a:xfrm>
              <a:off x="8855021" y="1502098"/>
              <a:ext cx="2727379" cy="4351690"/>
              <a:chOff x="8855021" y="1502098"/>
              <a:chExt cx="2727379" cy="4351690"/>
            </a:xfrm>
          </p:grpSpPr>
          <p:cxnSp>
            <p:nvCxnSpPr>
              <p:cNvPr id="27" name="Straight Connector 26">
                <a:extLst>
                  <a:ext uri="{FF2B5EF4-FFF2-40B4-BE49-F238E27FC236}">
                    <a16:creationId xmlns:a16="http://schemas.microsoft.com/office/drawing/2014/main" id="{EAB2FA3B-43C2-8714-8F1C-294B68536A2B}"/>
                  </a:ext>
                </a:extLst>
              </p:cNvPr>
              <p:cNvCxnSpPr>
                <a:cxnSpLocks/>
              </p:cNvCxnSpPr>
              <p:nvPr/>
            </p:nvCxnSpPr>
            <p:spPr>
              <a:xfrm>
                <a:off x="8855599" y="1755152"/>
                <a:ext cx="272667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1621" name="TextBox 29">
                <a:extLst>
                  <a:ext uri="{FF2B5EF4-FFF2-40B4-BE49-F238E27FC236}">
                    <a16:creationId xmlns:a16="http://schemas.microsoft.com/office/drawing/2014/main" id="{ABEDE5EA-D87C-528F-E3A2-6E16ADDED47D}"/>
                  </a:ext>
                </a:extLst>
              </p:cNvPr>
              <p:cNvSpPr txBox="1">
                <a:spLocks noChangeArrowheads="1"/>
              </p:cNvSpPr>
              <p:nvPr/>
            </p:nvSpPr>
            <p:spPr bwMode="auto">
              <a:xfrm>
                <a:off x="9487387" y="1502098"/>
                <a:ext cx="1680900" cy="215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algn="ctr" eaLnBrk="1" hangingPunct="1"/>
                <a:r>
                  <a:rPr lang="en-US" altLang="en-US" sz="1050" b="1" dirty="0">
                    <a:solidFill>
                      <a:srgbClr val="000000"/>
                    </a:solidFill>
                    <a:latin typeface="Century Gothic" panose="020B0502020202020204" pitchFamily="34" charset="0"/>
                  </a:rPr>
                  <a:t>Key takeaways</a:t>
                </a:r>
              </a:p>
            </p:txBody>
          </p:sp>
          <p:sp>
            <p:nvSpPr>
              <p:cNvPr id="151622" name="TextBox 30">
                <a:extLst>
                  <a:ext uri="{FF2B5EF4-FFF2-40B4-BE49-F238E27FC236}">
                    <a16:creationId xmlns:a16="http://schemas.microsoft.com/office/drawing/2014/main" id="{231564FC-0778-04A4-6987-67AE8896B7D0}"/>
                  </a:ext>
                </a:extLst>
              </p:cNvPr>
              <p:cNvSpPr txBox="1">
                <a:spLocks noChangeArrowheads="1"/>
              </p:cNvSpPr>
              <p:nvPr/>
            </p:nvSpPr>
            <p:spPr bwMode="auto">
              <a:xfrm>
                <a:off x="8855021" y="1789923"/>
                <a:ext cx="2727379" cy="4063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dirty="0">
                    <a:solidFill>
                      <a:srgbClr val="000000"/>
                    </a:solidFill>
                    <a:latin typeface="Century Gothic" panose="020B0502020202020204" pitchFamily="34" charset="0"/>
                  </a:rPr>
                  <a:t>Electronic Markets</a:t>
                </a:r>
                <a:r>
                  <a:rPr lang="en-US" altLang="en-US" sz="900" dirty="0">
                    <a:solidFill>
                      <a:srgbClr val="000000"/>
                    </a:solidFill>
                    <a:latin typeface="Century Gothic" panose="020B0502020202020204" pitchFamily="34" charset="0"/>
                  </a:rPr>
                  <a:t>: Focus on advancing niche payment methods like mobile wallets and wearables, as cashless payments are already standard</a:t>
                </a:r>
              </a:p>
              <a:p>
                <a:pPr eaLnBrk="1" hangingPunct="1"/>
                <a:endParaRPr lang="en-US" altLang="en-US" sz="900" dirty="0">
                  <a:solidFill>
                    <a:srgbClr val="000000"/>
                  </a:solidFill>
                  <a:latin typeface="Century Gothic" panose="020B0502020202020204" pitchFamily="34" charset="0"/>
                </a:endParaRPr>
              </a:p>
              <a:p>
                <a:pPr eaLnBrk="1" hangingPunct="1"/>
                <a:r>
                  <a:rPr lang="en-US" altLang="en-US" sz="900" b="1" dirty="0">
                    <a:solidFill>
                      <a:srgbClr val="000000"/>
                    </a:solidFill>
                    <a:latin typeface="Century Gothic" panose="020B0502020202020204" pitchFamily="34" charset="0"/>
                  </a:rPr>
                  <a:t>Cash-Centric Economies</a:t>
                </a:r>
                <a:r>
                  <a:rPr lang="en-US" altLang="en-US" sz="900" dirty="0">
                    <a:solidFill>
                      <a:srgbClr val="000000"/>
                    </a:solidFill>
                    <a:latin typeface="Century Gothic" panose="020B0502020202020204" pitchFamily="34" charset="0"/>
                  </a:rPr>
                  <a:t>: Require infrastructure upgrades and trust-building measures, like fraud prevention, to boost adoption</a:t>
                </a:r>
              </a:p>
              <a:p>
                <a:pPr eaLnBrk="1" hangingPunct="1"/>
                <a:endParaRPr lang="en-US" altLang="en-US" sz="900" dirty="0">
                  <a:solidFill>
                    <a:srgbClr val="000000"/>
                  </a:solidFill>
                  <a:latin typeface="Century Gothic" panose="020B0502020202020204" pitchFamily="34" charset="0"/>
                </a:endParaRPr>
              </a:p>
              <a:p>
                <a:pPr eaLnBrk="1" hangingPunct="1"/>
                <a:r>
                  <a:rPr lang="en-US" altLang="en-US" sz="900" b="1" dirty="0">
                    <a:solidFill>
                      <a:srgbClr val="000000"/>
                    </a:solidFill>
                    <a:latin typeface="Century Gothic" panose="020B0502020202020204" pitchFamily="34" charset="0"/>
                  </a:rPr>
                  <a:t>Transitioning Markets</a:t>
                </a:r>
                <a:r>
                  <a:rPr lang="en-US" altLang="en-US" sz="900" dirty="0">
                    <a:solidFill>
                      <a:srgbClr val="000000"/>
                    </a:solidFill>
                    <a:latin typeface="Century Gothic" panose="020B0502020202020204" pitchFamily="34" charset="0"/>
                  </a:rPr>
                  <a:t>: Governments and businesses use incentives to drive electronic payment adoption</a:t>
                </a:r>
              </a:p>
              <a:p>
                <a:pPr eaLnBrk="1" hangingPunct="1"/>
                <a:endParaRPr lang="en-US" altLang="en-US" sz="900" dirty="0">
                  <a:solidFill>
                    <a:srgbClr val="000000"/>
                  </a:solidFill>
                  <a:latin typeface="Century Gothic" panose="020B0502020202020204" pitchFamily="34" charset="0"/>
                </a:endParaRPr>
              </a:p>
              <a:p>
                <a:pPr eaLnBrk="1" hangingPunct="1"/>
                <a:r>
                  <a:rPr lang="en-US" altLang="en-US" sz="900" b="1" dirty="0">
                    <a:solidFill>
                      <a:srgbClr val="000000"/>
                    </a:solidFill>
                    <a:latin typeface="Century Gothic" panose="020B0502020202020204" pitchFamily="34" charset="0"/>
                  </a:rPr>
                  <a:t>Resistant Markets</a:t>
                </a:r>
                <a:r>
                  <a:rPr lang="en-US" altLang="en-US" sz="900" dirty="0">
                    <a:solidFill>
                      <a:srgbClr val="000000"/>
                    </a:solidFill>
                    <a:latin typeface="Century Gothic" panose="020B0502020202020204" pitchFamily="34" charset="0"/>
                  </a:rPr>
                  <a:t>: Campaigns highlighting convenience and security, especially for tourism, can encourage adoption</a:t>
                </a:r>
              </a:p>
              <a:p>
                <a:pPr eaLnBrk="1" hangingPunct="1"/>
                <a:endParaRPr lang="en-US" altLang="en-US" sz="900" dirty="0">
                  <a:solidFill>
                    <a:srgbClr val="1434CB"/>
                  </a:solidFill>
                </a:endParaRPr>
              </a:p>
              <a:p>
                <a:pPr eaLnBrk="1" hangingPunct="1"/>
                <a:endParaRPr lang="en-US" altLang="en-US" sz="900" dirty="0">
                  <a:solidFill>
                    <a:srgbClr val="1434CB"/>
                  </a:solidFill>
                </a:endParaRPr>
              </a:p>
              <a:p>
                <a:pPr eaLnBrk="1" hangingPunct="1"/>
                <a:endParaRPr lang="en-US" altLang="en-US" sz="900" dirty="0">
                  <a:solidFill>
                    <a:srgbClr val="1434CB"/>
                  </a:solidFill>
                </a:endParaRPr>
              </a:p>
            </p:txBody>
          </p:sp>
        </p:grpSp>
      </p:grpSp>
      <p:sp>
        <p:nvSpPr>
          <p:cNvPr id="4" name="Rectangle 3">
            <a:extLst>
              <a:ext uri="{FF2B5EF4-FFF2-40B4-BE49-F238E27FC236}">
                <a16:creationId xmlns:a16="http://schemas.microsoft.com/office/drawing/2014/main" id="{13357DB8-2EA9-3B8B-0B4C-49CA3B1C5D7B}"/>
              </a:ext>
            </a:extLst>
          </p:cNvPr>
          <p:cNvSpPr/>
          <p:nvPr/>
        </p:nvSpPr>
        <p:spPr>
          <a:xfrm>
            <a:off x="1438275" y="1322785"/>
            <a:ext cx="4969669" cy="31837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342900">
              <a:defRPr/>
            </a:pPr>
            <a:endParaRPr lang="en-US" sz="1050" dirty="0">
              <a:solidFill>
                <a:srgbClr val="FFFFFF"/>
              </a:solidFill>
              <a:latin typeface="Century Gothic" panose="020B0502020202020204" pitchFamily="34" charset="0"/>
            </a:endParaRPr>
          </a:p>
        </p:txBody>
      </p:sp>
      <p:sp>
        <p:nvSpPr>
          <p:cNvPr id="151559" name="TextBox 11">
            <a:extLst>
              <a:ext uri="{FF2B5EF4-FFF2-40B4-BE49-F238E27FC236}">
                <a16:creationId xmlns:a16="http://schemas.microsoft.com/office/drawing/2014/main" id="{BE1F95AD-0D53-EB9A-4C14-521F5B47CCF4}"/>
              </a:ext>
            </a:extLst>
          </p:cNvPr>
          <p:cNvSpPr txBox="1">
            <a:spLocks noChangeArrowheads="1"/>
          </p:cNvSpPr>
          <p:nvPr/>
        </p:nvSpPr>
        <p:spPr bwMode="auto">
          <a:xfrm>
            <a:off x="457201" y="2671763"/>
            <a:ext cx="10036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1200" b="1" dirty="0">
                <a:solidFill>
                  <a:srgbClr val="000000"/>
                </a:solidFill>
                <a:latin typeface="Century Gothic" panose="020B0502020202020204" pitchFamily="34" charset="0"/>
                <a:cs typeface="Arial" panose="020B0604020202020204" pitchFamily="34" charset="0"/>
              </a:rPr>
              <a:t>Consumer adoption</a:t>
            </a:r>
          </a:p>
        </p:txBody>
      </p:sp>
      <p:sp>
        <p:nvSpPr>
          <p:cNvPr id="151560" name="TextBox 12">
            <a:extLst>
              <a:ext uri="{FF2B5EF4-FFF2-40B4-BE49-F238E27FC236}">
                <a16:creationId xmlns:a16="http://schemas.microsoft.com/office/drawing/2014/main" id="{D34237C0-3E59-2ABA-4F68-9684546A5683}"/>
              </a:ext>
            </a:extLst>
          </p:cNvPr>
          <p:cNvSpPr txBox="1">
            <a:spLocks noChangeArrowheads="1"/>
          </p:cNvSpPr>
          <p:nvPr/>
        </p:nvSpPr>
        <p:spPr bwMode="auto">
          <a:xfrm>
            <a:off x="1469232" y="4514851"/>
            <a:ext cx="50041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algn="ctr" eaLnBrk="1" hangingPunct="1"/>
            <a:r>
              <a:rPr lang="en-US" altLang="en-US" sz="1200" b="1" dirty="0">
                <a:solidFill>
                  <a:srgbClr val="000000"/>
                </a:solidFill>
                <a:latin typeface="Century Gothic" panose="020B0502020202020204" pitchFamily="34" charset="0"/>
                <a:cs typeface="Arial" panose="020B0604020202020204" pitchFamily="34" charset="0"/>
              </a:rPr>
              <a:t>Acceptance Promotion</a:t>
            </a:r>
          </a:p>
        </p:txBody>
      </p:sp>
      <p:sp>
        <p:nvSpPr>
          <p:cNvPr id="151561" name="TextBox 13">
            <a:extLst>
              <a:ext uri="{FF2B5EF4-FFF2-40B4-BE49-F238E27FC236}">
                <a16:creationId xmlns:a16="http://schemas.microsoft.com/office/drawing/2014/main" id="{50BA8EAD-8E55-00AE-2BD3-51A8924B6E44}"/>
              </a:ext>
            </a:extLst>
          </p:cNvPr>
          <p:cNvSpPr txBox="1">
            <a:spLocks noChangeArrowheads="1"/>
          </p:cNvSpPr>
          <p:nvPr/>
        </p:nvSpPr>
        <p:spPr bwMode="auto">
          <a:xfrm>
            <a:off x="1574007" y="1358503"/>
            <a:ext cx="110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1200" b="1" i="1" dirty="0">
                <a:solidFill>
                  <a:srgbClr val="1434CB"/>
                </a:solidFill>
                <a:latin typeface="Century Gothic" panose="020B0502020202020204" pitchFamily="34" charset="0"/>
                <a:cs typeface="Arial" panose="020B0604020202020204" pitchFamily="34" charset="0"/>
              </a:rPr>
              <a:t>Transition</a:t>
            </a:r>
          </a:p>
        </p:txBody>
      </p:sp>
      <p:sp>
        <p:nvSpPr>
          <p:cNvPr id="151562" name="TextBox 14">
            <a:extLst>
              <a:ext uri="{FF2B5EF4-FFF2-40B4-BE49-F238E27FC236}">
                <a16:creationId xmlns:a16="http://schemas.microsoft.com/office/drawing/2014/main" id="{96EB14C7-4241-5735-3B59-D7B587947D3D}"/>
              </a:ext>
            </a:extLst>
          </p:cNvPr>
          <p:cNvSpPr txBox="1">
            <a:spLocks noChangeArrowheads="1"/>
          </p:cNvSpPr>
          <p:nvPr/>
        </p:nvSpPr>
        <p:spPr bwMode="auto">
          <a:xfrm>
            <a:off x="4002882" y="1358503"/>
            <a:ext cx="110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1200" b="1" i="1">
                <a:solidFill>
                  <a:srgbClr val="1434CB"/>
                </a:solidFill>
                <a:latin typeface="Century Gothic" panose="020B0502020202020204" pitchFamily="34" charset="0"/>
                <a:cs typeface="Arial" panose="020B0604020202020204" pitchFamily="34" charset="0"/>
              </a:rPr>
              <a:t>Electronic</a:t>
            </a:r>
          </a:p>
        </p:txBody>
      </p:sp>
      <p:sp>
        <p:nvSpPr>
          <p:cNvPr id="151563" name="TextBox 15">
            <a:extLst>
              <a:ext uri="{FF2B5EF4-FFF2-40B4-BE49-F238E27FC236}">
                <a16:creationId xmlns:a16="http://schemas.microsoft.com/office/drawing/2014/main" id="{A8DAD0E2-120C-C8A4-35BF-02C8FED2EEBA}"/>
              </a:ext>
            </a:extLst>
          </p:cNvPr>
          <p:cNvSpPr txBox="1">
            <a:spLocks noChangeArrowheads="1"/>
          </p:cNvSpPr>
          <p:nvPr/>
        </p:nvSpPr>
        <p:spPr bwMode="auto">
          <a:xfrm>
            <a:off x="1574006" y="2993231"/>
            <a:ext cx="14144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1200" b="1" i="1" dirty="0">
                <a:solidFill>
                  <a:srgbClr val="1434CB"/>
                </a:solidFill>
                <a:latin typeface="Century Gothic" panose="020B0502020202020204" pitchFamily="34" charset="0"/>
                <a:cs typeface="Arial" panose="020B0604020202020204" pitchFamily="34" charset="0"/>
              </a:rPr>
              <a:t>Cash-centric</a:t>
            </a:r>
          </a:p>
        </p:txBody>
      </p:sp>
      <p:sp>
        <p:nvSpPr>
          <p:cNvPr id="151564" name="TextBox 16">
            <a:extLst>
              <a:ext uri="{FF2B5EF4-FFF2-40B4-BE49-F238E27FC236}">
                <a16:creationId xmlns:a16="http://schemas.microsoft.com/office/drawing/2014/main" id="{62AEEEF8-342D-9730-8B9F-E28B24B16B75}"/>
              </a:ext>
            </a:extLst>
          </p:cNvPr>
          <p:cNvSpPr txBox="1">
            <a:spLocks noChangeArrowheads="1"/>
          </p:cNvSpPr>
          <p:nvPr/>
        </p:nvSpPr>
        <p:spPr bwMode="auto">
          <a:xfrm>
            <a:off x="4002882" y="2993231"/>
            <a:ext cx="18359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1200" b="1" i="1" dirty="0">
                <a:solidFill>
                  <a:srgbClr val="1434CB"/>
                </a:solidFill>
                <a:latin typeface="Century Gothic" panose="020B0502020202020204" pitchFamily="34" charset="0"/>
                <a:cs typeface="Arial" panose="020B0604020202020204" pitchFamily="34" charset="0"/>
              </a:rPr>
              <a:t>Resisting Transition</a:t>
            </a:r>
          </a:p>
        </p:txBody>
      </p:sp>
      <p:sp>
        <p:nvSpPr>
          <p:cNvPr id="151565" name="TextBox 20">
            <a:extLst>
              <a:ext uri="{FF2B5EF4-FFF2-40B4-BE49-F238E27FC236}">
                <a16:creationId xmlns:a16="http://schemas.microsoft.com/office/drawing/2014/main" id="{780D5827-1D1A-38C7-93D3-3E5AEB4D884B}"/>
              </a:ext>
            </a:extLst>
          </p:cNvPr>
          <p:cNvSpPr txBox="1">
            <a:spLocks noChangeArrowheads="1"/>
          </p:cNvSpPr>
          <p:nvPr/>
        </p:nvSpPr>
        <p:spPr bwMode="auto">
          <a:xfrm>
            <a:off x="1460898" y="4517231"/>
            <a:ext cx="38695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a:solidFill>
                  <a:srgbClr val="1434CB"/>
                </a:solidFill>
                <a:cs typeface="Arial" panose="020B0604020202020204" pitchFamily="34" charset="0"/>
              </a:rPr>
              <a:t>Low</a:t>
            </a:r>
          </a:p>
        </p:txBody>
      </p:sp>
      <p:sp>
        <p:nvSpPr>
          <p:cNvPr id="151566" name="TextBox 21">
            <a:extLst>
              <a:ext uri="{FF2B5EF4-FFF2-40B4-BE49-F238E27FC236}">
                <a16:creationId xmlns:a16="http://schemas.microsoft.com/office/drawing/2014/main" id="{4EA560CA-AE69-3CAD-5481-A9C3D4E38224}"/>
              </a:ext>
            </a:extLst>
          </p:cNvPr>
          <p:cNvSpPr txBox="1">
            <a:spLocks noChangeArrowheads="1"/>
          </p:cNvSpPr>
          <p:nvPr/>
        </p:nvSpPr>
        <p:spPr bwMode="auto">
          <a:xfrm>
            <a:off x="5955507" y="4517231"/>
            <a:ext cx="5095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dirty="0">
                <a:solidFill>
                  <a:srgbClr val="1434CB"/>
                </a:solidFill>
                <a:latin typeface="Century Gothic" panose="020B0502020202020204" pitchFamily="34" charset="0"/>
                <a:cs typeface="Arial" panose="020B0604020202020204" pitchFamily="34" charset="0"/>
              </a:rPr>
              <a:t>High</a:t>
            </a:r>
          </a:p>
        </p:txBody>
      </p:sp>
      <p:sp>
        <p:nvSpPr>
          <p:cNvPr id="151567" name="TextBox 31">
            <a:extLst>
              <a:ext uri="{FF2B5EF4-FFF2-40B4-BE49-F238E27FC236}">
                <a16:creationId xmlns:a16="http://schemas.microsoft.com/office/drawing/2014/main" id="{BCD99306-D6A6-ACDC-7A9B-63965A46450A}"/>
              </a:ext>
            </a:extLst>
          </p:cNvPr>
          <p:cNvSpPr txBox="1">
            <a:spLocks noChangeArrowheads="1"/>
          </p:cNvSpPr>
          <p:nvPr/>
        </p:nvSpPr>
        <p:spPr bwMode="auto">
          <a:xfrm>
            <a:off x="1574007" y="2627710"/>
            <a:ext cx="21978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1434CB"/>
                </a:solidFill>
                <a:latin typeface="Century Gothic" panose="020B0502020202020204" pitchFamily="34" charset="0"/>
                <a:cs typeface="Arial" panose="020B0604020202020204" pitchFamily="34" charset="0"/>
              </a:rPr>
              <a:t>UAE, Saudi Arabia, South Africa, Taiwan, Malaysia, Uruguay, Russia, Venezuela, Poland, Kenya</a:t>
            </a:r>
          </a:p>
        </p:txBody>
      </p:sp>
      <p:sp>
        <p:nvSpPr>
          <p:cNvPr id="151568" name="TextBox 32">
            <a:extLst>
              <a:ext uri="{FF2B5EF4-FFF2-40B4-BE49-F238E27FC236}">
                <a16:creationId xmlns:a16="http://schemas.microsoft.com/office/drawing/2014/main" id="{B2E17AF5-4A90-BCF0-C26A-4DA2FD2EF742}"/>
              </a:ext>
            </a:extLst>
          </p:cNvPr>
          <p:cNvSpPr txBox="1">
            <a:spLocks noChangeArrowheads="1"/>
          </p:cNvSpPr>
          <p:nvPr/>
        </p:nvSpPr>
        <p:spPr bwMode="auto">
          <a:xfrm>
            <a:off x="4002881" y="2627710"/>
            <a:ext cx="24300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1434CB"/>
                </a:solidFill>
                <a:latin typeface="Century Gothic" panose="020B0502020202020204" pitchFamily="34" charset="0"/>
                <a:cs typeface="Arial" panose="020B0604020202020204" pitchFamily="34" charset="0"/>
              </a:rPr>
              <a:t>Australia, South Korea, United Kingdom, Sweden, France, Canada, United States</a:t>
            </a:r>
          </a:p>
        </p:txBody>
      </p:sp>
      <p:sp>
        <p:nvSpPr>
          <p:cNvPr id="151569" name="TextBox 33">
            <a:extLst>
              <a:ext uri="{FF2B5EF4-FFF2-40B4-BE49-F238E27FC236}">
                <a16:creationId xmlns:a16="http://schemas.microsoft.com/office/drawing/2014/main" id="{A70AD1C1-B94C-DC98-6DDE-D705288A3883}"/>
              </a:ext>
            </a:extLst>
          </p:cNvPr>
          <p:cNvSpPr txBox="1">
            <a:spLocks noChangeArrowheads="1"/>
          </p:cNvSpPr>
          <p:nvPr/>
        </p:nvSpPr>
        <p:spPr bwMode="auto">
          <a:xfrm>
            <a:off x="4002881" y="4238625"/>
            <a:ext cx="243006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1434CB"/>
                </a:solidFill>
                <a:cs typeface="Arial" panose="020B0604020202020204" pitchFamily="34" charset="0"/>
              </a:rPr>
              <a:t>Japan, </a:t>
            </a:r>
            <a:r>
              <a:rPr lang="en-US" altLang="en-US" sz="600" dirty="0">
                <a:solidFill>
                  <a:srgbClr val="1434CB"/>
                </a:solidFill>
                <a:latin typeface="Century Gothic" panose="020B0502020202020204" pitchFamily="34" charset="0"/>
                <a:cs typeface="Arial" panose="020B0604020202020204" pitchFamily="34" charset="0"/>
              </a:rPr>
              <a:t>Greece</a:t>
            </a:r>
            <a:r>
              <a:rPr lang="en-US" altLang="en-US" sz="600" dirty="0">
                <a:solidFill>
                  <a:srgbClr val="1434CB"/>
                </a:solidFill>
                <a:cs typeface="Arial" panose="020B0604020202020204" pitchFamily="34" charset="0"/>
              </a:rPr>
              <a:t>, Spain, Italy</a:t>
            </a:r>
          </a:p>
        </p:txBody>
      </p:sp>
      <p:sp>
        <p:nvSpPr>
          <p:cNvPr id="151570" name="TextBox 34">
            <a:extLst>
              <a:ext uri="{FF2B5EF4-FFF2-40B4-BE49-F238E27FC236}">
                <a16:creationId xmlns:a16="http://schemas.microsoft.com/office/drawing/2014/main" id="{A3A61BB3-AC2F-54CB-F0E4-1B409F05C443}"/>
              </a:ext>
            </a:extLst>
          </p:cNvPr>
          <p:cNvSpPr txBox="1">
            <a:spLocks noChangeArrowheads="1"/>
          </p:cNvSpPr>
          <p:nvPr/>
        </p:nvSpPr>
        <p:spPr bwMode="auto">
          <a:xfrm>
            <a:off x="1574007" y="4238625"/>
            <a:ext cx="21978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1434CB"/>
                </a:solidFill>
                <a:latin typeface="Century Gothic" panose="020B0502020202020204" pitchFamily="34" charset="0"/>
                <a:cs typeface="Arial" panose="020B0604020202020204" pitchFamily="34" charset="0"/>
              </a:rPr>
              <a:t>Azerbaijan, Egypt, Myanmar, India, Vietnam, Indonesia, Romania, Ukraine, Guatemala, Morocco</a:t>
            </a:r>
          </a:p>
        </p:txBody>
      </p:sp>
      <p:cxnSp>
        <p:nvCxnSpPr>
          <p:cNvPr id="10" name="Straight Connector 9">
            <a:extLst>
              <a:ext uri="{FF2B5EF4-FFF2-40B4-BE49-F238E27FC236}">
                <a16:creationId xmlns:a16="http://schemas.microsoft.com/office/drawing/2014/main" id="{E9170E30-E73B-2227-B21F-C5CE6AFE8FA7}"/>
              </a:ext>
            </a:extLst>
          </p:cNvPr>
          <p:cNvCxnSpPr>
            <a:cxnSpLocks/>
          </p:cNvCxnSpPr>
          <p:nvPr/>
        </p:nvCxnSpPr>
        <p:spPr>
          <a:xfrm flipV="1">
            <a:off x="1428750" y="4500563"/>
            <a:ext cx="4979194" cy="0"/>
          </a:xfrm>
          <a:prstGeom prst="line">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AEEACB-B975-CC94-6C14-5259DACD5541}"/>
              </a:ext>
            </a:extLst>
          </p:cNvPr>
          <p:cNvCxnSpPr>
            <a:cxnSpLocks/>
          </p:cNvCxnSpPr>
          <p:nvPr/>
        </p:nvCxnSpPr>
        <p:spPr>
          <a:xfrm flipV="1">
            <a:off x="1429941" y="1331119"/>
            <a:ext cx="0" cy="3175397"/>
          </a:xfrm>
          <a:prstGeom prst="line">
            <a:avLst/>
          </a:prstGeom>
          <a:ln w="1905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17714B3-8563-902D-AFB0-C62164BADD65}"/>
              </a:ext>
            </a:extLst>
          </p:cNvPr>
          <p:cNvCxnSpPr>
            <a:cxnSpLocks/>
          </p:cNvCxnSpPr>
          <p:nvPr/>
        </p:nvCxnSpPr>
        <p:spPr>
          <a:xfrm>
            <a:off x="1428750" y="2864644"/>
            <a:ext cx="497919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58D9D83-2B8A-7871-2A36-A135C3BA3D41}"/>
              </a:ext>
            </a:extLst>
          </p:cNvPr>
          <p:cNvCxnSpPr>
            <a:cxnSpLocks/>
          </p:cNvCxnSpPr>
          <p:nvPr/>
        </p:nvCxnSpPr>
        <p:spPr>
          <a:xfrm>
            <a:off x="3821906" y="1331119"/>
            <a:ext cx="0" cy="3159919"/>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51575" name="TextBox 24">
            <a:extLst>
              <a:ext uri="{FF2B5EF4-FFF2-40B4-BE49-F238E27FC236}">
                <a16:creationId xmlns:a16="http://schemas.microsoft.com/office/drawing/2014/main" id="{D22E4AB0-52D8-277A-6C28-199C40195320}"/>
              </a:ext>
            </a:extLst>
          </p:cNvPr>
          <p:cNvSpPr txBox="1">
            <a:spLocks noChangeArrowheads="1"/>
          </p:cNvSpPr>
          <p:nvPr/>
        </p:nvSpPr>
        <p:spPr bwMode="auto">
          <a:xfrm>
            <a:off x="937022" y="4277916"/>
            <a:ext cx="4238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dirty="0">
                <a:solidFill>
                  <a:srgbClr val="1434CB"/>
                </a:solidFill>
                <a:latin typeface="Century Gothic" panose="020B0502020202020204" pitchFamily="34" charset="0"/>
                <a:cs typeface="Arial" panose="020B0604020202020204" pitchFamily="34" charset="0"/>
              </a:rPr>
              <a:t>Low</a:t>
            </a:r>
          </a:p>
        </p:txBody>
      </p:sp>
      <p:sp>
        <p:nvSpPr>
          <p:cNvPr id="151576" name="TextBox 25">
            <a:extLst>
              <a:ext uri="{FF2B5EF4-FFF2-40B4-BE49-F238E27FC236}">
                <a16:creationId xmlns:a16="http://schemas.microsoft.com/office/drawing/2014/main" id="{E0AA8F76-91D6-6E63-CD83-E6221488A083}"/>
              </a:ext>
            </a:extLst>
          </p:cNvPr>
          <p:cNvSpPr txBox="1">
            <a:spLocks noChangeArrowheads="1"/>
          </p:cNvSpPr>
          <p:nvPr/>
        </p:nvSpPr>
        <p:spPr bwMode="auto">
          <a:xfrm>
            <a:off x="854688" y="1375172"/>
            <a:ext cx="46333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dirty="0">
                <a:solidFill>
                  <a:srgbClr val="1434CB"/>
                </a:solidFill>
                <a:latin typeface="Century Gothic" panose="020B0502020202020204" pitchFamily="34" charset="0"/>
                <a:cs typeface="Arial" panose="020B0604020202020204" pitchFamily="34" charset="0"/>
              </a:rPr>
              <a:t>High</a:t>
            </a:r>
          </a:p>
        </p:txBody>
      </p:sp>
      <p:pic>
        <p:nvPicPr>
          <p:cNvPr id="39" name="Picture 14" descr="uae mf">
            <a:extLst>
              <a:ext uri="{FF2B5EF4-FFF2-40B4-BE49-F238E27FC236}">
                <a16:creationId xmlns:a16="http://schemas.microsoft.com/office/drawing/2014/main" id="{362EA5D0-80E6-9F74-A164-6EB9A7DB0FA9}"/>
              </a:ext>
            </a:extLst>
          </p:cNvPr>
          <p:cNvPicPr>
            <a:picLocks noChangeAspect="1" noChangeArrowheads="1"/>
          </p:cNvPicPr>
          <p:nvPr/>
        </p:nvPicPr>
        <p:blipFill>
          <a:blip r:embed="rId6" cstate="email"/>
          <a:srcRect l="4378" r="14394"/>
          <a:stretch>
            <a:fillRect/>
          </a:stretch>
        </p:blipFill>
        <p:spPr bwMode="auto">
          <a:xfrm>
            <a:off x="1974644" y="1920565"/>
            <a:ext cx="377721" cy="251814"/>
          </a:xfrm>
          <a:prstGeom prst="roundRect">
            <a:avLst>
              <a:gd name="adj" fmla="val 8594"/>
            </a:avLst>
          </a:prstGeom>
          <a:solidFill>
            <a:srgbClr val="FFFFFF">
              <a:shade val="85000"/>
            </a:srgbClr>
          </a:solidFill>
          <a:ln>
            <a:noFill/>
          </a:ln>
          <a:effectLst/>
        </p:spPr>
      </p:pic>
      <p:pic>
        <p:nvPicPr>
          <p:cNvPr id="41" name="Picture 8" descr="saudi-arabien mf">
            <a:extLst>
              <a:ext uri="{FF2B5EF4-FFF2-40B4-BE49-F238E27FC236}">
                <a16:creationId xmlns:a16="http://schemas.microsoft.com/office/drawing/2014/main" id="{8A5DFE3E-BFB8-AC78-ADC3-E8550EF5DF98}"/>
              </a:ext>
            </a:extLst>
          </p:cNvPr>
          <p:cNvPicPr>
            <a:picLocks noChangeAspect="1" noChangeArrowheads="1"/>
          </p:cNvPicPr>
          <p:nvPr/>
        </p:nvPicPr>
        <p:blipFill>
          <a:blip r:embed="rId7" cstate="email"/>
          <a:srcRect/>
          <a:stretch>
            <a:fillRect/>
          </a:stretch>
        </p:blipFill>
        <p:spPr bwMode="auto">
          <a:xfrm>
            <a:off x="1980590" y="2218190"/>
            <a:ext cx="377721" cy="251673"/>
          </a:xfrm>
          <a:prstGeom prst="roundRect">
            <a:avLst>
              <a:gd name="adj" fmla="val 8594"/>
            </a:avLst>
          </a:prstGeom>
          <a:solidFill>
            <a:srgbClr val="FFFFFF">
              <a:shade val="85000"/>
            </a:srgbClr>
          </a:solidFill>
          <a:ln>
            <a:noFill/>
          </a:ln>
          <a:effectLst/>
        </p:spPr>
      </p:pic>
      <p:pic>
        <p:nvPicPr>
          <p:cNvPr id="43" name="Picture 42">
            <a:extLst>
              <a:ext uri="{FF2B5EF4-FFF2-40B4-BE49-F238E27FC236}">
                <a16:creationId xmlns:a16="http://schemas.microsoft.com/office/drawing/2014/main" id="{5D81A66A-E172-E4ED-806D-42FBF07D679A}"/>
              </a:ext>
            </a:extLst>
          </p:cNvPr>
          <p:cNvPicPr>
            <a:picLocks noChangeAspect="1"/>
          </p:cNvPicPr>
          <p:nvPr/>
        </p:nvPicPr>
        <p:blipFill>
          <a:blip r:embed="rId8"/>
          <a:stretch>
            <a:fillRect/>
          </a:stretch>
        </p:blipFill>
        <p:spPr>
          <a:xfrm>
            <a:off x="2404003" y="2218190"/>
            <a:ext cx="377721" cy="251814"/>
          </a:xfrm>
          <a:prstGeom prst="roundRect">
            <a:avLst>
              <a:gd name="adj" fmla="val 8594"/>
            </a:avLst>
          </a:prstGeom>
          <a:solidFill>
            <a:srgbClr val="FFFFFF">
              <a:shade val="85000"/>
            </a:srgbClr>
          </a:solidFill>
          <a:ln>
            <a:noFill/>
          </a:ln>
          <a:effectLst/>
        </p:spPr>
      </p:pic>
      <p:pic>
        <p:nvPicPr>
          <p:cNvPr id="45" name="Picture 7" descr="taiwan mf">
            <a:extLst>
              <a:ext uri="{FF2B5EF4-FFF2-40B4-BE49-F238E27FC236}">
                <a16:creationId xmlns:a16="http://schemas.microsoft.com/office/drawing/2014/main" id="{3FB74C6A-DB62-4044-67A0-B84CE0E38A26}"/>
              </a:ext>
            </a:extLst>
          </p:cNvPr>
          <p:cNvPicPr>
            <a:picLocks noChangeAspect="1" noChangeArrowheads="1"/>
          </p:cNvPicPr>
          <p:nvPr/>
        </p:nvPicPr>
        <p:blipFill>
          <a:blip r:embed="rId9" cstate="email"/>
          <a:srcRect/>
          <a:stretch>
            <a:fillRect/>
          </a:stretch>
        </p:blipFill>
        <p:spPr bwMode="auto">
          <a:xfrm>
            <a:off x="2827415" y="2218191"/>
            <a:ext cx="377721" cy="251672"/>
          </a:xfrm>
          <a:prstGeom prst="roundRect">
            <a:avLst/>
          </a:prstGeom>
          <a:solidFill>
            <a:srgbClr val="FFFFFF">
              <a:shade val="85000"/>
            </a:srgbClr>
          </a:solidFill>
          <a:ln>
            <a:noFill/>
          </a:ln>
          <a:effectLst/>
        </p:spPr>
      </p:pic>
      <p:pic>
        <p:nvPicPr>
          <p:cNvPr id="47" name="Picture 15" descr="malaysia mf">
            <a:extLst>
              <a:ext uri="{FF2B5EF4-FFF2-40B4-BE49-F238E27FC236}">
                <a16:creationId xmlns:a16="http://schemas.microsoft.com/office/drawing/2014/main" id="{2B603969-55D8-DAFE-5822-8C31EB3D45F0}"/>
              </a:ext>
            </a:extLst>
          </p:cNvPr>
          <p:cNvPicPr preferRelativeResize="0">
            <a:picLocks noChangeArrowheads="1"/>
          </p:cNvPicPr>
          <p:nvPr/>
        </p:nvPicPr>
        <p:blipFill>
          <a:blip r:embed="rId10" cstate="email"/>
          <a:srcRect r="25021"/>
          <a:stretch>
            <a:fillRect/>
          </a:stretch>
        </p:blipFill>
        <p:spPr bwMode="auto">
          <a:xfrm>
            <a:off x="1557178" y="2218190"/>
            <a:ext cx="377721" cy="261180"/>
          </a:xfrm>
          <a:prstGeom prst="roundRect">
            <a:avLst>
              <a:gd name="adj" fmla="val 8594"/>
            </a:avLst>
          </a:prstGeom>
          <a:solidFill>
            <a:srgbClr val="FFFFFF">
              <a:shade val="85000"/>
            </a:srgbClr>
          </a:solidFill>
          <a:ln>
            <a:noFill/>
          </a:ln>
          <a:effectLst/>
        </p:spPr>
      </p:pic>
      <p:pic>
        <p:nvPicPr>
          <p:cNvPr id="49" name="Picture 48">
            <a:extLst>
              <a:ext uri="{FF2B5EF4-FFF2-40B4-BE49-F238E27FC236}">
                <a16:creationId xmlns:a16="http://schemas.microsoft.com/office/drawing/2014/main" id="{592F9164-4710-7603-1773-504A7DAB4B8A}"/>
              </a:ext>
            </a:extLst>
          </p:cNvPr>
          <p:cNvPicPr>
            <a:picLocks noChangeAspect="1"/>
          </p:cNvPicPr>
          <p:nvPr/>
        </p:nvPicPr>
        <p:blipFill>
          <a:blip r:embed="rId11" cstate="email"/>
          <a:stretch>
            <a:fillRect/>
          </a:stretch>
        </p:blipFill>
        <p:spPr>
          <a:xfrm>
            <a:off x="2394103" y="1920565"/>
            <a:ext cx="377721" cy="252032"/>
          </a:xfrm>
          <a:prstGeom prst="roundRect">
            <a:avLst>
              <a:gd name="adj" fmla="val 8594"/>
            </a:avLst>
          </a:prstGeom>
          <a:solidFill>
            <a:srgbClr val="FFFFFF">
              <a:shade val="85000"/>
            </a:srgbClr>
          </a:solidFill>
          <a:ln>
            <a:noFill/>
          </a:ln>
          <a:effectLst/>
        </p:spPr>
      </p:pic>
      <p:pic>
        <p:nvPicPr>
          <p:cNvPr id="51" name="Picture 2" descr="Flag of Venezuela (state).svg">
            <a:extLst>
              <a:ext uri="{FF2B5EF4-FFF2-40B4-BE49-F238E27FC236}">
                <a16:creationId xmlns:a16="http://schemas.microsoft.com/office/drawing/2014/main" id="{226AEB88-69F9-D545-B2DE-54E5AAEFCADE}"/>
              </a:ext>
            </a:extLst>
          </p:cNvPr>
          <p:cNvPicPr>
            <a:picLocks noChangeAspect="1" noChangeArrowheads="1"/>
          </p:cNvPicPr>
          <p:nvPr/>
        </p:nvPicPr>
        <p:blipFill>
          <a:blip r:embed="rId12" cstate="email"/>
          <a:srcRect/>
          <a:stretch>
            <a:fillRect/>
          </a:stretch>
        </p:blipFill>
        <p:spPr bwMode="auto">
          <a:xfrm>
            <a:off x="2813561" y="1920565"/>
            <a:ext cx="396030" cy="264020"/>
          </a:xfrm>
          <a:prstGeom prst="roundRect">
            <a:avLst>
              <a:gd name="adj" fmla="val 8594"/>
            </a:avLst>
          </a:prstGeom>
          <a:solidFill>
            <a:srgbClr val="FFFFFF">
              <a:shade val="85000"/>
            </a:srgbClr>
          </a:solidFill>
          <a:ln>
            <a:noFill/>
          </a:ln>
          <a:effectLst/>
        </p:spPr>
      </p:pic>
      <p:pic>
        <p:nvPicPr>
          <p:cNvPr id="54" name="Picture 13" descr="poleng2">
            <a:extLst>
              <a:ext uri="{FF2B5EF4-FFF2-40B4-BE49-F238E27FC236}">
                <a16:creationId xmlns:a16="http://schemas.microsoft.com/office/drawing/2014/main" id="{13B3392E-1E99-65EB-022B-80766235D1D3}"/>
              </a:ext>
            </a:extLst>
          </p:cNvPr>
          <p:cNvPicPr>
            <a:picLocks noChangeArrowheads="1"/>
          </p:cNvPicPr>
          <p:nvPr/>
        </p:nvPicPr>
        <p:blipFill>
          <a:blip r:embed="rId13" cstate="email"/>
          <a:srcRect/>
          <a:stretch>
            <a:fillRect/>
          </a:stretch>
        </p:blipFill>
        <p:spPr bwMode="auto">
          <a:xfrm>
            <a:off x="1555186" y="1920565"/>
            <a:ext cx="377721" cy="252031"/>
          </a:xfrm>
          <a:prstGeom prst="roundRect">
            <a:avLst>
              <a:gd name="adj" fmla="val 8594"/>
            </a:avLst>
          </a:prstGeom>
          <a:solidFill>
            <a:srgbClr val="FFFFFF">
              <a:shade val="85000"/>
            </a:srgbClr>
          </a:solidFill>
          <a:ln>
            <a:noFill/>
          </a:ln>
          <a:effectLst/>
        </p:spPr>
      </p:pic>
      <p:pic>
        <p:nvPicPr>
          <p:cNvPr id="60" name="Picture 59">
            <a:extLst>
              <a:ext uri="{FF2B5EF4-FFF2-40B4-BE49-F238E27FC236}">
                <a16:creationId xmlns:a16="http://schemas.microsoft.com/office/drawing/2014/main" id="{001A517F-E845-B7FD-39ED-0EA9A8612E5D}"/>
              </a:ext>
            </a:extLst>
          </p:cNvPr>
          <p:cNvPicPr>
            <a:picLocks noChangeAspect="1"/>
          </p:cNvPicPr>
          <p:nvPr/>
        </p:nvPicPr>
        <p:blipFill>
          <a:blip r:embed="rId14"/>
          <a:stretch>
            <a:fillRect/>
          </a:stretch>
        </p:blipFill>
        <p:spPr>
          <a:xfrm>
            <a:off x="1994074" y="3528149"/>
            <a:ext cx="377721" cy="251815"/>
          </a:xfrm>
          <a:prstGeom prst="roundRect">
            <a:avLst>
              <a:gd name="adj" fmla="val 8594"/>
            </a:avLst>
          </a:prstGeom>
          <a:solidFill>
            <a:srgbClr val="FFFFFF">
              <a:shade val="85000"/>
            </a:srgbClr>
          </a:solidFill>
          <a:ln>
            <a:noFill/>
          </a:ln>
          <a:effectLst/>
        </p:spPr>
      </p:pic>
      <p:pic>
        <p:nvPicPr>
          <p:cNvPr id="62" name="Picture 21" descr="morocco">
            <a:extLst>
              <a:ext uri="{FF2B5EF4-FFF2-40B4-BE49-F238E27FC236}">
                <a16:creationId xmlns:a16="http://schemas.microsoft.com/office/drawing/2014/main" id="{B2F03A8A-11EF-7AAD-2F6A-368C39547854}"/>
              </a:ext>
            </a:extLst>
          </p:cNvPr>
          <p:cNvPicPr>
            <a:picLocks noChangeAspect="1" noChangeArrowheads="1"/>
          </p:cNvPicPr>
          <p:nvPr/>
        </p:nvPicPr>
        <p:blipFill>
          <a:blip r:embed="rId15" cstate="email"/>
          <a:srcRect/>
          <a:stretch>
            <a:fillRect/>
          </a:stretch>
        </p:blipFill>
        <p:spPr bwMode="auto">
          <a:xfrm>
            <a:off x="3258438" y="3823150"/>
            <a:ext cx="377721" cy="251486"/>
          </a:xfrm>
          <a:prstGeom prst="roundRect">
            <a:avLst>
              <a:gd name="adj" fmla="val 8594"/>
            </a:avLst>
          </a:prstGeom>
          <a:solidFill>
            <a:srgbClr val="FFFFFF">
              <a:shade val="85000"/>
            </a:srgbClr>
          </a:solidFill>
          <a:ln>
            <a:noFill/>
          </a:ln>
          <a:effectLst/>
        </p:spPr>
      </p:pic>
      <p:pic>
        <p:nvPicPr>
          <p:cNvPr id="64" name="Picture 63">
            <a:extLst>
              <a:ext uri="{FF2B5EF4-FFF2-40B4-BE49-F238E27FC236}">
                <a16:creationId xmlns:a16="http://schemas.microsoft.com/office/drawing/2014/main" id="{911AFF3F-948A-A4B5-F8AB-FBD64897AADF}"/>
              </a:ext>
            </a:extLst>
          </p:cNvPr>
          <p:cNvPicPr>
            <a:picLocks noChangeAspect="1"/>
          </p:cNvPicPr>
          <p:nvPr/>
        </p:nvPicPr>
        <p:blipFill>
          <a:blip r:embed="rId16"/>
          <a:stretch>
            <a:fillRect/>
          </a:stretch>
        </p:blipFill>
        <p:spPr>
          <a:xfrm>
            <a:off x="2417498" y="3528149"/>
            <a:ext cx="377721" cy="251814"/>
          </a:xfrm>
          <a:prstGeom prst="roundRect">
            <a:avLst>
              <a:gd name="adj" fmla="val 8594"/>
            </a:avLst>
          </a:prstGeom>
          <a:solidFill>
            <a:srgbClr val="FFFFFF">
              <a:shade val="85000"/>
            </a:srgbClr>
          </a:solidFill>
          <a:ln>
            <a:noFill/>
          </a:ln>
          <a:effectLst/>
        </p:spPr>
      </p:pic>
      <p:pic>
        <p:nvPicPr>
          <p:cNvPr id="66" name="Picture 7" descr="indien w">
            <a:extLst>
              <a:ext uri="{FF2B5EF4-FFF2-40B4-BE49-F238E27FC236}">
                <a16:creationId xmlns:a16="http://schemas.microsoft.com/office/drawing/2014/main" id="{FE7D7CD7-1A0C-5FE2-C6AD-4080277BF6E3}"/>
              </a:ext>
            </a:extLst>
          </p:cNvPr>
          <p:cNvPicPr>
            <a:picLocks noChangeAspect="1" noChangeArrowheads="1"/>
          </p:cNvPicPr>
          <p:nvPr/>
        </p:nvPicPr>
        <p:blipFill>
          <a:blip r:embed="rId17" cstate="email"/>
          <a:srcRect/>
          <a:stretch>
            <a:fillRect/>
          </a:stretch>
        </p:blipFill>
        <p:spPr bwMode="auto">
          <a:xfrm>
            <a:off x="2840921" y="3528149"/>
            <a:ext cx="377721" cy="251249"/>
          </a:xfrm>
          <a:prstGeom prst="roundRect">
            <a:avLst>
              <a:gd name="adj" fmla="val 8594"/>
            </a:avLst>
          </a:prstGeom>
          <a:solidFill>
            <a:srgbClr val="FFFFFF">
              <a:shade val="85000"/>
            </a:srgbClr>
          </a:solidFill>
          <a:ln>
            <a:noFill/>
          </a:ln>
          <a:effectLst/>
        </p:spPr>
      </p:pic>
      <p:pic>
        <p:nvPicPr>
          <p:cNvPr id="68" name="Picture 67">
            <a:extLst>
              <a:ext uri="{FF2B5EF4-FFF2-40B4-BE49-F238E27FC236}">
                <a16:creationId xmlns:a16="http://schemas.microsoft.com/office/drawing/2014/main" id="{8390C7A3-F6AD-E9A5-EEE1-83760B3638C4}"/>
              </a:ext>
            </a:extLst>
          </p:cNvPr>
          <p:cNvPicPr>
            <a:picLocks noChangeAspect="1"/>
          </p:cNvPicPr>
          <p:nvPr/>
        </p:nvPicPr>
        <p:blipFill>
          <a:blip r:embed="rId18"/>
          <a:stretch>
            <a:fillRect/>
          </a:stretch>
        </p:blipFill>
        <p:spPr>
          <a:xfrm>
            <a:off x="3264345" y="3528149"/>
            <a:ext cx="377721" cy="251814"/>
          </a:xfrm>
          <a:prstGeom prst="roundRect">
            <a:avLst>
              <a:gd name="adj" fmla="val 8594"/>
            </a:avLst>
          </a:prstGeom>
          <a:solidFill>
            <a:srgbClr val="FFFFFF">
              <a:shade val="85000"/>
            </a:srgbClr>
          </a:solidFill>
          <a:ln>
            <a:noFill/>
          </a:ln>
          <a:effectLst/>
        </p:spPr>
      </p:pic>
      <p:pic>
        <p:nvPicPr>
          <p:cNvPr id="70" name="Picture 7" descr="indonesien w">
            <a:extLst>
              <a:ext uri="{FF2B5EF4-FFF2-40B4-BE49-F238E27FC236}">
                <a16:creationId xmlns:a16="http://schemas.microsoft.com/office/drawing/2014/main" id="{08AE20C6-D0E5-86EB-3C7D-764AAA2488EB}"/>
              </a:ext>
            </a:extLst>
          </p:cNvPr>
          <p:cNvPicPr>
            <a:picLocks noChangeAspect="1" noChangeArrowheads="1"/>
          </p:cNvPicPr>
          <p:nvPr/>
        </p:nvPicPr>
        <p:blipFill>
          <a:blip r:embed="rId19" cstate="email"/>
          <a:srcRect/>
          <a:stretch>
            <a:fillRect/>
          </a:stretch>
        </p:blipFill>
        <p:spPr bwMode="auto">
          <a:xfrm>
            <a:off x="1573044" y="3825571"/>
            <a:ext cx="377721" cy="251249"/>
          </a:xfrm>
          <a:prstGeom prst="roundRect">
            <a:avLst>
              <a:gd name="adj" fmla="val 8594"/>
            </a:avLst>
          </a:prstGeom>
          <a:solidFill>
            <a:srgbClr val="FFFFFF">
              <a:shade val="85000"/>
            </a:srgbClr>
          </a:solidFill>
          <a:ln>
            <a:noFill/>
          </a:ln>
          <a:effectLst/>
        </p:spPr>
      </p:pic>
      <p:pic>
        <p:nvPicPr>
          <p:cNvPr id="72" name="Picture 71">
            <a:extLst>
              <a:ext uri="{FF2B5EF4-FFF2-40B4-BE49-F238E27FC236}">
                <a16:creationId xmlns:a16="http://schemas.microsoft.com/office/drawing/2014/main" id="{DC72FC21-5A98-B0DC-55D9-33A1FE100C06}"/>
              </a:ext>
            </a:extLst>
          </p:cNvPr>
          <p:cNvPicPr>
            <a:picLocks noChangeAspect="1"/>
          </p:cNvPicPr>
          <p:nvPr/>
        </p:nvPicPr>
        <p:blipFill>
          <a:blip r:embed="rId20" cstate="email"/>
          <a:stretch>
            <a:fillRect/>
          </a:stretch>
        </p:blipFill>
        <p:spPr>
          <a:xfrm>
            <a:off x="1997807" y="3825570"/>
            <a:ext cx="377721" cy="236401"/>
          </a:xfrm>
          <a:prstGeom prst="roundRect">
            <a:avLst>
              <a:gd name="adj" fmla="val 8594"/>
            </a:avLst>
          </a:prstGeom>
          <a:solidFill>
            <a:srgbClr val="FFFFFF">
              <a:shade val="85000"/>
            </a:srgbClr>
          </a:solidFill>
          <a:ln>
            <a:noFill/>
          </a:ln>
          <a:effectLst/>
        </p:spPr>
      </p:pic>
      <p:pic>
        <p:nvPicPr>
          <p:cNvPr id="74" name="Picture 8" descr="rumaenieng">
            <a:extLst>
              <a:ext uri="{FF2B5EF4-FFF2-40B4-BE49-F238E27FC236}">
                <a16:creationId xmlns:a16="http://schemas.microsoft.com/office/drawing/2014/main" id="{24976CEA-ECC0-ABEE-30BF-8AE181F48D5D}"/>
              </a:ext>
            </a:extLst>
          </p:cNvPr>
          <p:cNvPicPr>
            <a:picLocks noChangeAspect="1" noChangeArrowheads="1"/>
          </p:cNvPicPr>
          <p:nvPr/>
        </p:nvPicPr>
        <p:blipFill>
          <a:blip r:embed="rId21" cstate="email"/>
          <a:srcRect/>
          <a:stretch>
            <a:fillRect/>
          </a:stretch>
        </p:blipFill>
        <p:spPr bwMode="auto">
          <a:xfrm>
            <a:off x="2422571" y="3825570"/>
            <a:ext cx="377721" cy="251673"/>
          </a:xfrm>
          <a:prstGeom prst="roundRect">
            <a:avLst>
              <a:gd name="adj" fmla="val 8594"/>
            </a:avLst>
          </a:prstGeom>
          <a:solidFill>
            <a:srgbClr val="FFFFFF">
              <a:shade val="85000"/>
            </a:srgbClr>
          </a:solidFill>
          <a:ln>
            <a:noFill/>
          </a:ln>
          <a:effectLst/>
        </p:spPr>
      </p:pic>
      <p:pic>
        <p:nvPicPr>
          <p:cNvPr id="76" name="Picture 8" descr="Ukraine w">
            <a:extLst>
              <a:ext uri="{FF2B5EF4-FFF2-40B4-BE49-F238E27FC236}">
                <a16:creationId xmlns:a16="http://schemas.microsoft.com/office/drawing/2014/main" id="{CC1CE059-130B-C978-BB55-D3BB6C41E9A9}"/>
              </a:ext>
            </a:extLst>
          </p:cNvPr>
          <p:cNvPicPr>
            <a:picLocks noChangeAspect="1" noChangeArrowheads="1"/>
          </p:cNvPicPr>
          <p:nvPr/>
        </p:nvPicPr>
        <p:blipFill>
          <a:blip r:embed="rId22" cstate="email"/>
          <a:srcRect/>
          <a:stretch>
            <a:fillRect/>
          </a:stretch>
        </p:blipFill>
        <p:spPr bwMode="auto">
          <a:xfrm>
            <a:off x="2847335" y="3825571"/>
            <a:ext cx="377721" cy="251249"/>
          </a:xfrm>
          <a:prstGeom prst="roundRect">
            <a:avLst>
              <a:gd name="adj" fmla="val 8594"/>
            </a:avLst>
          </a:prstGeom>
          <a:solidFill>
            <a:srgbClr val="FFFFFF">
              <a:shade val="85000"/>
            </a:srgbClr>
          </a:solidFill>
          <a:ln>
            <a:noFill/>
          </a:ln>
          <a:effectLst/>
        </p:spPr>
      </p:pic>
      <p:grpSp>
        <p:nvGrpSpPr>
          <p:cNvPr id="151594" name="Group 16">
            <a:extLst>
              <a:ext uri="{FF2B5EF4-FFF2-40B4-BE49-F238E27FC236}">
                <a16:creationId xmlns:a16="http://schemas.microsoft.com/office/drawing/2014/main" id="{E6DF1DEC-E529-A5A3-EFFD-2AE6B8677EB2}"/>
              </a:ext>
            </a:extLst>
          </p:cNvPr>
          <p:cNvGrpSpPr>
            <a:grpSpLocks/>
          </p:cNvGrpSpPr>
          <p:nvPr/>
        </p:nvGrpSpPr>
        <p:grpSpPr bwMode="auto">
          <a:xfrm>
            <a:off x="4006454" y="1920478"/>
            <a:ext cx="377428" cy="251222"/>
            <a:chOff x="3377" y="1727"/>
            <a:chExt cx="891" cy="594"/>
          </a:xfrm>
        </p:grpSpPr>
        <p:pic>
          <p:nvPicPr>
            <p:cNvPr id="151616" name="Picture 12" descr="australien mf">
              <a:extLst>
                <a:ext uri="{FF2B5EF4-FFF2-40B4-BE49-F238E27FC236}">
                  <a16:creationId xmlns:a16="http://schemas.microsoft.com/office/drawing/2014/main" id="{8257019A-7FF1-F66A-4AEB-3DB88337551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r="6314"/>
            <a:stretch>
              <a:fillRect/>
            </a:stretch>
          </p:blipFill>
          <p:spPr bwMode="auto">
            <a:xfrm>
              <a:off x="3377" y="1727"/>
              <a:ext cx="891" cy="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pic>
        <p:pic>
          <p:nvPicPr>
            <p:cNvPr id="151617" name="Picture 13" descr="australien mf">
              <a:extLst>
                <a:ext uri="{FF2B5EF4-FFF2-40B4-BE49-F238E27FC236}">
                  <a16:creationId xmlns:a16="http://schemas.microsoft.com/office/drawing/2014/main" id="{88ACA91F-8B40-E710-2526-6BDAA8CCB30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t="89899"/>
            <a:stretch>
              <a:fillRect/>
            </a:stretch>
          </p:blipFill>
          <p:spPr bwMode="auto">
            <a:xfrm>
              <a:off x="3377" y="2204"/>
              <a:ext cx="891"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pic>
      </p:grpSp>
      <p:pic>
        <p:nvPicPr>
          <p:cNvPr id="82" name="Picture 9" descr="korea w">
            <a:extLst>
              <a:ext uri="{FF2B5EF4-FFF2-40B4-BE49-F238E27FC236}">
                <a16:creationId xmlns:a16="http://schemas.microsoft.com/office/drawing/2014/main" id="{DA650F61-D858-3C7F-5E1F-B52464DDDC51}"/>
              </a:ext>
            </a:extLst>
          </p:cNvPr>
          <p:cNvPicPr preferRelativeResize="0">
            <a:picLocks noChangeAspect="1" noChangeArrowheads="1"/>
          </p:cNvPicPr>
          <p:nvPr/>
        </p:nvPicPr>
        <p:blipFill>
          <a:blip r:embed="rId24" cstate="email"/>
          <a:srcRect/>
          <a:stretch>
            <a:fillRect/>
          </a:stretch>
        </p:blipFill>
        <p:spPr bwMode="auto">
          <a:xfrm>
            <a:off x="4421913" y="1920565"/>
            <a:ext cx="377721" cy="251250"/>
          </a:xfrm>
          <a:prstGeom prst="roundRect">
            <a:avLst>
              <a:gd name="adj" fmla="val 8594"/>
            </a:avLst>
          </a:prstGeom>
          <a:solidFill>
            <a:srgbClr val="FFFFFF">
              <a:shade val="85000"/>
            </a:srgbClr>
          </a:solidFill>
          <a:ln>
            <a:noFill/>
          </a:ln>
          <a:effectLst/>
        </p:spPr>
      </p:pic>
      <p:pic>
        <p:nvPicPr>
          <p:cNvPr id="84" name="Picture 13" descr="grossbritannieng">
            <a:extLst>
              <a:ext uri="{FF2B5EF4-FFF2-40B4-BE49-F238E27FC236}">
                <a16:creationId xmlns:a16="http://schemas.microsoft.com/office/drawing/2014/main" id="{1D79461C-4CEE-B462-F2B1-610B90BEC595}"/>
              </a:ext>
            </a:extLst>
          </p:cNvPr>
          <p:cNvPicPr>
            <a:picLocks noChangeArrowheads="1"/>
          </p:cNvPicPr>
          <p:nvPr/>
        </p:nvPicPr>
        <p:blipFill>
          <a:blip r:embed="rId25" cstate="email"/>
          <a:srcRect/>
          <a:stretch>
            <a:fillRect/>
          </a:stretch>
        </p:blipFill>
        <p:spPr bwMode="auto">
          <a:xfrm>
            <a:off x="4841372" y="1920565"/>
            <a:ext cx="377721" cy="251249"/>
          </a:xfrm>
          <a:prstGeom prst="roundRect">
            <a:avLst>
              <a:gd name="adj" fmla="val 8594"/>
            </a:avLst>
          </a:prstGeom>
          <a:solidFill>
            <a:srgbClr val="FFFFFF">
              <a:shade val="85000"/>
            </a:srgbClr>
          </a:solidFill>
          <a:ln>
            <a:noFill/>
          </a:ln>
          <a:effectLst/>
        </p:spPr>
      </p:pic>
      <p:pic>
        <p:nvPicPr>
          <p:cNvPr id="86" name="Picture 76" descr="usa mf">
            <a:extLst>
              <a:ext uri="{FF2B5EF4-FFF2-40B4-BE49-F238E27FC236}">
                <a16:creationId xmlns:a16="http://schemas.microsoft.com/office/drawing/2014/main" id="{FE685ED2-57C2-039C-1637-1A83A9FE2D32}"/>
              </a:ext>
            </a:extLst>
          </p:cNvPr>
          <p:cNvPicPr>
            <a:picLocks noChangeAspect="1" noChangeArrowheads="1"/>
          </p:cNvPicPr>
          <p:nvPr/>
        </p:nvPicPr>
        <p:blipFill>
          <a:blip r:embed="rId26" cstate="email"/>
          <a:srcRect r="21080"/>
          <a:stretch>
            <a:fillRect/>
          </a:stretch>
        </p:blipFill>
        <p:spPr bwMode="auto">
          <a:xfrm>
            <a:off x="4844523" y="2218190"/>
            <a:ext cx="377721" cy="251814"/>
          </a:xfrm>
          <a:prstGeom prst="roundRect">
            <a:avLst>
              <a:gd name="adj" fmla="val 8594"/>
            </a:avLst>
          </a:prstGeom>
          <a:solidFill>
            <a:srgbClr val="FFFFFF">
              <a:shade val="85000"/>
            </a:srgbClr>
          </a:solidFill>
          <a:ln>
            <a:noFill/>
          </a:ln>
          <a:effectLst/>
        </p:spPr>
      </p:pic>
      <p:grpSp>
        <p:nvGrpSpPr>
          <p:cNvPr id="151598" name="Group 24">
            <a:extLst>
              <a:ext uri="{FF2B5EF4-FFF2-40B4-BE49-F238E27FC236}">
                <a16:creationId xmlns:a16="http://schemas.microsoft.com/office/drawing/2014/main" id="{E4076E6B-FF40-A575-1838-0EF1AE0CB540}"/>
              </a:ext>
            </a:extLst>
          </p:cNvPr>
          <p:cNvGrpSpPr>
            <a:grpSpLocks/>
          </p:cNvGrpSpPr>
          <p:nvPr/>
        </p:nvGrpSpPr>
        <p:grpSpPr bwMode="auto">
          <a:xfrm>
            <a:off x="4441031" y="2218135"/>
            <a:ext cx="376238" cy="251222"/>
            <a:chOff x="3377" y="1727"/>
            <a:chExt cx="891" cy="594"/>
          </a:xfrm>
        </p:grpSpPr>
        <p:pic>
          <p:nvPicPr>
            <p:cNvPr id="91" name="Picture 19" descr="kanada mf">
              <a:extLst>
                <a:ext uri="{FF2B5EF4-FFF2-40B4-BE49-F238E27FC236}">
                  <a16:creationId xmlns:a16="http://schemas.microsoft.com/office/drawing/2014/main" id="{A73A4A1F-125B-45AA-829F-588F1B1E7E88}"/>
                </a:ext>
              </a:extLst>
            </p:cNvPr>
            <p:cNvPicPr>
              <a:picLocks noChangeAspect="1" noChangeArrowheads="1"/>
            </p:cNvPicPr>
            <p:nvPr/>
          </p:nvPicPr>
          <p:blipFill>
            <a:blip r:embed="rId27" cstate="email"/>
            <a:srcRect/>
            <a:stretch>
              <a:fillRect/>
            </a:stretch>
          </p:blipFill>
          <p:spPr bwMode="auto">
            <a:xfrm>
              <a:off x="3377" y="1801"/>
              <a:ext cx="891" cy="4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2" name="Picture 20" descr="kanada mf">
              <a:extLst>
                <a:ext uri="{FF2B5EF4-FFF2-40B4-BE49-F238E27FC236}">
                  <a16:creationId xmlns:a16="http://schemas.microsoft.com/office/drawing/2014/main" id="{7AA45A6F-A941-D174-C717-D6DE6CCF9764}"/>
                </a:ext>
              </a:extLst>
            </p:cNvPr>
            <p:cNvPicPr>
              <a:picLocks noChangeAspect="1" noChangeArrowheads="1"/>
            </p:cNvPicPr>
            <p:nvPr/>
          </p:nvPicPr>
          <p:blipFill>
            <a:blip r:embed="rId27" cstate="email"/>
            <a:srcRect t="91479"/>
            <a:stretch>
              <a:fillRect/>
            </a:stretch>
          </p:blipFill>
          <p:spPr bwMode="auto">
            <a:xfrm>
              <a:off x="3377" y="2244"/>
              <a:ext cx="891" cy="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3" name="Picture 22" descr="kanada mf">
              <a:extLst>
                <a:ext uri="{FF2B5EF4-FFF2-40B4-BE49-F238E27FC236}">
                  <a16:creationId xmlns:a16="http://schemas.microsoft.com/office/drawing/2014/main" id="{1EAFA2B7-0B70-1C2D-7C4C-3AE803550A5D}"/>
                </a:ext>
              </a:extLst>
            </p:cNvPr>
            <p:cNvPicPr>
              <a:picLocks noChangeAspect="1" noChangeArrowheads="1"/>
            </p:cNvPicPr>
            <p:nvPr/>
          </p:nvPicPr>
          <p:blipFill>
            <a:blip r:embed="rId27" cstate="email"/>
            <a:srcRect t="91479"/>
            <a:stretch>
              <a:fillRect/>
            </a:stretch>
          </p:blipFill>
          <p:spPr bwMode="auto">
            <a:xfrm>
              <a:off x="3377" y="1727"/>
              <a:ext cx="891" cy="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95" name="Picture 11" descr="Frankreich w">
            <a:extLst>
              <a:ext uri="{FF2B5EF4-FFF2-40B4-BE49-F238E27FC236}">
                <a16:creationId xmlns:a16="http://schemas.microsoft.com/office/drawing/2014/main" id="{DEDEFD97-389C-DFE7-D961-FF730F482815}"/>
              </a:ext>
            </a:extLst>
          </p:cNvPr>
          <p:cNvPicPr>
            <a:picLocks noChangeAspect="1" noChangeArrowheads="1"/>
          </p:cNvPicPr>
          <p:nvPr/>
        </p:nvPicPr>
        <p:blipFill>
          <a:blip r:embed="rId28" cstate="email"/>
          <a:srcRect/>
          <a:stretch>
            <a:fillRect/>
          </a:stretch>
        </p:blipFill>
        <p:spPr bwMode="auto">
          <a:xfrm>
            <a:off x="4008517" y="2218190"/>
            <a:ext cx="377721" cy="251250"/>
          </a:xfrm>
          <a:prstGeom prst="roundRect">
            <a:avLst>
              <a:gd name="adj" fmla="val 8594"/>
            </a:avLst>
          </a:prstGeom>
          <a:solidFill>
            <a:srgbClr val="FFFFFF">
              <a:shade val="85000"/>
            </a:srgbClr>
          </a:solidFill>
          <a:ln>
            <a:noFill/>
          </a:ln>
          <a:effectLst/>
        </p:spPr>
      </p:pic>
      <p:pic>
        <p:nvPicPr>
          <p:cNvPr id="97" name="Picture 11" descr="schweden w">
            <a:extLst>
              <a:ext uri="{FF2B5EF4-FFF2-40B4-BE49-F238E27FC236}">
                <a16:creationId xmlns:a16="http://schemas.microsoft.com/office/drawing/2014/main" id="{188D653A-AA93-5DFB-E525-D1315E83293F}"/>
              </a:ext>
            </a:extLst>
          </p:cNvPr>
          <p:cNvPicPr>
            <a:picLocks noChangeArrowheads="1"/>
          </p:cNvPicPr>
          <p:nvPr/>
        </p:nvPicPr>
        <p:blipFill>
          <a:blip r:embed="rId29" cstate="email"/>
          <a:srcRect/>
          <a:stretch>
            <a:fillRect/>
          </a:stretch>
        </p:blipFill>
        <p:spPr bwMode="auto">
          <a:xfrm>
            <a:off x="5267547" y="1920565"/>
            <a:ext cx="377721" cy="251249"/>
          </a:xfrm>
          <a:prstGeom prst="roundRect">
            <a:avLst>
              <a:gd name="adj" fmla="val 8594"/>
            </a:avLst>
          </a:prstGeom>
          <a:solidFill>
            <a:srgbClr val="FFFFFF">
              <a:shade val="85000"/>
            </a:srgbClr>
          </a:solidFill>
          <a:ln>
            <a:noFill/>
          </a:ln>
          <a:effectLst/>
        </p:spPr>
      </p:pic>
      <p:pic>
        <p:nvPicPr>
          <p:cNvPr id="99" name="Picture 7" descr="japan w">
            <a:extLst>
              <a:ext uri="{FF2B5EF4-FFF2-40B4-BE49-F238E27FC236}">
                <a16:creationId xmlns:a16="http://schemas.microsoft.com/office/drawing/2014/main" id="{CBA486D3-F3DA-4E9D-9FDF-DF747E417F48}"/>
              </a:ext>
            </a:extLst>
          </p:cNvPr>
          <p:cNvPicPr>
            <a:picLocks noChangeAspect="1" noChangeArrowheads="1"/>
          </p:cNvPicPr>
          <p:nvPr/>
        </p:nvPicPr>
        <p:blipFill>
          <a:blip r:embed="rId30" cstate="email"/>
          <a:srcRect/>
          <a:stretch>
            <a:fillRect/>
          </a:stretch>
        </p:blipFill>
        <p:spPr bwMode="auto">
          <a:xfrm>
            <a:off x="4000663" y="3528149"/>
            <a:ext cx="377721" cy="251250"/>
          </a:xfrm>
          <a:prstGeom prst="roundRect">
            <a:avLst>
              <a:gd name="adj" fmla="val 8594"/>
            </a:avLst>
          </a:prstGeom>
          <a:solidFill>
            <a:srgbClr val="FFFFFF">
              <a:shade val="85000"/>
            </a:srgbClr>
          </a:solidFill>
          <a:ln>
            <a:noFill/>
          </a:ln>
          <a:effectLst/>
        </p:spPr>
      </p:pic>
      <p:pic>
        <p:nvPicPr>
          <p:cNvPr id="101" name="Picture 7" descr="griechenland w">
            <a:extLst>
              <a:ext uri="{FF2B5EF4-FFF2-40B4-BE49-F238E27FC236}">
                <a16:creationId xmlns:a16="http://schemas.microsoft.com/office/drawing/2014/main" id="{F7C1E0F4-C2D5-1230-C7A6-48024C1C2735}"/>
              </a:ext>
            </a:extLst>
          </p:cNvPr>
          <p:cNvPicPr>
            <a:picLocks noChangeAspect="1" noChangeArrowheads="1"/>
          </p:cNvPicPr>
          <p:nvPr/>
        </p:nvPicPr>
        <p:blipFill>
          <a:blip r:embed="rId31" cstate="email"/>
          <a:srcRect/>
          <a:stretch>
            <a:fillRect/>
          </a:stretch>
        </p:blipFill>
        <p:spPr bwMode="auto">
          <a:xfrm>
            <a:off x="4414519" y="3528149"/>
            <a:ext cx="377721" cy="251250"/>
          </a:xfrm>
          <a:prstGeom prst="roundRect">
            <a:avLst>
              <a:gd name="adj" fmla="val 8594"/>
            </a:avLst>
          </a:prstGeom>
          <a:solidFill>
            <a:srgbClr val="FFFFFF">
              <a:shade val="85000"/>
            </a:srgbClr>
          </a:solidFill>
          <a:ln>
            <a:noFill/>
          </a:ln>
          <a:effectLst/>
        </p:spPr>
      </p:pic>
      <p:pic>
        <p:nvPicPr>
          <p:cNvPr id="103" name="Picture 6" descr="Spanien w">
            <a:extLst>
              <a:ext uri="{FF2B5EF4-FFF2-40B4-BE49-F238E27FC236}">
                <a16:creationId xmlns:a16="http://schemas.microsoft.com/office/drawing/2014/main" id="{82BE2FDF-88A5-9892-2AAC-70A63BC0FEC7}"/>
              </a:ext>
            </a:extLst>
          </p:cNvPr>
          <p:cNvPicPr>
            <a:picLocks noChangeAspect="1" noChangeArrowheads="1"/>
          </p:cNvPicPr>
          <p:nvPr/>
        </p:nvPicPr>
        <p:blipFill>
          <a:blip r:embed="rId32" cstate="email"/>
          <a:srcRect/>
          <a:stretch>
            <a:fillRect/>
          </a:stretch>
        </p:blipFill>
        <p:spPr bwMode="auto">
          <a:xfrm>
            <a:off x="4828375" y="3528149"/>
            <a:ext cx="377721" cy="251250"/>
          </a:xfrm>
          <a:prstGeom prst="roundRect">
            <a:avLst>
              <a:gd name="adj" fmla="val 8594"/>
            </a:avLst>
          </a:prstGeom>
          <a:solidFill>
            <a:srgbClr val="FFFFFF">
              <a:shade val="85000"/>
            </a:srgbClr>
          </a:solidFill>
          <a:ln>
            <a:noFill/>
          </a:ln>
          <a:effectLst/>
        </p:spPr>
      </p:pic>
      <p:pic>
        <p:nvPicPr>
          <p:cNvPr id="105" name="Picture 8" descr="Italien w">
            <a:extLst>
              <a:ext uri="{FF2B5EF4-FFF2-40B4-BE49-F238E27FC236}">
                <a16:creationId xmlns:a16="http://schemas.microsoft.com/office/drawing/2014/main" id="{280C5741-4773-0504-AA9D-306801EB35BA}"/>
              </a:ext>
            </a:extLst>
          </p:cNvPr>
          <p:cNvPicPr>
            <a:picLocks noChangeAspect="1" noChangeArrowheads="1"/>
          </p:cNvPicPr>
          <p:nvPr/>
        </p:nvPicPr>
        <p:blipFill>
          <a:blip r:embed="rId33" cstate="email"/>
          <a:srcRect/>
          <a:stretch>
            <a:fillRect/>
          </a:stretch>
        </p:blipFill>
        <p:spPr bwMode="auto">
          <a:xfrm>
            <a:off x="5242230" y="3528149"/>
            <a:ext cx="377721" cy="251250"/>
          </a:xfrm>
          <a:prstGeom prst="roundRect">
            <a:avLst>
              <a:gd name="adj" fmla="val 8594"/>
            </a:avLst>
          </a:prstGeom>
          <a:solidFill>
            <a:srgbClr val="FFFFFF">
              <a:shade val="85000"/>
            </a:srgbClr>
          </a:solidFill>
          <a:ln>
            <a:noFill/>
          </a:ln>
          <a:effectLst/>
        </p:spPr>
      </p:pic>
      <p:sp>
        <p:nvSpPr>
          <p:cNvPr id="151605" name="TextBox 17">
            <a:extLst>
              <a:ext uri="{FF2B5EF4-FFF2-40B4-BE49-F238E27FC236}">
                <a16:creationId xmlns:a16="http://schemas.microsoft.com/office/drawing/2014/main" id="{76A1AFA0-0EE3-7FFE-6A95-FAF31461AC95}"/>
              </a:ext>
            </a:extLst>
          </p:cNvPr>
          <p:cNvSpPr txBox="1">
            <a:spLocks noChangeArrowheads="1"/>
          </p:cNvSpPr>
          <p:nvPr/>
        </p:nvSpPr>
        <p:spPr bwMode="auto">
          <a:xfrm>
            <a:off x="4002881" y="3226594"/>
            <a:ext cx="19526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000000"/>
                </a:solidFill>
                <a:latin typeface="Century Gothic" panose="020B0502020202020204" pitchFamily="34" charset="0"/>
              </a:rPr>
              <a:t>Consumers resistant to electronic payments</a:t>
            </a:r>
          </a:p>
          <a:p>
            <a:pPr eaLnBrk="1" hangingPunct="1"/>
            <a:r>
              <a:rPr lang="en-US" altLang="en-US" sz="600" dirty="0">
                <a:solidFill>
                  <a:srgbClr val="000000"/>
                </a:solidFill>
                <a:latin typeface="Century Gothic" panose="020B0502020202020204" pitchFamily="34" charset="0"/>
              </a:rPr>
              <a:t>Need to demonstrate utility of electronic payments</a:t>
            </a:r>
          </a:p>
        </p:txBody>
      </p:sp>
      <p:sp>
        <p:nvSpPr>
          <p:cNvPr id="151606" name="TextBox 18">
            <a:extLst>
              <a:ext uri="{FF2B5EF4-FFF2-40B4-BE49-F238E27FC236}">
                <a16:creationId xmlns:a16="http://schemas.microsoft.com/office/drawing/2014/main" id="{424D63FE-E1E8-B092-5B8A-D1B46CB87E8D}"/>
              </a:ext>
            </a:extLst>
          </p:cNvPr>
          <p:cNvSpPr txBox="1">
            <a:spLocks noChangeArrowheads="1"/>
          </p:cNvSpPr>
          <p:nvPr/>
        </p:nvSpPr>
        <p:spPr bwMode="auto">
          <a:xfrm>
            <a:off x="4002881" y="1608535"/>
            <a:ext cx="19526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000000"/>
                </a:solidFill>
                <a:latin typeface="Century Gothic" panose="020B0502020202020204" pitchFamily="34" charset="0"/>
              </a:rPr>
              <a:t>Electronic payments are “top of wallet” </a:t>
            </a:r>
            <a:br>
              <a:rPr lang="en-US" altLang="en-US" sz="600" dirty="0">
                <a:solidFill>
                  <a:srgbClr val="000000"/>
                </a:solidFill>
                <a:latin typeface="Century Gothic" panose="020B0502020202020204" pitchFamily="34" charset="0"/>
              </a:rPr>
            </a:br>
            <a:r>
              <a:rPr lang="en-US" altLang="en-US" sz="600" dirty="0">
                <a:solidFill>
                  <a:srgbClr val="000000"/>
                </a:solidFill>
                <a:latin typeface="Century Gothic" panose="020B0502020202020204" pitchFamily="34" charset="0"/>
              </a:rPr>
              <a:t>Specific niches payments remain</a:t>
            </a:r>
          </a:p>
        </p:txBody>
      </p:sp>
      <p:sp>
        <p:nvSpPr>
          <p:cNvPr id="151607" name="TextBox 22">
            <a:extLst>
              <a:ext uri="{FF2B5EF4-FFF2-40B4-BE49-F238E27FC236}">
                <a16:creationId xmlns:a16="http://schemas.microsoft.com/office/drawing/2014/main" id="{851FA20B-A652-A1E7-2BF6-8B8D19D34318}"/>
              </a:ext>
            </a:extLst>
          </p:cNvPr>
          <p:cNvSpPr txBox="1">
            <a:spLocks noChangeArrowheads="1"/>
          </p:cNvSpPr>
          <p:nvPr/>
        </p:nvSpPr>
        <p:spPr bwMode="auto">
          <a:xfrm>
            <a:off x="1574007" y="1608535"/>
            <a:ext cx="20645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000000"/>
                </a:solidFill>
                <a:latin typeface="Century Gothic" panose="020B0502020202020204" pitchFamily="34" charset="0"/>
              </a:rPr>
              <a:t>Progression along Acceptance Development Lifecycle</a:t>
            </a:r>
          </a:p>
          <a:p>
            <a:pPr eaLnBrk="1" hangingPunct="1"/>
            <a:r>
              <a:rPr lang="en-US" altLang="en-US" sz="600" dirty="0">
                <a:solidFill>
                  <a:srgbClr val="000000"/>
                </a:solidFill>
                <a:latin typeface="Century Gothic" panose="020B0502020202020204" pitchFamily="34" charset="0"/>
              </a:rPr>
              <a:t>Electronic payments not yet used for everyday spend</a:t>
            </a:r>
          </a:p>
        </p:txBody>
      </p:sp>
      <p:sp>
        <p:nvSpPr>
          <p:cNvPr id="151608" name="TextBox 36">
            <a:extLst>
              <a:ext uri="{FF2B5EF4-FFF2-40B4-BE49-F238E27FC236}">
                <a16:creationId xmlns:a16="http://schemas.microsoft.com/office/drawing/2014/main" id="{DC9A228D-935A-1702-B34C-B97D9A071668}"/>
              </a:ext>
            </a:extLst>
          </p:cNvPr>
          <p:cNvSpPr txBox="1">
            <a:spLocks noChangeArrowheads="1"/>
          </p:cNvSpPr>
          <p:nvPr/>
        </p:nvSpPr>
        <p:spPr bwMode="auto">
          <a:xfrm>
            <a:off x="1574007" y="3226594"/>
            <a:ext cx="20645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600" dirty="0">
                <a:solidFill>
                  <a:srgbClr val="000000"/>
                </a:solidFill>
                <a:latin typeface="Century Gothic" panose="020B0502020202020204" pitchFamily="34" charset="0"/>
              </a:rPr>
              <a:t>Heavily dependent upon cash payments</a:t>
            </a:r>
          </a:p>
          <a:p>
            <a:pPr eaLnBrk="1" hangingPunct="1"/>
            <a:r>
              <a:rPr lang="en-US" altLang="en-US" sz="600" dirty="0">
                <a:solidFill>
                  <a:srgbClr val="000000"/>
                </a:solidFill>
                <a:latin typeface="Century Gothic" panose="020B0502020202020204" pitchFamily="34" charset="0"/>
              </a:rPr>
              <a:t>Early stages of electronic payments ecosystem</a:t>
            </a:r>
          </a:p>
        </p:txBody>
      </p:sp>
      <p:sp>
        <p:nvSpPr>
          <p:cNvPr id="151609" name="TextBox 6">
            <a:extLst>
              <a:ext uri="{FF2B5EF4-FFF2-40B4-BE49-F238E27FC236}">
                <a16:creationId xmlns:a16="http://schemas.microsoft.com/office/drawing/2014/main" id="{FCF4B3F6-2C64-92C9-5433-80146409EFB7}"/>
              </a:ext>
            </a:extLst>
          </p:cNvPr>
          <p:cNvSpPr txBox="1">
            <a:spLocks noChangeArrowheads="1"/>
          </p:cNvSpPr>
          <p:nvPr/>
        </p:nvSpPr>
        <p:spPr bwMode="auto">
          <a:xfrm>
            <a:off x="457200" y="1002506"/>
            <a:ext cx="15513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a:defRPr>
                <a:solidFill>
                  <a:schemeClr val="tx1"/>
                </a:solidFill>
                <a:latin typeface="Visa Dialect Regular" pitchFamily="2" charset="0"/>
              </a:defRPr>
            </a:lvl1pPr>
            <a:lvl2pPr marL="742950" indent="-285750" defTabSz="457200">
              <a:defRPr>
                <a:solidFill>
                  <a:schemeClr val="tx1"/>
                </a:solidFill>
                <a:latin typeface="Visa Dialect Regular" pitchFamily="2" charset="0"/>
              </a:defRPr>
            </a:lvl2pPr>
            <a:lvl3pPr marL="1143000" indent="-228600" defTabSz="457200">
              <a:defRPr>
                <a:solidFill>
                  <a:schemeClr val="tx1"/>
                </a:solidFill>
                <a:latin typeface="Visa Dialect Regular" pitchFamily="2" charset="0"/>
              </a:defRPr>
            </a:lvl3pPr>
            <a:lvl4pPr marL="1600200" indent="-228600" defTabSz="457200">
              <a:defRPr>
                <a:solidFill>
                  <a:schemeClr val="tx1"/>
                </a:solidFill>
                <a:latin typeface="Visa Dialect Regular" pitchFamily="2" charset="0"/>
              </a:defRPr>
            </a:lvl4pPr>
            <a:lvl5pPr marL="2057400" indent="-228600" defTabSz="457200">
              <a:defRPr>
                <a:solidFill>
                  <a:schemeClr val="tx1"/>
                </a:solidFill>
                <a:latin typeface="Visa Dialect Regular" pitchFamily="2" charset="0"/>
              </a:defRPr>
            </a:lvl5pPr>
            <a:lvl6pPr marL="2514600" indent="-228600" defTabSz="457200" eaLnBrk="0" fontAlgn="base" hangingPunct="0">
              <a:spcBef>
                <a:spcPct val="0"/>
              </a:spcBef>
              <a:spcAft>
                <a:spcPct val="0"/>
              </a:spcAft>
              <a:defRPr>
                <a:solidFill>
                  <a:schemeClr val="tx1"/>
                </a:solidFill>
                <a:latin typeface="Visa Dialect Regular" pitchFamily="2" charset="0"/>
              </a:defRPr>
            </a:lvl6pPr>
            <a:lvl7pPr marL="2971800" indent="-228600" defTabSz="457200" eaLnBrk="0" fontAlgn="base" hangingPunct="0">
              <a:spcBef>
                <a:spcPct val="0"/>
              </a:spcBef>
              <a:spcAft>
                <a:spcPct val="0"/>
              </a:spcAft>
              <a:defRPr>
                <a:solidFill>
                  <a:schemeClr val="tx1"/>
                </a:solidFill>
                <a:latin typeface="Visa Dialect Regular" pitchFamily="2" charset="0"/>
              </a:defRPr>
            </a:lvl7pPr>
            <a:lvl8pPr marL="3429000" indent="-228600" defTabSz="457200" eaLnBrk="0" fontAlgn="base" hangingPunct="0">
              <a:spcBef>
                <a:spcPct val="0"/>
              </a:spcBef>
              <a:spcAft>
                <a:spcPct val="0"/>
              </a:spcAft>
              <a:defRPr>
                <a:solidFill>
                  <a:schemeClr val="tx1"/>
                </a:solidFill>
                <a:latin typeface="Visa Dialect Regular" pitchFamily="2" charset="0"/>
              </a:defRPr>
            </a:lvl8pPr>
            <a:lvl9pPr marL="3886200" indent="-228600" defTabSz="457200" eaLnBrk="0" fontAlgn="base" hangingPunct="0">
              <a:spcBef>
                <a:spcPct val="0"/>
              </a:spcBef>
              <a:spcAft>
                <a:spcPct val="0"/>
              </a:spcAft>
              <a:defRPr>
                <a:solidFill>
                  <a:schemeClr val="tx1"/>
                </a:solidFill>
                <a:latin typeface="Visa Dialect Regular" pitchFamily="2" charset="0"/>
              </a:defRPr>
            </a:lvl9pPr>
          </a:lstStyle>
          <a:p>
            <a:pPr eaLnBrk="1" hangingPunct="1"/>
            <a:r>
              <a:rPr lang="en-US" altLang="en-US" sz="900" b="1" u="sng" dirty="0">
                <a:solidFill>
                  <a:srgbClr val="1434CB"/>
                </a:solidFill>
                <a:latin typeface="Century Gothic" panose="020B0502020202020204" pitchFamily="34" charset="0"/>
              </a:rPr>
              <a:t>NON-EXHAUSTIVE</a:t>
            </a:r>
          </a:p>
        </p:txBody>
      </p:sp>
      <p:pic>
        <p:nvPicPr>
          <p:cNvPr id="46" name="Picture 45">
            <a:extLst>
              <a:ext uri="{FF2B5EF4-FFF2-40B4-BE49-F238E27FC236}">
                <a16:creationId xmlns:a16="http://schemas.microsoft.com/office/drawing/2014/main" id="{EBD468E7-92C2-8BE1-A080-42988F20AAE3}"/>
              </a:ext>
            </a:extLst>
          </p:cNvPr>
          <p:cNvPicPr>
            <a:picLocks noChangeAspect="1"/>
          </p:cNvPicPr>
          <p:nvPr/>
        </p:nvPicPr>
        <p:blipFill>
          <a:blip r:embed="rId34"/>
          <a:stretch>
            <a:fillRect/>
          </a:stretch>
        </p:blipFill>
        <p:spPr>
          <a:xfrm>
            <a:off x="3247516" y="2215578"/>
            <a:ext cx="385346" cy="256897"/>
          </a:xfrm>
          <a:prstGeom prst="roundRect">
            <a:avLst/>
          </a:prstGeom>
        </p:spPr>
      </p:pic>
      <p:pic>
        <p:nvPicPr>
          <p:cNvPr id="48" name="Picture 16" descr="russland w">
            <a:extLst>
              <a:ext uri="{FF2B5EF4-FFF2-40B4-BE49-F238E27FC236}">
                <a16:creationId xmlns:a16="http://schemas.microsoft.com/office/drawing/2014/main" id="{DFF9CA46-6FA1-54E2-92FC-1480A98B1ED0}"/>
              </a:ext>
            </a:extLst>
          </p:cNvPr>
          <p:cNvPicPr>
            <a:picLocks noChangeAspect="1" noChangeArrowheads="1"/>
          </p:cNvPicPr>
          <p:nvPr/>
        </p:nvPicPr>
        <p:blipFill>
          <a:blip r:embed="rId35" cstate="email"/>
          <a:srcRect/>
          <a:stretch>
            <a:fillRect/>
          </a:stretch>
        </p:blipFill>
        <p:spPr bwMode="auto">
          <a:xfrm>
            <a:off x="3247516" y="1924414"/>
            <a:ext cx="385346" cy="256322"/>
          </a:xfrm>
          <a:prstGeom prst="roundRect">
            <a:avLst/>
          </a:prstGeom>
          <a:noFill/>
          <a:ln w="9525">
            <a:noFill/>
            <a:miter lim="800000"/>
            <a:headEnd/>
            <a:tailEnd/>
          </a:ln>
        </p:spPr>
      </p:pic>
      <p:pic>
        <p:nvPicPr>
          <p:cNvPr id="151612" name="flag_azerbaijan">
            <a:extLst>
              <a:ext uri="{FF2B5EF4-FFF2-40B4-BE49-F238E27FC236}">
                <a16:creationId xmlns:a16="http://schemas.microsoft.com/office/drawing/2014/main" id="{A3639208-B482-5E3E-7D4D-1D9A0DB48BF1}"/>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l="12497" r="12503"/>
          <a:stretch>
            <a:fillRect/>
          </a:stretch>
        </p:blipFill>
        <p:spPr bwMode="auto">
          <a:xfrm>
            <a:off x="1570435" y="3527822"/>
            <a:ext cx="377428"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05A1969-5EFE-A819-E19E-64BBBE37CB67}"/>
              </a:ext>
            </a:extLst>
          </p:cNvPr>
          <p:cNvSpPr txBox="1"/>
          <p:nvPr/>
        </p:nvSpPr>
        <p:spPr>
          <a:xfrm>
            <a:off x="8559609" y="4788694"/>
            <a:ext cx="233756" cy="307777"/>
          </a:xfrm>
          <a:prstGeom prst="rect">
            <a:avLst/>
          </a:prstGeom>
          <a:solidFill>
            <a:schemeClr val="bg1">
              <a:lumMod val="95000"/>
            </a:schemeClr>
          </a:solidFill>
        </p:spPr>
        <p:txBody>
          <a:bodyPr wrap="square" rtlCol="0">
            <a:spAutoFit/>
          </a:bodyPr>
          <a:lstStyle/>
          <a:p>
            <a:endParaRPr lang="en-US" dirty="0"/>
          </a:p>
        </p:txBody>
      </p:sp>
      <p:sp>
        <p:nvSpPr>
          <p:cNvPr id="7" name="Title 10">
            <a:extLst>
              <a:ext uri="{FF2B5EF4-FFF2-40B4-BE49-F238E27FC236}">
                <a16:creationId xmlns:a16="http://schemas.microsoft.com/office/drawing/2014/main" id="{A40B0A15-ADE4-DFA5-0456-1BA87A9282B0}"/>
              </a:ext>
            </a:extLst>
          </p:cNvPr>
          <p:cNvSpPr txBox="1">
            <a:spLocks/>
          </p:cNvSpPr>
          <p:nvPr/>
        </p:nvSpPr>
        <p:spPr>
          <a:xfrm>
            <a:off x="-1" y="-46247"/>
            <a:ext cx="58439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b="1" dirty="0">
                <a:solidFill>
                  <a:schemeClr val="tx1"/>
                </a:solidFill>
                <a:latin typeface="Century Gothic" panose="020B0502020202020204" pitchFamily="34" charset="0"/>
              </a:rPr>
              <a:t>17.</a:t>
            </a:r>
          </a:p>
        </p:txBody>
      </p:sp>
      <p:sp>
        <p:nvSpPr>
          <p:cNvPr id="9" name="Speech Bubble: Oval 8">
            <a:extLst>
              <a:ext uri="{FF2B5EF4-FFF2-40B4-BE49-F238E27FC236}">
                <a16:creationId xmlns:a16="http://schemas.microsoft.com/office/drawing/2014/main" id="{09B7DA92-19CA-2530-2092-3E37C4798653}"/>
              </a:ext>
            </a:extLst>
          </p:cNvPr>
          <p:cNvSpPr/>
          <p:nvPr/>
        </p:nvSpPr>
        <p:spPr>
          <a:xfrm>
            <a:off x="2775878" y="899278"/>
            <a:ext cx="1037695" cy="494386"/>
          </a:xfrm>
          <a:prstGeom prst="wedgeEllipseCallout">
            <a:avLst>
              <a:gd name="adj1" fmla="val -28447"/>
              <a:gd name="adj2" fmla="val 92153"/>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latin typeface="Century Gothic" panose="020B0502020202020204" pitchFamily="34" charset="0"/>
              </a:rPr>
              <a:t>Current stage </a:t>
            </a:r>
          </a:p>
        </p:txBody>
      </p:sp>
      <p:sp>
        <p:nvSpPr>
          <p:cNvPr id="11" name="TextBox 10">
            <a:extLst>
              <a:ext uri="{FF2B5EF4-FFF2-40B4-BE49-F238E27FC236}">
                <a16:creationId xmlns:a16="http://schemas.microsoft.com/office/drawing/2014/main" id="{7283DB30-8FA0-5B76-FA78-82CD0BBF0C49}"/>
              </a:ext>
            </a:extLst>
          </p:cNvPr>
          <p:cNvSpPr txBox="1"/>
          <p:nvPr/>
        </p:nvSpPr>
        <p:spPr>
          <a:xfrm>
            <a:off x="7457872" y="45396"/>
            <a:ext cx="1439694" cy="266633"/>
          </a:xfrm>
          <a:prstGeom prst="rect">
            <a:avLst/>
          </a:prstGeom>
          <a:solidFill>
            <a:schemeClr val="bg1"/>
          </a:solidFill>
        </p:spPr>
        <p:txBody>
          <a:bodyPr wrap="square" rtlCol="0">
            <a:spAutoFit/>
          </a:bodyPr>
          <a:lstStyle/>
          <a:p>
            <a:endParaRPr lang="en-US" dirty="0"/>
          </a:p>
        </p:txBody>
      </p:sp>
      <p:pic>
        <p:nvPicPr>
          <p:cNvPr id="8" name="Picture 7">
            <a:extLst>
              <a:ext uri="{FF2B5EF4-FFF2-40B4-BE49-F238E27FC236}">
                <a16:creationId xmlns:a16="http://schemas.microsoft.com/office/drawing/2014/main" id="{22927B07-C0AD-57A5-1FCC-E1DC332F28A3}"/>
              </a:ext>
            </a:extLst>
          </p:cNvPr>
          <p:cNvPicPr>
            <a:picLocks noChangeAspect="1"/>
          </p:cNvPicPr>
          <p:nvPr/>
        </p:nvPicPr>
        <p:blipFill>
          <a:blip r:embed="rId37"/>
          <a:stretch>
            <a:fillRect/>
          </a:stretch>
        </p:blipFill>
        <p:spPr>
          <a:xfrm>
            <a:off x="8743950" y="-54565"/>
            <a:ext cx="400050" cy="317020"/>
          </a:xfrm>
          <a:prstGeom prst="rect">
            <a:avLst/>
          </a:prstGeom>
        </p:spPr>
      </p:pic>
      <p:sp>
        <p:nvSpPr>
          <p:cNvPr id="13" name="TextBox 12">
            <a:extLst>
              <a:ext uri="{FF2B5EF4-FFF2-40B4-BE49-F238E27FC236}">
                <a16:creationId xmlns:a16="http://schemas.microsoft.com/office/drawing/2014/main" id="{A795CF56-64B6-D5C3-B358-2A3F022E7D43}"/>
              </a:ext>
            </a:extLst>
          </p:cNvPr>
          <p:cNvSpPr txBox="1"/>
          <p:nvPr/>
        </p:nvSpPr>
        <p:spPr>
          <a:xfrm>
            <a:off x="1271081" y="-19281"/>
            <a:ext cx="7105153" cy="338554"/>
          </a:xfrm>
          <a:prstGeom prst="rect">
            <a:avLst/>
          </a:prstGeom>
          <a:noFill/>
        </p:spPr>
        <p:txBody>
          <a:bodyPr wrap="square">
            <a:spAutoFit/>
          </a:bodyPr>
          <a:lstStyle/>
          <a:p>
            <a:pPr algn="ctr"/>
            <a:r>
              <a:rPr lang="en-US" sz="1600" b="1" dirty="0">
                <a:solidFill>
                  <a:schemeClr val="accent2">
                    <a:lumMod val="50000"/>
                  </a:schemeClr>
                </a:solidFill>
                <a:latin typeface="Century Gothic" panose="020B0502020202020204" pitchFamily="34" charset="0"/>
              </a:rPr>
              <a:t>Stages of Payment Ecosystem Development </a:t>
            </a:r>
            <a:endParaRPr lang="en-US" sz="1600" dirty="0"/>
          </a:p>
        </p:txBody>
      </p:sp>
      <p:cxnSp>
        <p:nvCxnSpPr>
          <p:cNvPr id="14" name="Straight Connector 13">
            <a:extLst>
              <a:ext uri="{FF2B5EF4-FFF2-40B4-BE49-F238E27FC236}">
                <a16:creationId xmlns:a16="http://schemas.microsoft.com/office/drawing/2014/main" id="{E37D55F2-91D9-9C3D-982D-87C20E3E7FF1}"/>
              </a:ext>
            </a:extLst>
          </p:cNvPr>
          <p:cNvCxnSpPr>
            <a:cxnSpLocks/>
          </p:cNvCxnSpPr>
          <p:nvPr/>
        </p:nvCxnSpPr>
        <p:spPr>
          <a:xfrm>
            <a:off x="-1" y="288496"/>
            <a:ext cx="9144001" cy="0"/>
          </a:xfrm>
          <a:prstGeom prst="line">
            <a:avLst/>
          </a:prstGeom>
          <a:noFill/>
          <a:ln w="19050" cap="flat" cmpd="sng" algn="ctr">
            <a:solidFill>
              <a:srgbClr val="F19D19"/>
            </a:solidFill>
            <a:prstDash val="solid"/>
            <a:miter lim="800000"/>
          </a:ln>
          <a:effectLst/>
        </p:spPr>
      </p:cxnSp>
      <p:sp>
        <p:nvSpPr>
          <p:cNvPr id="12" name="TextBox 11">
            <a:extLst>
              <a:ext uri="{FF2B5EF4-FFF2-40B4-BE49-F238E27FC236}">
                <a16:creationId xmlns:a16="http://schemas.microsoft.com/office/drawing/2014/main" id="{4201275B-534A-245D-B2F7-25CB84021856}"/>
              </a:ext>
            </a:extLst>
          </p:cNvPr>
          <p:cNvSpPr txBox="1"/>
          <p:nvPr/>
        </p:nvSpPr>
        <p:spPr>
          <a:xfrm>
            <a:off x="228600" y="4611189"/>
            <a:ext cx="1200150" cy="386796"/>
          </a:xfrm>
          <a:prstGeom prst="rect">
            <a:avLst/>
          </a:prstGeom>
          <a:solidFill>
            <a:schemeClr val="bg1"/>
          </a:solidFill>
        </p:spPr>
        <p:txBody>
          <a:bodyPr wrap="square" rtlCol="0">
            <a:spAutoFit/>
          </a:bodyPr>
          <a:lstStyle/>
          <a:p>
            <a:endParaRPr lang="en-US" dirty="0"/>
          </a:p>
        </p:txBody>
      </p:sp>
      <p:sp>
        <p:nvSpPr>
          <p:cNvPr id="15" name="TextBox 14">
            <a:extLst>
              <a:ext uri="{FF2B5EF4-FFF2-40B4-BE49-F238E27FC236}">
                <a16:creationId xmlns:a16="http://schemas.microsoft.com/office/drawing/2014/main" id="{AD69FB04-72F7-D970-8E29-E246B9418768}"/>
              </a:ext>
            </a:extLst>
          </p:cNvPr>
          <p:cNvSpPr txBox="1"/>
          <p:nvPr/>
        </p:nvSpPr>
        <p:spPr>
          <a:xfrm>
            <a:off x="6640873" y="4788694"/>
            <a:ext cx="1967550" cy="307777"/>
          </a:xfrm>
          <a:prstGeom prst="rect">
            <a:avLst/>
          </a:prstGeom>
          <a:solidFill>
            <a:schemeClr val="bg1"/>
          </a:solidFill>
        </p:spPr>
        <p:txBody>
          <a:bodyPr wrap="square" rtlCol="0">
            <a:spAutoFit/>
          </a:bodyPr>
          <a:lstStyle/>
          <a:p>
            <a:endParaRPr lang="en-US" dirty="0"/>
          </a:p>
        </p:txBody>
      </p:sp>
    </p:spTree>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1031-D8DE-A427-0448-CB408D75047B}"/>
            </a:ext>
          </a:extLst>
        </p:cNvPr>
        <p:cNvGrpSpPr/>
        <p:nvPr/>
      </p:nvGrpSpPr>
      <p:grpSpPr>
        <a:xfrm>
          <a:off x="0" y="0"/>
          <a:ext cx="0" cy="0"/>
          <a:chOff x="0" y="0"/>
          <a:chExt cx="0" cy="0"/>
        </a:xfrm>
      </p:grpSpPr>
      <p:sp>
        <p:nvSpPr>
          <p:cNvPr id="4" name="object 2">
            <a:extLst>
              <a:ext uri="{FF2B5EF4-FFF2-40B4-BE49-F238E27FC236}">
                <a16:creationId xmlns:a16="http://schemas.microsoft.com/office/drawing/2014/main" id="{27F2A001-23BA-F932-788F-1272AD2F9B9A}"/>
              </a:ext>
            </a:extLst>
          </p:cNvPr>
          <p:cNvSpPr txBox="1"/>
          <p:nvPr/>
        </p:nvSpPr>
        <p:spPr>
          <a:xfrm>
            <a:off x="559305" y="1293"/>
            <a:ext cx="7643003" cy="382156"/>
          </a:xfrm>
          <a:prstGeom prst="rect">
            <a:avLst/>
          </a:prstGeom>
        </p:spPr>
        <p:txBody>
          <a:bodyPr vert="horz" wrap="square" lIns="0" tIns="12700" rIns="0" bIns="0" rtlCol="0">
            <a:spAutoFit/>
          </a:bodyPr>
          <a:lstStyle/>
          <a:p>
            <a:pPr marL="12700">
              <a:lnSpc>
                <a:spcPct val="100000"/>
              </a:lnSpc>
              <a:spcBef>
                <a:spcPts val="100"/>
              </a:spcBef>
            </a:pPr>
            <a:r>
              <a:rPr lang="en-US" sz="2400" b="1" dirty="0">
                <a:solidFill>
                  <a:schemeClr val="tx1"/>
                </a:solidFill>
                <a:latin typeface="Century Gothic" panose="020B0502020202020204" pitchFamily="34" charset="0"/>
                <a:cs typeface="Century Gothic"/>
              </a:rPr>
              <a:t>Performance of Kenya National Payment System</a:t>
            </a:r>
          </a:p>
        </p:txBody>
      </p:sp>
      <p:graphicFrame>
        <p:nvGraphicFramePr>
          <p:cNvPr id="6" name="Chart 5">
            <a:extLst>
              <a:ext uri="{FF2B5EF4-FFF2-40B4-BE49-F238E27FC236}">
                <a16:creationId xmlns:a16="http://schemas.microsoft.com/office/drawing/2014/main" id="{3B3DB40F-91AE-8DA5-3B69-6DC5716EC8CA}"/>
              </a:ext>
            </a:extLst>
          </p:cNvPr>
          <p:cNvGraphicFramePr>
            <a:graphicFrameLocks/>
          </p:cNvGraphicFramePr>
          <p:nvPr>
            <p:extLst>
              <p:ext uri="{D42A27DB-BD31-4B8C-83A1-F6EECF244321}">
                <p14:modId xmlns:p14="http://schemas.microsoft.com/office/powerpoint/2010/main" val="348728192"/>
              </p:ext>
            </p:extLst>
          </p:nvPr>
        </p:nvGraphicFramePr>
        <p:xfrm>
          <a:off x="232914" y="603849"/>
          <a:ext cx="6496888" cy="433207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9B26BE30-03EA-4079-5CA8-AF1FC8B0235D}"/>
              </a:ext>
            </a:extLst>
          </p:cNvPr>
          <p:cNvSpPr txBox="1"/>
          <p:nvPr/>
        </p:nvSpPr>
        <p:spPr>
          <a:xfrm>
            <a:off x="6832840" y="2102351"/>
            <a:ext cx="2130004" cy="2769989"/>
          </a:xfrm>
          <a:prstGeom prst="rect">
            <a:avLst/>
          </a:prstGeom>
          <a:solidFill>
            <a:schemeClr val="tx1"/>
          </a:solidFill>
        </p:spPr>
        <p:style>
          <a:lnRef idx="0">
            <a:schemeClr val="accent5"/>
          </a:lnRef>
          <a:fillRef idx="1003">
            <a:schemeClr val="dk2"/>
          </a:fillRef>
          <a:effectRef idx="3">
            <a:schemeClr val="accent5"/>
          </a:effectRef>
          <a:fontRef idx="minor">
            <a:schemeClr val="lt1"/>
          </a:fontRef>
        </p:style>
        <p:txBody>
          <a:bodyPr wrap="square" rtlCol="0">
            <a:spAutoFit/>
          </a:bodyPr>
          <a:lstStyle/>
          <a:p>
            <a:r>
              <a:rPr lang="en-US" sz="1200" b="1">
                <a:latin typeface="Century Gothic" panose="020B0502020202020204" pitchFamily="34" charset="0"/>
              </a:rPr>
              <a:t>In Kenya, mobile payments dominate with 99% of all transactions but only 40% of the total value, indicating they are mostly small amounts. </a:t>
            </a:r>
          </a:p>
          <a:p>
            <a:endParaRPr lang="en-US" sz="1200" b="1">
              <a:latin typeface="Century Gothic" panose="020B0502020202020204" pitchFamily="34" charset="0"/>
            </a:endParaRPr>
          </a:p>
          <a:p>
            <a:r>
              <a:rPr lang="en-US" sz="1200" b="1">
                <a:latin typeface="Century Gothic" panose="020B0502020202020204" pitchFamily="34" charset="0"/>
              </a:rPr>
              <a:t>KEPSS handles over half (55%) of the transaction value but very few transactions, showing it is used for large payments. Cards, EFTs, and cheques have minimal usage</a:t>
            </a:r>
            <a:r>
              <a:rPr lang="en-US" sz="1600" b="1">
                <a:latin typeface="Century Gothic" panose="020B0502020202020204" pitchFamily="34" charset="0"/>
              </a:rPr>
              <a:t>.</a:t>
            </a:r>
          </a:p>
        </p:txBody>
      </p:sp>
      <p:pic>
        <p:nvPicPr>
          <p:cNvPr id="5" name="Picture 4">
            <a:extLst>
              <a:ext uri="{FF2B5EF4-FFF2-40B4-BE49-F238E27FC236}">
                <a16:creationId xmlns:a16="http://schemas.microsoft.com/office/drawing/2014/main" id="{81AE1221-1E2C-DE84-069D-E6B54E8C55E1}"/>
              </a:ext>
            </a:extLst>
          </p:cNvPr>
          <p:cNvPicPr>
            <a:picLocks noChangeAspect="1"/>
          </p:cNvPicPr>
          <p:nvPr/>
        </p:nvPicPr>
        <p:blipFill>
          <a:blip r:embed="rId4"/>
          <a:stretch>
            <a:fillRect/>
          </a:stretch>
        </p:blipFill>
        <p:spPr>
          <a:xfrm>
            <a:off x="8631673" y="-27844"/>
            <a:ext cx="506265" cy="401191"/>
          </a:xfrm>
          <a:prstGeom prst="rect">
            <a:avLst/>
          </a:prstGeom>
        </p:spPr>
      </p:pic>
      <p:sp>
        <p:nvSpPr>
          <p:cNvPr id="2" name="Title 10">
            <a:extLst>
              <a:ext uri="{FF2B5EF4-FFF2-40B4-BE49-F238E27FC236}">
                <a16:creationId xmlns:a16="http://schemas.microsoft.com/office/drawing/2014/main" id="{4ED3FEA8-E534-DAE2-61B9-4B9533AE0B78}"/>
              </a:ext>
            </a:extLst>
          </p:cNvPr>
          <p:cNvSpPr txBox="1">
            <a:spLocks/>
          </p:cNvSpPr>
          <p:nvPr/>
        </p:nvSpPr>
        <p:spPr>
          <a:xfrm>
            <a:off x="-15874" y="-41536"/>
            <a:ext cx="65376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18.</a:t>
            </a:r>
          </a:p>
        </p:txBody>
      </p:sp>
      <p:cxnSp>
        <p:nvCxnSpPr>
          <p:cNvPr id="3" name="Straight Connector 2">
            <a:extLst>
              <a:ext uri="{FF2B5EF4-FFF2-40B4-BE49-F238E27FC236}">
                <a16:creationId xmlns:a16="http://schemas.microsoft.com/office/drawing/2014/main" id="{A6E04B60-89F4-A851-1D0D-EF0E63F5C9EA}"/>
              </a:ext>
            </a:extLst>
          </p:cNvPr>
          <p:cNvCxnSpPr>
            <a:cxnSpLocks/>
          </p:cNvCxnSpPr>
          <p:nvPr/>
        </p:nvCxnSpPr>
        <p:spPr>
          <a:xfrm>
            <a:off x="-15874" y="383449"/>
            <a:ext cx="9144000" cy="0"/>
          </a:xfrm>
          <a:prstGeom prst="line">
            <a:avLst/>
          </a:prstGeom>
          <a:noFill/>
          <a:ln w="19050" cap="flat" cmpd="sng" algn="ctr">
            <a:solidFill>
              <a:srgbClr val="F19D19"/>
            </a:solidFill>
            <a:prstDash val="solid"/>
            <a:miter lim="800000"/>
          </a:ln>
          <a:effectLst/>
        </p:spPr>
      </p:cxnSp>
      <p:graphicFrame>
        <p:nvGraphicFramePr>
          <p:cNvPr id="9" name="Table 8">
            <a:extLst>
              <a:ext uri="{FF2B5EF4-FFF2-40B4-BE49-F238E27FC236}">
                <a16:creationId xmlns:a16="http://schemas.microsoft.com/office/drawing/2014/main" id="{5C90A9FC-58A4-16E5-783C-D37BEE5D5733}"/>
              </a:ext>
            </a:extLst>
          </p:cNvPr>
          <p:cNvGraphicFramePr>
            <a:graphicFrameLocks noGrp="1"/>
          </p:cNvGraphicFramePr>
          <p:nvPr>
            <p:extLst>
              <p:ext uri="{D42A27DB-BD31-4B8C-83A1-F6EECF244321}">
                <p14:modId xmlns:p14="http://schemas.microsoft.com/office/powerpoint/2010/main" val="18523559"/>
              </p:ext>
            </p:extLst>
          </p:nvPr>
        </p:nvGraphicFramePr>
        <p:xfrm>
          <a:off x="6832840" y="617174"/>
          <a:ext cx="2003588" cy="1290360"/>
        </p:xfrm>
        <a:graphic>
          <a:graphicData uri="http://schemas.openxmlformats.org/drawingml/2006/table">
            <a:tbl>
              <a:tblPr>
                <a:tableStyleId>{3A54F7FF-118A-4B23-873A-B691699C49BB}</a:tableStyleId>
              </a:tblPr>
              <a:tblGrid>
                <a:gridCol w="631989">
                  <a:extLst>
                    <a:ext uri="{9D8B030D-6E8A-4147-A177-3AD203B41FA5}">
                      <a16:colId xmlns:a16="http://schemas.microsoft.com/office/drawing/2014/main" val="1818231277"/>
                    </a:ext>
                  </a:extLst>
                </a:gridCol>
                <a:gridCol w="701238">
                  <a:extLst>
                    <a:ext uri="{9D8B030D-6E8A-4147-A177-3AD203B41FA5}">
                      <a16:colId xmlns:a16="http://schemas.microsoft.com/office/drawing/2014/main" val="3145309557"/>
                    </a:ext>
                  </a:extLst>
                </a:gridCol>
                <a:gridCol w="670361">
                  <a:extLst>
                    <a:ext uri="{9D8B030D-6E8A-4147-A177-3AD203B41FA5}">
                      <a16:colId xmlns:a16="http://schemas.microsoft.com/office/drawing/2014/main" val="3159083719"/>
                    </a:ext>
                  </a:extLst>
                </a:gridCol>
              </a:tblGrid>
              <a:tr h="346538">
                <a:tc>
                  <a:txBody>
                    <a:bodyPr/>
                    <a:lstStyle/>
                    <a:p>
                      <a:pPr algn="l" fontAlgn="b"/>
                      <a:endParaRPr lang="en-US" sz="1100" b="1" i="0" u="none" strike="noStrike">
                        <a:solidFill>
                          <a:srgbClr val="000000"/>
                        </a:solidFill>
                        <a:effectLst/>
                        <a:latin typeface="Century Gothic" panose="020B0502020202020204" pitchFamily="34" charset="0"/>
                      </a:endParaRPr>
                    </a:p>
                  </a:txBody>
                  <a:tcPr marL="6350" marR="6350" marT="6350" marB="0" anchor="b">
                    <a:solidFill>
                      <a:schemeClr val="accent1">
                        <a:lumMod val="20000"/>
                        <a:lumOff val="80000"/>
                      </a:schemeClr>
                    </a:solidFill>
                  </a:tcPr>
                </a:tc>
                <a:tc>
                  <a:txBody>
                    <a:bodyPr/>
                    <a:lstStyle/>
                    <a:p>
                      <a:pPr algn="ctr" fontAlgn="b"/>
                      <a:r>
                        <a:rPr lang="en-US" sz="1100" b="1" u="none" strike="noStrike">
                          <a:effectLst/>
                          <a:latin typeface="Century Gothic" panose="020B0502020202020204" pitchFamily="34" charset="0"/>
                        </a:rPr>
                        <a:t>Volume, Bn</a:t>
                      </a:r>
                      <a:endParaRPr lang="en-US" sz="1100" b="1" i="0" u="none" strike="noStrike">
                        <a:solidFill>
                          <a:srgbClr val="000000"/>
                        </a:solidFill>
                        <a:effectLst/>
                        <a:latin typeface="Century Gothic" panose="020B0502020202020204" pitchFamily="34" charset="0"/>
                      </a:endParaRPr>
                    </a:p>
                  </a:txBody>
                  <a:tcPr marL="6350" marR="6350" marT="6350" marB="0" anchor="b">
                    <a:solidFill>
                      <a:schemeClr val="accent1">
                        <a:lumMod val="20000"/>
                        <a:lumOff val="80000"/>
                      </a:schemeClr>
                    </a:solidFill>
                  </a:tcPr>
                </a:tc>
                <a:tc>
                  <a:txBody>
                    <a:bodyPr/>
                    <a:lstStyle/>
                    <a:p>
                      <a:pPr algn="ctr" fontAlgn="b"/>
                      <a:r>
                        <a:rPr lang="en-US" sz="1100" b="1" u="none" strike="noStrike">
                          <a:effectLst/>
                          <a:latin typeface="Century Gothic" panose="020B0502020202020204" pitchFamily="34" charset="0"/>
                        </a:rPr>
                        <a:t>Value, Kes. Tn</a:t>
                      </a:r>
                      <a:endParaRPr lang="en-US" sz="1100" b="1" i="0" u="none" strike="noStrike">
                        <a:solidFill>
                          <a:srgbClr val="000000"/>
                        </a:solidFill>
                        <a:effectLst/>
                        <a:latin typeface="Century Gothic" panose="020B0502020202020204" pitchFamily="34" charset="0"/>
                      </a:endParaRPr>
                    </a:p>
                  </a:txBody>
                  <a:tcPr marL="6350" marR="6350" marT="6350" marB="0" anchor="b">
                    <a:solidFill>
                      <a:schemeClr val="accent1">
                        <a:lumMod val="20000"/>
                        <a:lumOff val="80000"/>
                      </a:schemeClr>
                    </a:solidFill>
                  </a:tcPr>
                </a:tc>
                <a:extLst>
                  <a:ext uri="{0D108BD9-81ED-4DB2-BD59-A6C34878D82A}">
                    <a16:rowId xmlns:a16="http://schemas.microsoft.com/office/drawing/2014/main" val="3801254937"/>
                  </a:ext>
                </a:extLst>
              </a:tr>
              <a:tr h="218693">
                <a:tc>
                  <a:txBody>
                    <a:bodyPr/>
                    <a:lstStyle/>
                    <a:p>
                      <a:pPr algn="l" fontAlgn="b"/>
                      <a:r>
                        <a:rPr lang="en-US" sz="1100" b="1" u="none" strike="noStrike">
                          <a:effectLst/>
                          <a:latin typeface="Century Gothic" panose="020B0502020202020204" pitchFamily="34" charset="0"/>
                        </a:rPr>
                        <a:t>Mobile</a:t>
                      </a:r>
                      <a:endParaRPr lang="en-US" sz="1100" b="1"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25.41</a:t>
                      </a:r>
                      <a:endParaRPr lang="en-US" sz="1100" b="0"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33.07</a:t>
                      </a:r>
                      <a:endParaRPr lang="en-US" sz="1100" b="0" i="0" u="none" strike="noStrike">
                        <a:solidFill>
                          <a:srgbClr val="000000"/>
                        </a:solidFill>
                        <a:effectLst/>
                        <a:latin typeface="Century Gothic" panose="020B0502020202020204" pitchFamily="34" charset="0"/>
                      </a:endParaRPr>
                    </a:p>
                  </a:txBody>
                  <a:tcPr marL="6350" marR="6350" marT="6350" marB="0" anchor="b"/>
                </a:tc>
                <a:extLst>
                  <a:ext uri="{0D108BD9-81ED-4DB2-BD59-A6C34878D82A}">
                    <a16:rowId xmlns:a16="http://schemas.microsoft.com/office/drawing/2014/main" val="3313100872"/>
                  </a:ext>
                </a:extLst>
              </a:tr>
              <a:tr h="176489">
                <a:tc>
                  <a:txBody>
                    <a:bodyPr/>
                    <a:lstStyle/>
                    <a:p>
                      <a:pPr algn="l" fontAlgn="b"/>
                      <a:r>
                        <a:rPr lang="en-US" sz="1100" b="1" u="none" strike="noStrike">
                          <a:effectLst/>
                          <a:latin typeface="Century Gothic" panose="020B0502020202020204" pitchFamily="34" charset="0"/>
                        </a:rPr>
                        <a:t>Cards</a:t>
                      </a:r>
                      <a:endParaRPr lang="en-US" sz="1100" b="1"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0.12</a:t>
                      </a:r>
                      <a:endParaRPr lang="en-US" sz="1100" b="0"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dirty="0">
                          <a:effectLst/>
                          <a:latin typeface="Century Gothic" panose="020B0502020202020204" pitchFamily="34" charset="0"/>
                        </a:rPr>
                        <a:t>0.85</a:t>
                      </a:r>
                      <a:endParaRPr lang="en-US" sz="1100" b="0" i="0" u="none" strike="noStrike" dirty="0">
                        <a:solidFill>
                          <a:srgbClr val="000000"/>
                        </a:solidFill>
                        <a:effectLst/>
                        <a:latin typeface="Century Gothic" panose="020B0502020202020204" pitchFamily="34" charset="0"/>
                      </a:endParaRPr>
                    </a:p>
                  </a:txBody>
                  <a:tcPr marL="6350" marR="6350" marT="6350" marB="0" anchor="b"/>
                </a:tc>
                <a:extLst>
                  <a:ext uri="{0D108BD9-81ED-4DB2-BD59-A6C34878D82A}">
                    <a16:rowId xmlns:a16="http://schemas.microsoft.com/office/drawing/2014/main" val="100482311"/>
                  </a:ext>
                </a:extLst>
              </a:tr>
              <a:tr h="176489">
                <a:tc>
                  <a:txBody>
                    <a:bodyPr/>
                    <a:lstStyle/>
                    <a:p>
                      <a:pPr algn="l" fontAlgn="b"/>
                      <a:r>
                        <a:rPr lang="en-US" sz="1100" b="1" u="none" strike="noStrike">
                          <a:effectLst/>
                          <a:latin typeface="Century Gothic" panose="020B0502020202020204" pitchFamily="34" charset="0"/>
                        </a:rPr>
                        <a:t>EFTs</a:t>
                      </a:r>
                      <a:endParaRPr lang="en-US" sz="1100" b="1"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0.02</a:t>
                      </a:r>
                      <a:endParaRPr lang="en-US" sz="1100" b="0"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1.01</a:t>
                      </a:r>
                      <a:endParaRPr lang="en-US" sz="1100" b="0" i="0" u="none" strike="noStrike">
                        <a:solidFill>
                          <a:srgbClr val="000000"/>
                        </a:solidFill>
                        <a:effectLst/>
                        <a:latin typeface="Century Gothic" panose="020B0502020202020204" pitchFamily="34" charset="0"/>
                      </a:endParaRPr>
                    </a:p>
                  </a:txBody>
                  <a:tcPr marL="6350" marR="6350" marT="6350" marB="0" anchor="b"/>
                </a:tc>
                <a:extLst>
                  <a:ext uri="{0D108BD9-81ED-4DB2-BD59-A6C34878D82A}">
                    <a16:rowId xmlns:a16="http://schemas.microsoft.com/office/drawing/2014/main" val="2154356878"/>
                  </a:ext>
                </a:extLst>
              </a:tr>
              <a:tr h="195662">
                <a:tc>
                  <a:txBody>
                    <a:bodyPr/>
                    <a:lstStyle/>
                    <a:p>
                      <a:pPr algn="l" fontAlgn="b"/>
                      <a:r>
                        <a:rPr lang="en-US" sz="1100" b="1" u="none" strike="noStrike">
                          <a:effectLst/>
                          <a:latin typeface="Century Gothic" panose="020B0502020202020204" pitchFamily="34" charset="0"/>
                        </a:rPr>
                        <a:t>Cheques</a:t>
                      </a:r>
                      <a:endParaRPr lang="en-US" sz="1100" b="1"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0.01</a:t>
                      </a:r>
                      <a:endParaRPr lang="en-US" sz="1100" b="0"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2.48</a:t>
                      </a:r>
                      <a:endParaRPr lang="en-US" sz="1100" b="0" i="0" u="none" strike="noStrike">
                        <a:solidFill>
                          <a:srgbClr val="000000"/>
                        </a:solidFill>
                        <a:effectLst/>
                        <a:latin typeface="Century Gothic" panose="020B0502020202020204" pitchFamily="34" charset="0"/>
                      </a:endParaRPr>
                    </a:p>
                  </a:txBody>
                  <a:tcPr marL="6350" marR="6350" marT="6350" marB="0" anchor="b"/>
                </a:tc>
                <a:extLst>
                  <a:ext uri="{0D108BD9-81ED-4DB2-BD59-A6C34878D82A}">
                    <a16:rowId xmlns:a16="http://schemas.microsoft.com/office/drawing/2014/main" val="4164150305"/>
                  </a:ext>
                </a:extLst>
              </a:tr>
              <a:tr h="176489">
                <a:tc>
                  <a:txBody>
                    <a:bodyPr/>
                    <a:lstStyle/>
                    <a:p>
                      <a:pPr algn="l" fontAlgn="b"/>
                      <a:r>
                        <a:rPr lang="en-US" sz="1100" b="1" u="none" strike="noStrike">
                          <a:effectLst/>
                          <a:latin typeface="Century Gothic" panose="020B0502020202020204" pitchFamily="34" charset="0"/>
                        </a:rPr>
                        <a:t>KEPSS</a:t>
                      </a:r>
                      <a:endParaRPr lang="en-US" sz="1100" b="1"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a:effectLst/>
                          <a:latin typeface="Century Gothic" panose="020B0502020202020204" pitchFamily="34" charset="0"/>
                        </a:rPr>
                        <a:t>0.01</a:t>
                      </a:r>
                      <a:endParaRPr lang="en-US" sz="1100" b="0" i="0" u="none" strike="noStrike">
                        <a:solidFill>
                          <a:srgbClr val="000000"/>
                        </a:solidFill>
                        <a:effectLst/>
                        <a:latin typeface="Century Gothic" panose="020B0502020202020204" pitchFamily="34" charset="0"/>
                      </a:endParaRPr>
                    </a:p>
                  </a:txBody>
                  <a:tcPr marL="6350" marR="6350" marT="6350" marB="0" anchor="b"/>
                </a:tc>
                <a:tc>
                  <a:txBody>
                    <a:bodyPr/>
                    <a:lstStyle/>
                    <a:p>
                      <a:pPr algn="r" fontAlgn="b"/>
                      <a:r>
                        <a:rPr lang="en-US" sz="1100" u="none" strike="noStrike" dirty="0">
                          <a:effectLst/>
                          <a:latin typeface="Century Gothic" panose="020B0502020202020204" pitchFamily="34" charset="0"/>
                        </a:rPr>
                        <a:t>45.35</a:t>
                      </a:r>
                      <a:endParaRPr lang="en-US" sz="1100" b="0" i="0" u="none" strike="noStrike" dirty="0">
                        <a:solidFill>
                          <a:srgbClr val="000000"/>
                        </a:solidFill>
                        <a:effectLst/>
                        <a:latin typeface="Century Gothic" panose="020B0502020202020204" pitchFamily="34" charset="0"/>
                      </a:endParaRPr>
                    </a:p>
                  </a:txBody>
                  <a:tcPr marL="6350" marR="6350" marT="6350" marB="0" anchor="b"/>
                </a:tc>
                <a:extLst>
                  <a:ext uri="{0D108BD9-81ED-4DB2-BD59-A6C34878D82A}">
                    <a16:rowId xmlns:a16="http://schemas.microsoft.com/office/drawing/2014/main" val="2562323374"/>
                  </a:ext>
                </a:extLst>
              </a:tr>
            </a:tbl>
          </a:graphicData>
        </a:graphic>
      </p:graphicFrame>
    </p:spTree>
    <p:extLst>
      <p:ext uri="{BB962C8B-B14F-4D97-AF65-F5344CB8AC3E}">
        <p14:creationId xmlns:p14="http://schemas.microsoft.com/office/powerpoint/2010/main" val="367404894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DD705-E06C-7DD4-E884-938EE6E65793}"/>
            </a:ext>
          </a:extLst>
        </p:cNvPr>
        <p:cNvGrpSpPr/>
        <p:nvPr/>
      </p:nvGrpSpPr>
      <p:grpSpPr>
        <a:xfrm>
          <a:off x="0" y="0"/>
          <a:ext cx="0" cy="0"/>
          <a:chOff x="0" y="0"/>
          <a:chExt cx="0" cy="0"/>
        </a:xfrm>
      </p:grpSpPr>
      <p:sp>
        <p:nvSpPr>
          <p:cNvPr id="26" name="TextBox 26">
            <a:extLst>
              <a:ext uri="{FF2B5EF4-FFF2-40B4-BE49-F238E27FC236}">
                <a16:creationId xmlns:a16="http://schemas.microsoft.com/office/drawing/2014/main" id="{A04240CC-943A-6228-C5A2-E47E99E52C45}"/>
              </a:ext>
            </a:extLst>
          </p:cNvPr>
          <p:cNvSpPr txBox="1"/>
          <p:nvPr/>
        </p:nvSpPr>
        <p:spPr>
          <a:xfrm>
            <a:off x="531561" y="25567"/>
            <a:ext cx="8333579" cy="508857"/>
          </a:xfrm>
          <a:prstGeom prst="rect">
            <a:avLst/>
          </a:prstGeom>
        </p:spPr>
        <p:txBody>
          <a:bodyPr wrap="square" lIns="0" tIns="0" rIns="0" bIns="0" rtlCol="0" anchor="t">
            <a:spAutoFit/>
          </a:bodyPr>
          <a:lstStyle/>
          <a:p>
            <a:pPr algn="ctr" defTabSz="914378">
              <a:lnSpc>
                <a:spcPts val="1317"/>
              </a:lnSpc>
            </a:pPr>
            <a:endParaRPr sz="700" dirty="0">
              <a:latin typeface="Century Gothic" panose="020B0502020202020204" pitchFamily="34" charset="0"/>
            </a:endParaRPr>
          </a:p>
          <a:p>
            <a:pPr algn="ctr" defTabSz="914378">
              <a:lnSpc>
                <a:spcPts val="1911"/>
              </a:lnSpc>
              <a:spcBef>
                <a:spcPct val="0"/>
              </a:spcBef>
            </a:pPr>
            <a:r>
              <a:rPr lang="en-US" sz="2400" b="1" dirty="0">
                <a:solidFill>
                  <a:srgbClr val="000C18"/>
                </a:solidFill>
                <a:latin typeface="Century Gothic" panose="020B0502020202020204" pitchFamily="34" charset="0"/>
                <a:ea typeface="Century Gothic Paneuropean"/>
                <a:cs typeface="Century Gothic Paneuropean"/>
                <a:sym typeface="Century Gothic Paneuropean"/>
              </a:rPr>
              <a:t>Mandate -Legal and Regulatory Framework</a:t>
            </a:r>
            <a:endParaRPr lang="en-US" sz="1770" dirty="0">
              <a:solidFill>
                <a:srgbClr val="0097B2"/>
              </a:solidFill>
              <a:latin typeface="Century Gothic" panose="020B0502020202020204" pitchFamily="34" charset="0"/>
              <a:ea typeface="Century Gothic Paneuropean"/>
              <a:cs typeface="Century Gothic Paneuropean"/>
              <a:sym typeface="Century Gothic Paneuropean"/>
            </a:endParaRPr>
          </a:p>
          <a:p>
            <a:pPr algn="ctr" defTabSz="914378">
              <a:lnSpc>
                <a:spcPts val="476"/>
              </a:lnSpc>
              <a:spcBef>
                <a:spcPct val="0"/>
              </a:spcBef>
            </a:pPr>
            <a:endParaRPr lang="en-US" sz="1770" dirty="0">
              <a:solidFill>
                <a:srgbClr val="0097B2"/>
              </a:solidFill>
              <a:latin typeface="Century Gothic" panose="020B0502020202020204" pitchFamily="34" charset="0"/>
              <a:ea typeface="Century Gothic Paneuropean"/>
              <a:cs typeface="Century Gothic Paneuropean"/>
              <a:sym typeface="Century Gothic Paneuropean"/>
            </a:endParaRPr>
          </a:p>
        </p:txBody>
      </p:sp>
      <p:grpSp>
        <p:nvGrpSpPr>
          <p:cNvPr id="8" name="Group 7">
            <a:extLst>
              <a:ext uri="{FF2B5EF4-FFF2-40B4-BE49-F238E27FC236}">
                <a16:creationId xmlns:a16="http://schemas.microsoft.com/office/drawing/2014/main" id="{BBB518C8-29C5-8BC0-424D-5B9176AF331D}"/>
              </a:ext>
            </a:extLst>
          </p:cNvPr>
          <p:cNvGrpSpPr/>
          <p:nvPr/>
        </p:nvGrpSpPr>
        <p:grpSpPr>
          <a:xfrm>
            <a:off x="531561" y="-38528"/>
            <a:ext cx="8573784" cy="4754864"/>
            <a:chOff x="575325" y="6475"/>
            <a:chExt cx="8573784" cy="4754864"/>
          </a:xfrm>
        </p:grpSpPr>
        <p:grpSp>
          <p:nvGrpSpPr>
            <p:cNvPr id="2" name="Group 2">
              <a:extLst>
                <a:ext uri="{FF2B5EF4-FFF2-40B4-BE49-F238E27FC236}">
                  <a16:creationId xmlns:a16="http://schemas.microsoft.com/office/drawing/2014/main" id="{FBDE8AD1-44B1-E130-030F-59B3BEB68256}"/>
                </a:ext>
              </a:extLst>
            </p:cNvPr>
            <p:cNvGrpSpPr/>
            <p:nvPr/>
          </p:nvGrpSpPr>
          <p:grpSpPr>
            <a:xfrm>
              <a:off x="598210" y="2095814"/>
              <a:ext cx="8266930" cy="1215633"/>
              <a:chOff x="0" y="0"/>
              <a:chExt cx="4401432" cy="677024"/>
            </a:xfrm>
          </p:grpSpPr>
          <p:sp>
            <p:nvSpPr>
              <p:cNvPr id="3" name="Freeform 3">
                <a:extLst>
                  <a:ext uri="{FF2B5EF4-FFF2-40B4-BE49-F238E27FC236}">
                    <a16:creationId xmlns:a16="http://schemas.microsoft.com/office/drawing/2014/main" id="{314F12FA-D49C-F0B4-DFF8-6B2DB1700A4A}"/>
                  </a:ext>
                </a:extLst>
              </p:cNvPr>
              <p:cNvSpPr/>
              <p:nvPr/>
            </p:nvSpPr>
            <p:spPr>
              <a:xfrm>
                <a:off x="0" y="0"/>
                <a:ext cx="4401432" cy="677024"/>
              </a:xfrm>
              <a:custGeom>
                <a:avLst/>
                <a:gdLst/>
                <a:ahLst/>
                <a:cxnLst/>
                <a:rect l="l" t="t" r="r" b="b"/>
                <a:pathLst>
                  <a:path w="4401432" h="677024">
                    <a:moveTo>
                      <a:pt x="0" y="0"/>
                    </a:moveTo>
                    <a:lnTo>
                      <a:pt x="4401432" y="0"/>
                    </a:lnTo>
                    <a:lnTo>
                      <a:pt x="4401432" y="677024"/>
                    </a:lnTo>
                    <a:lnTo>
                      <a:pt x="0" y="677024"/>
                    </a:lnTo>
                    <a:close/>
                  </a:path>
                </a:pathLst>
              </a:custGeom>
            </p:spPr>
            <p:style>
              <a:lnRef idx="1">
                <a:schemeClr val="accent1"/>
              </a:lnRef>
              <a:fillRef idx="2">
                <a:schemeClr val="accent1"/>
              </a:fillRef>
              <a:effectRef idx="1">
                <a:schemeClr val="accent1"/>
              </a:effectRef>
              <a:fontRef idx="minor">
                <a:schemeClr val="dk1"/>
              </a:fontRef>
            </p:style>
            <p:txBody>
              <a:bodyPr/>
              <a:lstStyle/>
              <a:p>
                <a:pPr defTabSz="914378"/>
                <a:endParaRPr lang="en-US" sz="700">
                  <a:solidFill>
                    <a:srgbClr val="000C18"/>
                  </a:solidFill>
                  <a:latin typeface="Century Gothic" panose="020B0502020202020204" pitchFamily="34" charset="0"/>
                </a:endParaRPr>
              </a:p>
            </p:txBody>
          </p:sp>
          <p:sp>
            <p:nvSpPr>
              <p:cNvPr id="4" name="TextBox 4">
                <a:extLst>
                  <a:ext uri="{FF2B5EF4-FFF2-40B4-BE49-F238E27FC236}">
                    <a16:creationId xmlns:a16="http://schemas.microsoft.com/office/drawing/2014/main" id="{C08C3696-E913-78D1-7CF7-F3B25A34FD95}"/>
                  </a:ext>
                </a:extLst>
              </p:cNvPr>
              <p:cNvSpPr txBox="1"/>
              <p:nvPr/>
            </p:nvSpPr>
            <p:spPr>
              <a:xfrm>
                <a:off x="0" y="19050"/>
                <a:ext cx="4401432" cy="657974"/>
              </a:xfrm>
              <a:prstGeom prst="rect">
                <a:avLst/>
              </a:prstGeom>
            </p:spPr>
            <p:style>
              <a:lnRef idx="1">
                <a:schemeClr val="accent1"/>
              </a:lnRef>
              <a:fillRef idx="2">
                <a:schemeClr val="accent1"/>
              </a:fillRef>
              <a:effectRef idx="1">
                <a:schemeClr val="accent1"/>
              </a:effectRef>
              <a:fontRef idx="minor">
                <a:schemeClr val="dk1"/>
              </a:fontRef>
            </p:style>
            <p:txBody>
              <a:bodyPr lIns="25400" tIns="25400" rIns="25400" bIns="25400" rtlCol="0" anchor="ctr"/>
              <a:lstStyle/>
              <a:p>
                <a:pPr algn="ctr" defTabSz="914378">
                  <a:lnSpc>
                    <a:spcPts val="972"/>
                  </a:lnSpc>
                </a:pPr>
                <a:endParaRPr sz="700">
                  <a:solidFill>
                    <a:srgbClr val="000C18"/>
                  </a:solidFill>
                  <a:latin typeface="Century Gothic" panose="020B0502020202020204" pitchFamily="34" charset="0"/>
                </a:endParaRPr>
              </a:p>
            </p:txBody>
          </p:sp>
        </p:grpSp>
        <p:grpSp>
          <p:nvGrpSpPr>
            <p:cNvPr id="5" name="Group 5">
              <a:extLst>
                <a:ext uri="{FF2B5EF4-FFF2-40B4-BE49-F238E27FC236}">
                  <a16:creationId xmlns:a16="http://schemas.microsoft.com/office/drawing/2014/main" id="{10583972-55F6-BE4F-6743-570BD9EA6400}"/>
                </a:ext>
              </a:extLst>
            </p:cNvPr>
            <p:cNvGrpSpPr/>
            <p:nvPr/>
          </p:nvGrpSpPr>
          <p:grpSpPr>
            <a:xfrm>
              <a:off x="575325" y="3444904"/>
              <a:ext cx="8401613" cy="1297691"/>
              <a:chOff x="-3981" y="-3000"/>
              <a:chExt cx="4425541" cy="408471"/>
            </a:xfrm>
          </p:grpSpPr>
          <p:sp>
            <p:nvSpPr>
              <p:cNvPr id="6" name="Freeform 6">
                <a:extLst>
                  <a:ext uri="{FF2B5EF4-FFF2-40B4-BE49-F238E27FC236}">
                    <a16:creationId xmlns:a16="http://schemas.microsoft.com/office/drawing/2014/main" id="{55E0B270-8EEA-FF94-78F7-376F37551DD0}"/>
                  </a:ext>
                </a:extLst>
              </p:cNvPr>
              <p:cNvSpPr/>
              <p:nvPr/>
            </p:nvSpPr>
            <p:spPr>
              <a:xfrm>
                <a:off x="0" y="0"/>
                <a:ext cx="4421560" cy="405471"/>
              </a:xfrm>
              <a:custGeom>
                <a:avLst/>
                <a:gdLst/>
                <a:ahLst/>
                <a:cxnLst/>
                <a:rect l="l" t="t" r="r" b="b"/>
                <a:pathLst>
                  <a:path w="4421560" h="405471">
                    <a:moveTo>
                      <a:pt x="0" y="0"/>
                    </a:moveTo>
                    <a:lnTo>
                      <a:pt x="4421560" y="0"/>
                    </a:lnTo>
                    <a:lnTo>
                      <a:pt x="4421560" y="405471"/>
                    </a:lnTo>
                    <a:lnTo>
                      <a:pt x="0" y="405471"/>
                    </a:lnTo>
                    <a:close/>
                  </a:path>
                </a:pathLst>
              </a:custGeom>
            </p:spPr>
            <p:style>
              <a:lnRef idx="0">
                <a:schemeClr val="accent2"/>
              </a:lnRef>
              <a:fillRef idx="3">
                <a:schemeClr val="accent2"/>
              </a:fillRef>
              <a:effectRef idx="3">
                <a:schemeClr val="accent2"/>
              </a:effectRef>
              <a:fontRef idx="minor">
                <a:schemeClr val="lt1"/>
              </a:fontRef>
            </p:style>
            <p:txBody>
              <a:bodyPr/>
              <a:lstStyle/>
              <a:p>
                <a:pPr defTabSz="914378"/>
                <a:endParaRPr lang="en-US" sz="700">
                  <a:solidFill>
                    <a:srgbClr val="FFFFFF"/>
                  </a:solidFill>
                  <a:latin typeface="Century Gothic" panose="020B0502020202020204" pitchFamily="34" charset="0"/>
                </a:endParaRPr>
              </a:p>
            </p:txBody>
          </p:sp>
          <p:sp>
            <p:nvSpPr>
              <p:cNvPr id="7" name="TextBox 7">
                <a:extLst>
                  <a:ext uri="{FF2B5EF4-FFF2-40B4-BE49-F238E27FC236}">
                    <a16:creationId xmlns:a16="http://schemas.microsoft.com/office/drawing/2014/main" id="{00CA0B9E-E9D5-0D10-CE0D-28292BD8CFFE}"/>
                  </a:ext>
                </a:extLst>
              </p:cNvPr>
              <p:cNvSpPr txBox="1"/>
              <p:nvPr/>
            </p:nvSpPr>
            <p:spPr>
              <a:xfrm>
                <a:off x="-3981" y="-3000"/>
                <a:ext cx="4421561" cy="386421"/>
              </a:xfrm>
              <a:prstGeom prst="rect">
                <a:avLst/>
              </a:prstGeom>
            </p:spPr>
            <p:style>
              <a:lnRef idx="0">
                <a:schemeClr val="accent2"/>
              </a:lnRef>
              <a:fillRef idx="3">
                <a:schemeClr val="accent2"/>
              </a:fillRef>
              <a:effectRef idx="3">
                <a:schemeClr val="accent2"/>
              </a:effectRef>
              <a:fontRef idx="minor">
                <a:schemeClr val="lt1"/>
              </a:fontRef>
            </p:style>
            <p:txBody>
              <a:bodyPr lIns="25400" tIns="25400" rIns="25400" bIns="25400" rtlCol="0" anchor="ctr"/>
              <a:lstStyle/>
              <a:p>
                <a:pPr algn="ctr" defTabSz="914378">
                  <a:lnSpc>
                    <a:spcPts val="972"/>
                  </a:lnSpc>
                </a:pPr>
                <a:endParaRPr sz="700" dirty="0">
                  <a:solidFill>
                    <a:srgbClr val="FFFFFF"/>
                  </a:solidFill>
                  <a:latin typeface="Century Gothic" panose="020B0502020202020204" pitchFamily="34" charset="0"/>
                </a:endParaRPr>
              </a:p>
            </p:txBody>
          </p:sp>
        </p:grpSp>
        <p:grpSp>
          <p:nvGrpSpPr>
            <p:cNvPr id="11" name="Group 11">
              <a:extLst>
                <a:ext uri="{FF2B5EF4-FFF2-40B4-BE49-F238E27FC236}">
                  <a16:creationId xmlns:a16="http://schemas.microsoft.com/office/drawing/2014/main" id="{7293EE22-E84D-1BB9-BB54-ADCD1B1D113F}"/>
                </a:ext>
              </a:extLst>
            </p:cNvPr>
            <p:cNvGrpSpPr/>
            <p:nvPr/>
          </p:nvGrpSpPr>
          <p:grpSpPr>
            <a:xfrm>
              <a:off x="592639" y="2095255"/>
              <a:ext cx="2410931" cy="1285287"/>
              <a:chOff x="0" y="0"/>
              <a:chExt cx="864066" cy="460640"/>
            </a:xfrm>
          </p:grpSpPr>
          <p:sp>
            <p:nvSpPr>
              <p:cNvPr id="12" name="Freeform 12">
                <a:extLst>
                  <a:ext uri="{FF2B5EF4-FFF2-40B4-BE49-F238E27FC236}">
                    <a16:creationId xmlns:a16="http://schemas.microsoft.com/office/drawing/2014/main" id="{7B5BD485-A1B6-AEA2-B3C9-36EC76B524F4}"/>
                  </a:ext>
                </a:extLst>
              </p:cNvPr>
              <p:cNvSpPr/>
              <p:nvPr/>
            </p:nvSpPr>
            <p:spPr>
              <a:xfrm>
                <a:off x="0" y="0"/>
                <a:ext cx="864066" cy="432065"/>
              </a:xfrm>
              <a:custGeom>
                <a:avLst/>
                <a:gdLst/>
                <a:ahLst/>
                <a:cxnLst/>
                <a:rect l="l" t="t" r="r" b="b"/>
                <a:pathLst>
                  <a:path w="864066" h="460640">
                    <a:moveTo>
                      <a:pt x="660866" y="0"/>
                    </a:moveTo>
                    <a:lnTo>
                      <a:pt x="0" y="0"/>
                    </a:lnTo>
                    <a:lnTo>
                      <a:pt x="0" y="460640"/>
                    </a:lnTo>
                    <a:lnTo>
                      <a:pt x="660866" y="460640"/>
                    </a:lnTo>
                    <a:lnTo>
                      <a:pt x="864066" y="230320"/>
                    </a:lnTo>
                    <a:lnTo>
                      <a:pt x="660866" y="0"/>
                    </a:lnTo>
                    <a:close/>
                  </a:path>
                </a:pathLst>
              </a:custGeom>
              <a:solidFill>
                <a:srgbClr val="00B0F0"/>
              </a:solidFill>
            </p:spPr>
            <p:txBody>
              <a:bodyPr/>
              <a:lstStyle/>
              <a:p>
                <a:pPr defTabSz="914378"/>
                <a:endParaRPr lang="en-US" sz="700">
                  <a:latin typeface="Century Gothic" panose="020B0502020202020204" pitchFamily="34" charset="0"/>
                </a:endParaRPr>
              </a:p>
            </p:txBody>
          </p:sp>
          <p:sp>
            <p:nvSpPr>
              <p:cNvPr id="13" name="TextBox 13">
                <a:extLst>
                  <a:ext uri="{FF2B5EF4-FFF2-40B4-BE49-F238E27FC236}">
                    <a16:creationId xmlns:a16="http://schemas.microsoft.com/office/drawing/2014/main" id="{3D73BADC-5C72-F9B2-4608-1C638063B25A}"/>
                  </a:ext>
                </a:extLst>
              </p:cNvPr>
              <p:cNvSpPr txBox="1"/>
              <p:nvPr/>
            </p:nvSpPr>
            <p:spPr>
              <a:xfrm>
                <a:off x="0" y="28575"/>
                <a:ext cx="749766" cy="432065"/>
              </a:xfrm>
              <a:prstGeom prst="rect">
                <a:avLst/>
              </a:prstGeom>
            </p:spPr>
            <p:txBody>
              <a:bodyPr lIns="25400" tIns="25400" rIns="25400" bIns="25400" rtlCol="0" anchor="ctr"/>
              <a:lstStyle/>
              <a:p>
                <a:pPr defTabSz="914378">
                  <a:lnSpc>
                    <a:spcPts val="1134"/>
                  </a:lnSpc>
                </a:pPr>
                <a:r>
                  <a:rPr lang="en-US" sz="1500" b="1" dirty="0">
                    <a:latin typeface="Century Gothic" panose="020B0502020202020204" pitchFamily="34" charset="0"/>
                    <a:ea typeface="Century Gothic Paneuropean"/>
                    <a:cs typeface="Century Gothic Paneuropean"/>
                    <a:sym typeface="Century Gothic Paneuropean"/>
                  </a:rPr>
                  <a:t>Central Bank of Kenya Act(Cap 491)</a:t>
                </a:r>
              </a:p>
              <a:p>
                <a:pPr algn="ctr" defTabSz="914378">
                  <a:lnSpc>
                    <a:spcPts val="1134"/>
                  </a:lnSpc>
                </a:pPr>
                <a:endParaRPr lang="en-US" sz="1050" dirty="0">
                  <a:solidFill>
                    <a:srgbClr val="FFFFFF"/>
                  </a:solidFill>
                  <a:latin typeface="Century Gothic" panose="020B0502020202020204" pitchFamily="34" charset="0"/>
                  <a:ea typeface="Century Gothic Paneuropean"/>
                  <a:cs typeface="Century Gothic Paneuropean"/>
                  <a:sym typeface="Century Gothic Paneuropean"/>
                </a:endParaRPr>
              </a:p>
            </p:txBody>
          </p:sp>
        </p:grpSp>
        <p:grpSp>
          <p:nvGrpSpPr>
            <p:cNvPr id="14" name="Group 14">
              <a:extLst>
                <a:ext uri="{FF2B5EF4-FFF2-40B4-BE49-F238E27FC236}">
                  <a16:creationId xmlns:a16="http://schemas.microsoft.com/office/drawing/2014/main" id="{91AAE061-AF48-AFBB-37DE-F22306E3BA08}"/>
                </a:ext>
              </a:extLst>
            </p:cNvPr>
            <p:cNvGrpSpPr/>
            <p:nvPr/>
          </p:nvGrpSpPr>
          <p:grpSpPr>
            <a:xfrm>
              <a:off x="582419" y="3463646"/>
              <a:ext cx="2431370" cy="1297693"/>
              <a:chOff x="0" y="0"/>
              <a:chExt cx="984083" cy="311556"/>
            </a:xfrm>
          </p:grpSpPr>
          <p:sp>
            <p:nvSpPr>
              <p:cNvPr id="15" name="Freeform 15">
                <a:extLst>
                  <a:ext uri="{FF2B5EF4-FFF2-40B4-BE49-F238E27FC236}">
                    <a16:creationId xmlns:a16="http://schemas.microsoft.com/office/drawing/2014/main" id="{C6FC4C99-AF97-0B92-D860-52C6979E3D5C}"/>
                  </a:ext>
                </a:extLst>
              </p:cNvPr>
              <p:cNvSpPr/>
              <p:nvPr/>
            </p:nvSpPr>
            <p:spPr>
              <a:xfrm>
                <a:off x="0" y="0"/>
                <a:ext cx="984083" cy="311556"/>
              </a:xfrm>
              <a:custGeom>
                <a:avLst/>
                <a:gdLst/>
                <a:ahLst/>
                <a:cxnLst/>
                <a:rect l="l" t="t" r="r" b="b"/>
                <a:pathLst>
                  <a:path w="984083" h="311556">
                    <a:moveTo>
                      <a:pt x="780883" y="0"/>
                    </a:moveTo>
                    <a:lnTo>
                      <a:pt x="0" y="0"/>
                    </a:lnTo>
                    <a:lnTo>
                      <a:pt x="0" y="311556"/>
                    </a:lnTo>
                    <a:lnTo>
                      <a:pt x="780883" y="311556"/>
                    </a:lnTo>
                    <a:lnTo>
                      <a:pt x="984083" y="155778"/>
                    </a:lnTo>
                    <a:lnTo>
                      <a:pt x="780883" y="0"/>
                    </a:lnTo>
                    <a:close/>
                  </a:path>
                </a:pathLst>
              </a:custGeom>
              <a:solidFill>
                <a:schemeClr val="accent2"/>
              </a:solidFill>
            </p:spPr>
            <p:txBody>
              <a:bodyPr/>
              <a:lstStyle/>
              <a:p>
                <a:pPr defTabSz="914378"/>
                <a:endParaRPr lang="en-US" sz="700">
                  <a:latin typeface="Century Gothic" panose="020B0502020202020204" pitchFamily="34" charset="0"/>
                </a:endParaRPr>
              </a:p>
            </p:txBody>
          </p:sp>
          <p:sp>
            <p:nvSpPr>
              <p:cNvPr id="16" name="TextBox 16">
                <a:extLst>
                  <a:ext uri="{FF2B5EF4-FFF2-40B4-BE49-F238E27FC236}">
                    <a16:creationId xmlns:a16="http://schemas.microsoft.com/office/drawing/2014/main" id="{1CB27C31-5BA6-1082-DA07-5329A42D5435}"/>
                  </a:ext>
                </a:extLst>
              </p:cNvPr>
              <p:cNvSpPr txBox="1"/>
              <p:nvPr/>
            </p:nvSpPr>
            <p:spPr>
              <a:xfrm>
                <a:off x="0" y="19050"/>
                <a:ext cx="869783" cy="292506"/>
              </a:xfrm>
              <a:prstGeom prst="rect">
                <a:avLst/>
              </a:prstGeom>
            </p:spPr>
            <p:txBody>
              <a:bodyPr lIns="25400" tIns="25400" rIns="25400" bIns="25400" rtlCol="0" anchor="ctr"/>
              <a:lstStyle/>
              <a:p>
                <a:pPr defTabSz="914378">
                  <a:lnSpc>
                    <a:spcPts val="1188"/>
                  </a:lnSpc>
                </a:pPr>
                <a:r>
                  <a:rPr lang="en-US" sz="1500" b="1" dirty="0">
                    <a:solidFill>
                      <a:srgbClr val="FFFFFF"/>
                    </a:solidFill>
                    <a:latin typeface="Century Gothic" panose="020B0502020202020204" pitchFamily="34" charset="0"/>
                    <a:ea typeface="Century Gothic Paneuropean"/>
                    <a:cs typeface="Century Gothic Paneuropean"/>
                    <a:sym typeface="Century Gothic Paneuropean"/>
                  </a:rPr>
                  <a:t>National Payment System Act (2011) and Regulations (2014)</a:t>
                </a:r>
              </a:p>
              <a:p>
                <a:pPr algn="ctr" defTabSz="914378">
                  <a:lnSpc>
                    <a:spcPts val="1188"/>
                  </a:lnSpc>
                </a:pPr>
                <a:endParaRPr lang="en-US" sz="1100" dirty="0">
                  <a:solidFill>
                    <a:srgbClr val="FFFFFF"/>
                  </a:solidFill>
                  <a:latin typeface="Century Gothic" panose="020B0502020202020204" pitchFamily="34" charset="0"/>
                  <a:ea typeface="Century Gothic Paneuropean"/>
                  <a:cs typeface="Century Gothic Paneuropean"/>
                  <a:sym typeface="Century Gothic Paneuropean"/>
                </a:endParaRPr>
              </a:p>
            </p:txBody>
          </p:sp>
        </p:grpSp>
        <p:grpSp>
          <p:nvGrpSpPr>
            <p:cNvPr id="20" name="Group 20">
              <a:extLst>
                <a:ext uri="{FF2B5EF4-FFF2-40B4-BE49-F238E27FC236}">
                  <a16:creationId xmlns:a16="http://schemas.microsoft.com/office/drawing/2014/main" id="{C7C691B1-F223-33D2-02DD-7E052667E83B}"/>
                </a:ext>
              </a:extLst>
            </p:cNvPr>
            <p:cNvGrpSpPr/>
            <p:nvPr/>
          </p:nvGrpSpPr>
          <p:grpSpPr>
            <a:xfrm>
              <a:off x="591479" y="964688"/>
              <a:ext cx="8355843" cy="1005597"/>
              <a:chOff x="0" y="0"/>
              <a:chExt cx="4401432" cy="405471"/>
            </a:xfrm>
          </p:grpSpPr>
          <p:sp>
            <p:nvSpPr>
              <p:cNvPr id="21" name="Freeform 21">
                <a:extLst>
                  <a:ext uri="{FF2B5EF4-FFF2-40B4-BE49-F238E27FC236}">
                    <a16:creationId xmlns:a16="http://schemas.microsoft.com/office/drawing/2014/main" id="{895027E3-9FE0-20B7-61C2-1183C8BF074F}"/>
                  </a:ext>
                </a:extLst>
              </p:cNvPr>
              <p:cNvSpPr/>
              <p:nvPr/>
            </p:nvSpPr>
            <p:spPr>
              <a:xfrm>
                <a:off x="0" y="0"/>
                <a:ext cx="4401432" cy="405471"/>
              </a:xfrm>
              <a:custGeom>
                <a:avLst/>
                <a:gdLst/>
                <a:ahLst/>
                <a:cxnLst/>
                <a:rect l="l" t="t" r="r" b="b"/>
                <a:pathLst>
                  <a:path w="4401432" h="405471">
                    <a:moveTo>
                      <a:pt x="0" y="0"/>
                    </a:moveTo>
                    <a:lnTo>
                      <a:pt x="4401432" y="0"/>
                    </a:lnTo>
                    <a:lnTo>
                      <a:pt x="4401432" y="405471"/>
                    </a:lnTo>
                    <a:lnTo>
                      <a:pt x="0" y="405471"/>
                    </a:lnTo>
                    <a:close/>
                  </a:path>
                </a:pathLst>
              </a:custGeom>
            </p:spPr>
            <p:style>
              <a:lnRef idx="0">
                <a:schemeClr val="accent2"/>
              </a:lnRef>
              <a:fillRef idx="3">
                <a:schemeClr val="accent2"/>
              </a:fillRef>
              <a:effectRef idx="3">
                <a:schemeClr val="accent2"/>
              </a:effectRef>
              <a:fontRef idx="minor">
                <a:schemeClr val="lt1"/>
              </a:fontRef>
            </p:style>
            <p:txBody>
              <a:bodyPr/>
              <a:lstStyle/>
              <a:p>
                <a:pPr defTabSz="914378"/>
                <a:endParaRPr lang="en-US" sz="700">
                  <a:solidFill>
                    <a:srgbClr val="FFFFFF"/>
                  </a:solidFill>
                  <a:latin typeface="Century Gothic" panose="020B0502020202020204" pitchFamily="34" charset="0"/>
                </a:endParaRPr>
              </a:p>
            </p:txBody>
          </p:sp>
          <p:sp>
            <p:nvSpPr>
              <p:cNvPr id="22" name="TextBox 22">
                <a:extLst>
                  <a:ext uri="{FF2B5EF4-FFF2-40B4-BE49-F238E27FC236}">
                    <a16:creationId xmlns:a16="http://schemas.microsoft.com/office/drawing/2014/main" id="{2299A364-AE8C-F26D-ABA4-1A5F92163A6B}"/>
                  </a:ext>
                </a:extLst>
              </p:cNvPr>
              <p:cNvSpPr txBox="1"/>
              <p:nvPr/>
            </p:nvSpPr>
            <p:spPr>
              <a:xfrm>
                <a:off x="0" y="19050"/>
                <a:ext cx="4401432" cy="386421"/>
              </a:xfrm>
              <a:prstGeom prst="rect">
                <a:avLst/>
              </a:prstGeom>
            </p:spPr>
            <p:style>
              <a:lnRef idx="0">
                <a:schemeClr val="accent2"/>
              </a:lnRef>
              <a:fillRef idx="3">
                <a:schemeClr val="accent2"/>
              </a:fillRef>
              <a:effectRef idx="3">
                <a:schemeClr val="accent2"/>
              </a:effectRef>
              <a:fontRef idx="minor">
                <a:schemeClr val="lt1"/>
              </a:fontRef>
            </p:style>
            <p:txBody>
              <a:bodyPr lIns="25400" tIns="25400" rIns="25400" bIns="25400" rtlCol="0" anchor="ctr"/>
              <a:lstStyle/>
              <a:p>
                <a:pPr algn="ctr" defTabSz="914378">
                  <a:lnSpc>
                    <a:spcPts val="972"/>
                  </a:lnSpc>
                </a:pPr>
                <a:endParaRPr sz="700">
                  <a:solidFill>
                    <a:srgbClr val="FFFFFF"/>
                  </a:solidFill>
                  <a:latin typeface="Century Gothic" panose="020B0502020202020204" pitchFamily="34" charset="0"/>
                </a:endParaRPr>
              </a:p>
            </p:txBody>
          </p:sp>
        </p:grpSp>
        <p:grpSp>
          <p:nvGrpSpPr>
            <p:cNvPr id="23" name="Group 23">
              <a:extLst>
                <a:ext uri="{FF2B5EF4-FFF2-40B4-BE49-F238E27FC236}">
                  <a16:creationId xmlns:a16="http://schemas.microsoft.com/office/drawing/2014/main" id="{3C26488B-F523-2146-AA57-2B600D3C9350}"/>
                </a:ext>
              </a:extLst>
            </p:cNvPr>
            <p:cNvGrpSpPr/>
            <p:nvPr/>
          </p:nvGrpSpPr>
          <p:grpSpPr>
            <a:xfrm>
              <a:off x="582421" y="995173"/>
              <a:ext cx="2431370" cy="993854"/>
              <a:chOff x="-3982" y="-59939"/>
              <a:chExt cx="1280721" cy="471142"/>
            </a:xfrm>
          </p:grpSpPr>
          <p:sp>
            <p:nvSpPr>
              <p:cNvPr id="24" name="Freeform 24">
                <a:extLst>
                  <a:ext uri="{FF2B5EF4-FFF2-40B4-BE49-F238E27FC236}">
                    <a16:creationId xmlns:a16="http://schemas.microsoft.com/office/drawing/2014/main" id="{0D39943A-0E67-B444-15E6-2D45A1200815}"/>
                  </a:ext>
                </a:extLst>
              </p:cNvPr>
              <p:cNvSpPr/>
              <p:nvPr/>
            </p:nvSpPr>
            <p:spPr>
              <a:xfrm>
                <a:off x="-3982" y="-59939"/>
                <a:ext cx="1280721" cy="471142"/>
              </a:xfrm>
              <a:custGeom>
                <a:avLst/>
                <a:gdLst/>
                <a:ahLst/>
                <a:cxnLst/>
                <a:rect l="l" t="t" r="r" b="b"/>
                <a:pathLst>
                  <a:path w="1280721" h="406400">
                    <a:moveTo>
                      <a:pt x="1077521" y="0"/>
                    </a:moveTo>
                    <a:lnTo>
                      <a:pt x="0" y="0"/>
                    </a:lnTo>
                    <a:lnTo>
                      <a:pt x="0" y="406400"/>
                    </a:lnTo>
                    <a:lnTo>
                      <a:pt x="1077521" y="406400"/>
                    </a:lnTo>
                    <a:lnTo>
                      <a:pt x="1280721" y="203200"/>
                    </a:lnTo>
                    <a:lnTo>
                      <a:pt x="1077521" y="0"/>
                    </a:lnTo>
                    <a:close/>
                  </a:path>
                </a:pathLst>
              </a:custGeom>
              <a:solidFill>
                <a:schemeClr val="accent2"/>
              </a:solidFill>
            </p:spPr>
            <p:txBody>
              <a:bodyPr/>
              <a:lstStyle/>
              <a:p>
                <a:pPr defTabSz="914378"/>
                <a:endParaRPr lang="en-US" sz="700">
                  <a:latin typeface="Century Gothic" panose="020B0502020202020204" pitchFamily="34" charset="0"/>
                </a:endParaRPr>
              </a:p>
            </p:txBody>
          </p:sp>
          <p:sp>
            <p:nvSpPr>
              <p:cNvPr id="25" name="TextBox 25">
                <a:extLst>
                  <a:ext uri="{FF2B5EF4-FFF2-40B4-BE49-F238E27FC236}">
                    <a16:creationId xmlns:a16="http://schemas.microsoft.com/office/drawing/2014/main" id="{DF7E4E25-F0D8-4DC9-06D6-C18A954F177E}"/>
                  </a:ext>
                </a:extLst>
              </p:cNvPr>
              <p:cNvSpPr txBox="1"/>
              <p:nvPr/>
            </p:nvSpPr>
            <p:spPr>
              <a:xfrm>
                <a:off x="0" y="19050"/>
                <a:ext cx="1166421" cy="387350"/>
              </a:xfrm>
              <a:prstGeom prst="rect">
                <a:avLst/>
              </a:prstGeom>
            </p:spPr>
            <p:txBody>
              <a:bodyPr lIns="25400" tIns="25400" rIns="25400" bIns="25400" rtlCol="0" anchor="ctr"/>
              <a:lstStyle/>
              <a:p>
                <a:pPr defTabSz="914378">
                  <a:lnSpc>
                    <a:spcPts val="1188"/>
                  </a:lnSpc>
                </a:pPr>
                <a:r>
                  <a:rPr lang="en-US" sz="1500" b="1" dirty="0">
                    <a:solidFill>
                      <a:srgbClr val="FFFFFF"/>
                    </a:solidFill>
                    <a:latin typeface="Century Gothic" panose="020B0502020202020204" pitchFamily="34" charset="0"/>
                    <a:ea typeface="Century Gothic Paneuropean"/>
                    <a:cs typeface="Century Gothic Paneuropean"/>
                    <a:sym typeface="Century Gothic Paneuropean"/>
                  </a:rPr>
                  <a:t>The Constitution of Kenya, 2010 Article 231</a:t>
                </a:r>
              </a:p>
              <a:p>
                <a:pPr algn="ctr" defTabSz="914378">
                  <a:lnSpc>
                    <a:spcPts val="1188"/>
                  </a:lnSpc>
                </a:pPr>
                <a:endParaRPr lang="en-US" sz="1100" dirty="0">
                  <a:solidFill>
                    <a:srgbClr val="FFFFFF"/>
                  </a:solidFill>
                  <a:latin typeface="Century Gothic" panose="020B0502020202020204" pitchFamily="34" charset="0"/>
                  <a:ea typeface="Century Gothic Paneuropean"/>
                  <a:cs typeface="Century Gothic Paneuropean"/>
                  <a:sym typeface="Century Gothic Paneuropean"/>
                </a:endParaRPr>
              </a:p>
            </p:txBody>
          </p:sp>
        </p:grpSp>
        <p:sp>
          <p:nvSpPr>
            <p:cNvPr id="27" name="TextBox 27">
              <a:extLst>
                <a:ext uri="{FF2B5EF4-FFF2-40B4-BE49-F238E27FC236}">
                  <a16:creationId xmlns:a16="http://schemas.microsoft.com/office/drawing/2014/main" id="{4427C21C-CDE8-6B31-B16F-4715366F7363}"/>
                </a:ext>
              </a:extLst>
            </p:cNvPr>
            <p:cNvSpPr txBox="1"/>
            <p:nvPr/>
          </p:nvSpPr>
          <p:spPr>
            <a:xfrm>
              <a:off x="3057303" y="2063244"/>
              <a:ext cx="5833778" cy="1269578"/>
            </a:xfrm>
            <a:prstGeom prst="rect">
              <a:avLst/>
            </a:prstGeom>
          </p:spPr>
          <p:txBody>
            <a:bodyPr wrap="square" lIns="0" tIns="0" rIns="0" bIns="0" rtlCol="0" anchor="t">
              <a:spAutoFit/>
            </a:bodyPr>
            <a:lstStyle/>
            <a:p>
              <a:pPr marL="226688" lvl="1" indent="-113345" defTabSz="914378">
                <a:lnSpc>
                  <a:spcPts val="1134"/>
                </a:lnSpc>
                <a:buFont typeface="Arial"/>
                <a:buChar char="•"/>
              </a:pPr>
              <a:endParaRPr lang="en-US" dirty="0">
                <a:latin typeface="Century Gothic" panose="020B0502020202020204" pitchFamily="34" charset="0"/>
                <a:ea typeface="Century Gothic Paneuropean"/>
                <a:cs typeface="Century Gothic Paneuropean"/>
                <a:sym typeface="Century Gothic Paneuropean"/>
              </a:endParaRPr>
            </a:p>
            <a:p>
              <a:pPr marL="226688" lvl="1" indent="-113345" defTabSz="914378">
                <a:lnSpc>
                  <a:spcPts val="1134"/>
                </a:lnSpc>
                <a:buFont typeface="Arial"/>
                <a:buChar char="•"/>
              </a:pPr>
              <a:r>
                <a:rPr lang="en-US" dirty="0">
                  <a:latin typeface="Century Gothic" panose="020B0502020202020204" pitchFamily="34" charset="0"/>
                  <a:ea typeface="Century Gothic Paneuropean"/>
                  <a:cs typeface="Century Gothic Paneuropean"/>
                  <a:sym typeface="Century Gothic Paneuropean"/>
                </a:rPr>
                <a:t>Banker, Advisor and Fiscal Agent to the Government. </a:t>
              </a:r>
            </a:p>
            <a:p>
              <a:pPr marL="226688" lvl="1" indent="-113345" defTabSz="914378">
                <a:lnSpc>
                  <a:spcPts val="1134"/>
                </a:lnSpc>
                <a:buFont typeface="Arial"/>
                <a:buChar char="•"/>
              </a:pPr>
              <a:r>
                <a:rPr lang="en-US" dirty="0">
                  <a:latin typeface="Century Gothic" panose="020B0502020202020204" pitchFamily="34" charset="0"/>
                  <a:ea typeface="Century Gothic Paneuropean"/>
                  <a:cs typeface="Century Gothic Paneuropean"/>
                  <a:sym typeface="Century Gothic Paneuropean"/>
                </a:rPr>
                <a:t>Banker to commercial banks.</a:t>
              </a:r>
            </a:p>
            <a:p>
              <a:pPr marL="226688" lvl="1" indent="-113345" defTabSz="914378">
                <a:lnSpc>
                  <a:spcPts val="1134"/>
                </a:lnSpc>
                <a:buFont typeface="Arial"/>
                <a:buChar char="•"/>
              </a:pPr>
              <a:r>
                <a:rPr lang="en-US" dirty="0">
                  <a:latin typeface="Century Gothic" panose="020B0502020202020204" pitchFamily="34" charset="0"/>
                  <a:ea typeface="Century Gothic Paneuropean"/>
                  <a:cs typeface="Century Gothic Paneuropean"/>
                  <a:sym typeface="Century Gothic Paneuropean"/>
                </a:rPr>
                <a:t>Implements monetary policy decisions i.e., Cash Reserve Ratio</a:t>
              </a:r>
            </a:p>
            <a:p>
              <a:pPr marL="226688" lvl="1" indent="-113345" defTabSz="914378">
                <a:lnSpc>
                  <a:spcPts val="1134"/>
                </a:lnSpc>
                <a:buFont typeface="Arial"/>
                <a:buChar char="•"/>
              </a:pPr>
              <a:r>
                <a:rPr lang="en-US" dirty="0">
                  <a:latin typeface="Century Gothic" panose="020B0502020202020204" pitchFamily="34" charset="0"/>
                  <a:ea typeface="Century Gothic Paneuropean"/>
                  <a:cs typeface="Century Gothic Paneuropean"/>
                  <a:sym typeface="Century Gothic Paneuropean"/>
                </a:rPr>
                <a:t>Lender of Last Resort. </a:t>
              </a:r>
            </a:p>
            <a:p>
              <a:pPr marL="226688" lvl="1" indent="-113345" defTabSz="914378">
                <a:lnSpc>
                  <a:spcPts val="1134"/>
                </a:lnSpc>
                <a:buFont typeface="Arial"/>
                <a:buChar char="•"/>
              </a:pPr>
              <a:r>
                <a:rPr lang="en-US" dirty="0">
                  <a:latin typeface="Century Gothic" panose="020B0502020202020204" pitchFamily="34" charset="0"/>
                </a:rPr>
                <a:t>Formulate and implement such policies as best to promote the establishment, regulation and supervision of efficient and effective payment, clearing and settlement systems.</a:t>
              </a:r>
              <a:br>
                <a:rPr lang="en-US" sz="1200" dirty="0">
                  <a:latin typeface="Century Gothic" panose="020B0502020202020204" pitchFamily="34" charset="0"/>
                  <a:ea typeface="Century Gothic Paneuropean"/>
                  <a:cs typeface="Century Gothic Paneuropean"/>
                  <a:sym typeface="Century Gothic Paneuropean"/>
                </a:rPr>
              </a:br>
              <a:endParaRPr lang="en-US" sz="1200" dirty="0">
                <a:latin typeface="Century Gothic" panose="020B0502020202020204" pitchFamily="34" charset="0"/>
                <a:ea typeface="Century Gothic Paneuropean"/>
                <a:cs typeface="Century Gothic Paneuropean"/>
                <a:sym typeface="Century Gothic Paneuropean"/>
              </a:endParaRPr>
            </a:p>
          </p:txBody>
        </p:sp>
        <p:sp>
          <p:nvSpPr>
            <p:cNvPr id="28" name="TextBox 28">
              <a:extLst>
                <a:ext uri="{FF2B5EF4-FFF2-40B4-BE49-F238E27FC236}">
                  <a16:creationId xmlns:a16="http://schemas.microsoft.com/office/drawing/2014/main" id="{78AA47FE-7B20-B2E4-D8D1-824ADB23D0F5}"/>
                </a:ext>
              </a:extLst>
            </p:cNvPr>
            <p:cNvSpPr txBox="1"/>
            <p:nvPr/>
          </p:nvSpPr>
          <p:spPr>
            <a:xfrm>
              <a:off x="3054926" y="1044290"/>
              <a:ext cx="5547790" cy="856645"/>
            </a:xfrm>
            <a:prstGeom prst="rect">
              <a:avLst/>
            </a:prstGeom>
          </p:spPr>
          <p:txBody>
            <a:bodyPr lIns="0" tIns="0" rIns="0" bIns="0" rtlCol="0" anchor="t">
              <a:spAutoFit/>
            </a:bodyPr>
            <a:lstStyle/>
            <a:p>
              <a:pPr marL="399087" lvl="1" indent="-285743" defTabSz="914378">
                <a:lnSpc>
                  <a:spcPts val="1134"/>
                </a:lnSpc>
                <a:buClr>
                  <a:schemeClr val="bg1"/>
                </a:buClr>
                <a:buFont typeface="Arial" panose="020B0604020202020204" pitchFamily="34" charset="0"/>
                <a:buChar char="•"/>
              </a:pPr>
              <a:endParaRPr lang="en-US" dirty="0">
                <a:solidFill>
                  <a:schemeClr val="bg1"/>
                </a:solidFill>
                <a:latin typeface="Century Gothic" panose="020B0502020202020204" pitchFamily="34" charset="0"/>
                <a:sym typeface="Century Gothic Paneuropean"/>
              </a:endParaRPr>
            </a:p>
            <a:p>
              <a:pPr marL="399087" lvl="1" indent="-285743" defTabSz="914378">
                <a:lnSpc>
                  <a:spcPts val="1134"/>
                </a:lnSpc>
                <a:buClr>
                  <a:schemeClr val="bg1"/>
                </a:buClr>
                <a:buFont typeface="Arial" panose="020B0604020202020204" pitchFamily="34" charset="0"/>
                <a:buChar char="•"/>
              </a:pPr>
              <a:r>
                <a:rPr lang="en-US" dirty="0">
                  <a:solidFill>
                    <a:schemeClr val="bg1"/>
                  </a:solidFill>
                  <a:latin typeface="Century Gothic" panose="020B0502020202020204" pitchFamily="34" charset="0"/>
                  <a:sym typeface="Century Gothic Paneuropean"/>
                </a:rPr>
                <a:t>Establishes Central Bank of Kenya as an independent institution.</a:t>
              </a:r>
            </a:p>
            <a:p>
              <a:pPr marL="113344" lvl="1" defTabSz="914378">
                <a:lnSpc>
                  <a:spcPts val="1134"/>
                </a:lnSpc>
                <a:buClr>
                  <a:schemeClr val="bg1"/>
                </a:buClr>
              </a:pPr>
              <a:r>
                <a:rPr lang="en-US" dirty="0">
                  <a:solidFill>
                    <a:schemeClr val="bg1"/>
                  </a:solidFill>
                  <a:latin typeface="Century Gothic" panose="020B0502020202020204" pitchFamily="34" charset="0"/>
                  <a:sym typeface="Century Gothic Paneuropean"/>
                </a:rPr>
                <a:t> </a:t>
              </a:r>
            </a:p>
            <a:p>
              <a:pPr marL="399087" lvl="1" indent="-285743" defTabSz="914378">
                <a:lnSpc>
                  <a:spcPts val="1134"/>
                </a:lnSpc>
                <a:buClr>
                  <a:schemeClr val="bg1"/>
                </a:buClr>
                <a:buFont typeface="Arial" panose="020B0604020202020204" pitchFamily="34" charset="0"/>
                <a:buChar char="•"/>
              </a:pPr>
              <a:r>
                <a:rPr lang="en-US" dirty="0">
                  <a:solidFill>
                    <a:schemeClr val="bg1"/>
                  </a:solidFill>
                  <a:latin typeface="Century Gothic" panose="020B0502020202020204" pitchFamily="34" charset="0"/>
                  <a:sym typeface="Century Gothic Paneuropean"/>
                </a:rPr>
                <a:t>Mandates CBK to formulate monetary policy, promote price stability and issues currency.</a:t>
              </a:r>
            </a:p>
          </p:txBody>
        </p:sp>
        <p:sp>
          <p:nvSpPr>
            <p:cNvPr id="29" name="TextBox 29">
              <a:extLst>
                <a:ext uri="{FF2B5EF4-FFF2-40B4-BE49-F238E27FC236}">
                  <a16:creationId xmlns:a16="http://schemas.microsoft.com/office/drawing/2014/main" id="{69EE526E-858B-BA04-F390-90AE69B838E7}"/>
                </a:ext>
              </a:extLst>
            </p:cNvPr>
            <p:cNvSpPr txBox="1"/>
            <p:nvPr/>
          </p:nvSpPr>
          <p:spPr>
            <a:xfrm>
              <a:off x="3131866" y="3751817"/>
              <a:ext cx="5879261" cy="846386"/>
            </a:xfrm>
            <a:prstGeom prst="rect">
              <a:avLst/>
            </a:prstGeom>
          </p:spPr>
          <p:txBody>
            <a:bodyPr wrap="square" lIns="0" tIns="0" rIns="0" bIns="0" rtlCol="0" anchor="t">
              <a:spAutoFit/>
            </a:bodyPr>
            <a:lstStyle/>
            <a:p>
              <a:pPr marL="399087" lvl="1" indent="-285743" defTabSz="914378">
                <a:lnSpc>
                  <a:spcPts val="1134"/>
                </a:lnSpc>
                <a:buClr>
                  <a:schemeClr val="bg1"/>
                </a:buClr>
                <a:buFont typeface="Arial" panose="020B0604020202020204" pitchFamily="34" charset="0"/>
                <a:buChar char="•"/>
              </a:pPr>
              <a:r>
                <a:rPr lang="en-US" sz="1600" dirty="0">
                  <a:solidFill>
                    <a:schemeClr val="bg1"/>
                  </a:solidFill>
                  <a:latin typeface="Century Gothic" panose="020B0502020202020204" pitchFamily="34" charset="0"/>
                  <a:sym typeface="Century Gothic Paneuropean"/>
                </a:rPr>
                <a:t>Authorize, Regulate and oversight payment systems and service providers. </a:t>
              </a:r>
            </a:p>
            <a:p>
              <a:pPr marL="399087" lvl="1" indent="-285743" defTabSz="914378">
                <a:lnSpc>
                  <a:spcPts val="1134"/>
                </a:lnSpc>
                <a:buClr>
                  <a:schemeClr val="bg1"/>
                </a:buClr>
                <a:buFont typeface="Arial" panose="020B0604020202020204" pitchFamily="34" charset="0"/>
                <a:buChar char="•"/>
              </a:pPr>
              <a:endParaRPr lang="en-US" sz="1600" dirty="0">
                <a:solidFill>
                  <a:schemeClr val="bg1"/>
                </a:solidFill>
                <a:latin typeface="Century Gothic" panose="020B0502020202020204" pitchFamily="34" charset="0"/>
                <a:sym typeface="Century Gothic Paneuropean"/>
              </a:endParaRPr>
            </a:p>
            <a:p>
              <a:pPr marL="399087" lvl="1" indent="-285743" defTabSz="914378">
                <a:lnSpc>
                  <a:spcPts val="1134"/>
                </a:lnSpc>
                <a:buClr>
                  <a:schemeClr val="bg1"/>
                </a:buClr>
                <a:buFont typeface="Arial" panose="020B0604020202020204" pitchFamily="34" charset="0"/>
                <a:buChar char="•"/>
              </a:pPr>
              <a:r>
                <a:rPr lang="en-US" sz="1600" dirty="0">
                  <a:solidFill>
                    <a:schemeClr val="bg1"/>
                  </a:solidFill>
                  <a:latin typeface="Century Gothic" panose="020B0502020202020204" pitchFamily="34" charset="0"/>
                  <a:sym typeface="Century Gothic Paneuropean"/>
                </a:rPr>
                <a:t>Ensure secure, efficient, and accessible payment systems. </a:t>
              </a:r>
            </a:p>
            <a:p>
              <a:pPr algn="ctr" defTabSz="914378">
                <a:lnSpc>
                  <a:spcPts val="1134"/>
                </a:lnSpc>
                <a:spcBef>
                  <a:spcPct val="0"/>
                </a:spcBef>
              </a:pPr>
              <a:endParaRPr lang="en-US" sz="1050" dirty="0">
                <a:latin typeface="Century Gothic" panose="020B0502020202020204" pitchFamily="34" charset="0"/>
                <a:ea typeface="Century Gothic Paneuropean"/>
                <a:cs typeface="Century Gothic Paneuropean"/>
                <a:sym typeface="Century Gothic Paneuropean"/>
              </a:endParaRPr>
            </a:p>
          </p:txBody>
        </p:sp>
        <p:pic>
          <p:nvPicPr>
            <p:cNvPr id="32" name="Picture 31">
              <a:extLst>
                <a:ext uri="{FF2B5EF4-FFF2-40B4-BE49-F238E27FC236}">
                  <a16:creationId xmlns:a16="http://schemas.microsoft.com/office/drawing/2014/main" id="{1E08AA72-6793-8E57-3426-6C4E6F77B8AF}"/>
                </a:ext>
              </a:extLst>
            </p:cNvPr>
            <p:cNvPicPr>
              <a:picLocks noChangeAspect="1"/>
            </p:cNvPicPr>
            <p:nvPr/>
          </p:nvPicPr>
          <p:blipFill>
            <a:blip r:embed="rId3"/>
            <a:stretch>
              <a:fillRect/>
            </a:stretch>
          </p:blipFill>
          <p:spPr>
            <a:xfrm>
              <a:off x="8602717" y="6475"/>
              <a:ext cx="546392" cy="432989"/>
            </a:xfrm>
            <a:prstGeom prst="rect">
              <a:avLst/>
            </a:prstGeom>
          </p:spPr>
        </p:pic>
      </p:grpSp>
      <p:sp>
        <p:nvSpPr>
          <p:cNvPr id="31" name="Title 10">
            <a:extLst>
              <a:ext uri="{FF2B5EF4-FFF2-40B4-BE49-F238E27FC236}">
                <a16:creationId xmlns:a16="http://schemas.microsoft.com/office/drawing/2014/main" id="{CB59651E-2DD1-B669-B8F0-4B3C6C214F07}"/>
              </a:ext>
            </a:extLst>
          </p:cNvPr>
          <p:cNvSpPr txBox="1">
            <a:spLocks/>
          </p:cNvSpPr>
          <p:nvPr/>
        </p:nvSpPr>
        <p:spPr>
          <a:xfrm>
            <a:off x="1" y="25035"/>
            <a:ext cx="532015"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a:r>
              <a:rPr lang="en-US" sz="2400" b="1">
                <a:solidFill>
                  <a:srgbClr val="000C18"/>
                </a:solidFill>
                <a:latin typeface="Century Gothic" panose="020B0502020202020204" pitchFamily="34" charset="0"/>
              </a:rPr>
              <a:t>1</a:t>
            </a:r>
            <a:r>
              <a:rPr lang="en-US" sz="2400" b="1">
                <a:solidFill>
                  <a:srgbClr val="104499">
                    <a:lumMod val="75000"/>
                  </a:srgbClr>
                </a:solidFill>
                <a:latin typeface="Century Gothic" panose="020B0502020202020204" pitchFamily="34" charset="0"/>
              </a:rPr>
              <a:t>.</a:t>
            </a:r>
          </a:p>
        </p:txBody>
      </p:sp>
      <p:cxnSp>
        <p:nvCxnSpPr>
          <p:cNvPr id="33" name="Straight Connector 32">
            <a:extLst>
              <a:ext uri="{FF2B5EF4-FFF2-40B4-BE49-F238E27FC236}">
                <a16:creationId xmlns:a16="http://schemas.microsoft.com/office/drawing/2014/main" id="{271E30BF-C73A-2006-101F-C9BB9165D860}"/>
              </a:ext>
            </a:extLst>
          </p:cNvPr>
          <p:cNvCxnSpPr>
            <a:cxnSpLocks/>
          </p:cNvCxnSpPr>
          <p:nvPr/>
        </p:nvCxnSpPr>
        <p:spPr>
          <a:xfrm>
            <a:off x="0" y="45631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7267908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53105-C6B2-DB67-7828-0820409A0BA0}"/>
            </a:ext>
          </a:extLst>
        </p:cNvPr>
        <p:cNvGrpSpPr/>
        <p:nvPr/>
      </p:nvGrpSpPr>
      <p:grpSpPr>
        <a:xfrm>
          <a:off x="0" y="0"/>
          <a:ext cx="0" cy="0"/>
          <a:chOff x="0" y="0"/>
          <a:chExt cx="0" cy="0"/>
        </a:xfrm>
      </p:grpSpPr>
      <p:sp>
        <p:nvSpPr>
          <p:cNvPr id="6" name="object 2">
            <a:extLst>
              <a:ext uri="{FF2B5EF4-FFF2-40B4-BE49-F238E27FC236}">
                <a16:creationId xmlns:a16="http://schemas.microsoft.com/office/drawing/2014/main" id="{C82513F1-32A1-6FF0-CB9D-7C015EA34A94}"/>
              </a:ext>
            </a:extLst>
          </p:cNvPr>
          <p:cNvSpPr txBox="1"/>
          <p:nvPr/>
        </p:nvSpPr>
        <p:spPr>
          <a:xfrm>
            <a:off x="654996" y="25799"/>
            <a:ext cx="8376860" cy="316498"/>
          </a:xfrm>
          <a:prstGeom prst="rect">
            <a:avLst/>
          </a:prstGeom>
        </p:spPr>
        <p:txBody>
          <a:bodyPr vert="horz" wrap="square" lIns="0" tIns="8637" rIns="0" bIns="0" rtlCol="0">
            <a:spAutoFit/>
          </a:bodyPr>
          <a:lstStyle/>
          <a:p>
            <a:pPr marL="8637" algn="ctr">
              <a:spcBef>
                <a:spcPts val="68"/>
              </a:spcBef>
            </a:pPr>
            <a:r>
              <a:rPr lang="en-US" sz="2000" b="1" dirty="0">
                <a:solidFill>
                  <a:schemeClr val="tx1"/>
                </a:solidFill>
                <a:latin typeface="Century Gothic" panose="020B0502020202020204" pitchFamily="34" charset="0"/>
                <a:cs typeface="Century Gothic"/>
              </a:rPr>
              <a:t>Driving </a:t>
            </a:r>
            <a:r>
              <a:rPr lang="en-US" sz="2000" b="1" dirty="0">
                <a:solidFill>
                  <a:schemeClr val="tx1"/>
                </a:solidFill>
                <a:latin typeface="Century Gothic" panose="020B0502020202020204" pitchFamily="34" charset="0"/>
              </a:rPr>
              <a:t>Financial Inclusion: Mobile’s Impact from 2006 to 2024</a:t>
            </a:r>
          </a:p>
        </p:txBody>
      </p:sp>
      <p:sp>
        <p:nvSpPr>
          <p:cNvPr id="3" name="TextBox 2">
            <a:extLst>
              <a:ext uri="{FF2B5EF4-FFF2-40B4-BE49-F238E27FC236}">
                <a16:creationId xmlns:a16="http://schemas.microsoft.com/office/drawing/2014/main" id="{A61896F0-DCD5-9EB9-9BDB-C5E8922CD944}"/>
              </a:ext>
            </a:extLst>
          </p:cNvPr>
          <p:cNvSpPr txBox="1"/>
          <p:nvPr/>
        </p:nvSpPr>
        <p:spPr>
          <a:xfrm>
            <a:off x="7067250" y="922516"/>
            <a:ext cx="1964606" cy="3298467"/>
          </a:xfrm>
          <a:prstGeom prst="rect">
            <a:avLst/>
          </a:prstGeom>
          <a:solidFill>
            <a:schemeClr val="bg1"/>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wrap="square" rtlCol="0" anchor="ctr">
            <a:spAutoFit/>
          </a:bodyPr>
          <a:lstStyle/>
          <a:p>
            <a:pPr marL="34091" lvl="1" defTabSz="545454">
              <a:lnSpc>
                <a:spcPct val="150000"/>
              </a:lnSpc>
            </a:pPr>
            <a:r>
              <a:rPr lang="en-US" altLang="en-US" sz="1100" b="1">
                <a:solidFill>
                  <a:schemeClr val="tx1"/>
                </a:solidFill>
                <a:latin typeface="Century Gothic" panose="020B0502020202020204" pitchFamily="34" charset="0"/>
                <a:cs typeface="Times New Roman" panose="02020603050405020304" pitchFamily="18" charset="0"/>
              </a:rPr>
              <a:t>Financial inclusion has grown dramatically from 26.7% in 2006 to 84.8% in 2024.Mobile financial services are the major growth driver, rising from 0% to over 82%.Mobile money’s rise reflects technology adoption and its impact on increasing access to financial services</a:t>
            </a:r>
            <a:r>
              <a:rPr lang="en-US" altLang="en-US" sz="2000" b="1">
                <a:solidFill>
                  <a:schemeClr val="tx1"/>
                </a:solidFill>
                <a:latin typeface="Abadi" panose="020B0604020104020204" pitchFamily="34" charset="0"/>
                <a:cs typeface="Times New Roman" panose="02020603050405020304" pitchFamily="18" charset="0"/>
              </a:rPr>
              <a:t>.</a:t>
            </a:r>
          </a:p>
        </p:txBody>
      </p:sp>
      <p:graphicFrame>
        <p:nvGraphicFramePr>
          <p:cNvPr id="4" name="Chart 3">
            <a:extLst>
              <a:ext uri="{FF2B5EF4-FFF2-40B4-BE49-F238E27FC236}">
                <a16:creationId xmlns:a16="http://schemas.microsoft.com/office/drawing/2014/main" id="{73B11775-DE48-9505-6DAB-96456C748543}"/>
              </a:ext>
            </a:extLst>
          </p:cNvPr>
          <p:cNvGraphicFramePr>
            <a:graphicFrameLocks/>
          </p:cNvGraphicFramePr>
          <p:nvPr>
            <p:extLst>
              <p:ext uri="{D42A27DB-BD31-4B8C-83A1-F6EECF244321}">
                <p14:modId xmlns:p14="http://schemas.microsoft.com/office/powerpoint/2010/main" val="3555187795"/>
              </p:ext>
            </p:extLst>
          </p:nvPr>
        </p:nvGraphicFramePr>
        <p:xfrm>
          <a:off x="250166" y="788579"/>
          <a:ext cx="6633713" cy="3779247"/>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a:extLst>
              <a:ext uri="{FF2B5EF4-FFF2-40B4-BE49-F238E27FC236}">
                <a16:creationId xmlns:a16="http://schemas.microsoft.com/office/drawing/2014/main" id="{27CD7771-13AF-2580-02EA-C14945396AFD}"/>
              </a:ext>
            </a:extLst>
          </p:cNvPr>
          <p:cNvPicPr>
            <a:picLocks noChangeAspect="1"/>
          </p:cNvPicPr>
          <p:nvPr/>
        </p:nvPicPr>
        <p:blipFill>
          <a:blip r:embed="rId4"/>
          <a:stretch>
            <a:fillRect/>
          </a:stretch>
        </p:blipFill>
        <p:spPr>
          <a:xfrm>
            <a:off x="8649155" y="-19455"/>
            <a:ext cx="478971" cy="379561"/>
          </a:xfrm>
          <a:prstGeom prst="rect">
            <a:avLst/>
          </a:prstGeom>
        </p:spPr>
      </p:pic>
      <p:pic>
        <p:nvPicPr>
          <p:cNvPr id="5" name="Picture 4">
            <a:extLst>
              <a:ext uri="{FF2B5EF4-FFF2-40B4-BE49-F238E27FC236}">
                <a16:creationId xmlns:a16="http://schemas.microsoft.com/office/drawing/2014/main" id="{38551FEC-E026-4644-440B-8CEA2CD42A73}"/>
              </a:ext>
            </a:extLst>
          </p:cNvPr>
          <p:cNvPicPr>
            <a:picLocks noChangeAspect="1"/>
          </p:cNvPicPr>
          <p:nvPr/>
        </p:nvPicPr>
        <p:blipFill>
          <a:blip r:embed="rId5"/>
          <a:stretch>
            <a:fillRect/>
          </a:stretch>
        </p:blipFill>
        <p:spPr>
          <a:xfrm>
            <a:off x="330221" y="4339956"/>
            <a:ext cx="1633870" cy="188992"/>
          </a:xfrm>
          <a:prstGeom prst="rect">
            <a:avLst/>
          </a:prstGeom>
        </p:spPr>
      </p:pic>
      <p:sp>
        <p:nvSpPr>
          <p:cNvPr id="7" name="Title 10">
            <a:extLst>
              <a:ext uri="{FF2B5EF4-FFF2-40B4-BE49-F238E27FC236}">
                <a16:creationId xmlns:a16="http://schemas.microsoft.com/office/drawing/2014/main" id="{3D221047-798F-AAD4-C84E-08BDC806B16B}"/>
              </a:ext>
            </a:extLst>
          </p:cNvPr>
          <p:cNvSpPr txBox="1">
            <a:spLocks/>
          </p:cNvSpPr>
          <p:nvPr/>
        </p:nvSpPr>
        <p:spPr>
          <a:xfrm>
            <a:off x="22821" y="-20208"/>
            <a:ext cx="632176" cy="31649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19.</a:t>
            </a:r>
            <a:r>
              <a:rPr lang="en-US" sz="1904" b="1" dirty="0">
                <a:solidFill>
                  <a:schemeClr val="bg1"/>
                </a:solidFill>
                <a:latin typeface="Century Gothic" panose="020B0502020202020204" pitchFamily="34" charset="0"/>
              </a:rPr>
              <a:t>.</a:t>
            </a:r>
          </a:p>
        </p:txBody>
      </p:sp>
      <p:cxnSp>
        <p:nvCxnSpPr>
          <p:cNvPr id="9" name="Straight Connector 8">
            <a:extLst>
              <a:ext uri="{FF2B5EF4-FFF2-40B4-BE49-F238E27FC236}">
                <a16:creationId xmlns:a16="http://schemas.microsoft.com/office/drawing/2014/main" id="{77282070-0587-6260-294B-B5D3F24E3D3C}"/>
              </a:ext>
            </a:extLst>
          </p:cNvPr>
          <p:cNvCxnSpPr>
            <a:cxnSpLocks/>
          </p:cNvCxnSpPr>
          <p:nvPr/>
        </p:nvCxnSpPr>
        <p:spPr>
          <a:xfrm>
            <a:off x="-15874" y="36183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419872088"/>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A61434-759D-6E64-10E4-8A1C66E663FF}"/>
              </a:ext>
            </a:extLst>
          </p:cNvPr>
          <p:cNvGrpSpPr/>
          <p:nvPr/>
        </p:nvGrpSpPr>
        <p:grpSpPr>
          <a:xfrm>
            <a:off x="0" y="262401"/>
            <a:ext cx="8900671" cy="4329330"/>
            <a:chOff x="121664" y="29644"/>
            <a:chExt cx="8900671" cy="4329330"/>
          </a:xfrm>
        </p:grpSpPr>
        <p:sp>
          <p:nvSpPr>
            <p:cNvPr id="60" name="Flowchart: Terminator 59" descr="Boxes on white background">
              <a:extLst>
                <a:ext uri="{FF2B5EF4-FFF2-40B4-BE49-F238E27FC236}">
                  <a16:creationId xmlns:a16="http://schemas.microsoft.com/office/drawing/2014/main" id="{561F0C12-50F8-C855-82F7-3F281053ED74}"/>
                </a:ext>
              </a:extLst>
            </p:cNvPr>
            <p:cNvSpPr/>
            <p:nvPr/>
          </p:nvSpPr>
          <p:spPr>
            <a:xfrm flipH="1">
              <a:off x="1494001" y="2093497"/>
              <a:ext cx="3315684" cy="603032"/>
            </a:xfrm>
            <a:prstGeom prst="flowChartTerminator">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pic>
          <p:nvPicPr>
            <p:cNvPr id="56" name="Graphic 55" descr="Single gear with solid fill">
              <a:extLst>
                <a:ext uri="{FF2B5EF4-FFF2-40B4-BE49-F238E27FC236}">
                  <a16:creationId xmlns:a16="http://schemas.microsoft.com/office/drawing/2014/main" id="{99B1FC99-68EC-F409-A379-3B36A1904A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154057" y="1617949"/>
              <a:ext cx="1479988" cy="1479988"/>
            </a:xfrm>
            <a:prstGeom prst="rect">
              <a:avLst/>
            </a:prstGeom>
            <a:ln>
              <a:noFill/>
            </a:ln>
            <a:effectLst/>
            <a:scene3d>
              <a:camera prst="orthographicFront">
                <a:rot lat="0" lon="0" rev="0"/>
              </a:camera>
              <a:lightRig rig="contrasting" dir="t">
                <a:rot lat="0" lon="0" rev="7800000"/>
              </a:lightRig>
            </a:scene3d>
            <a:sp3d>
              <a:bevelT w="139700" h="139700"/>
            </a:sp3d>
          </p:spPr>
        </p:pic>
        <p:pic>
          <p:nvPicPr>
            <p:cNvPr id="57" name="Graphic 56" descr="Single gear with solid fill">
              <a:extLst>
                <a:ext uri="{FF2B5EF4-FFF2-40B4-BE49-F238E27FC236}">
                  <a16:creationId xmlns:a16="http://schemas.microsoft.com/office/drawing/2014/main" id="{513677BA-32A1-C65B-1A29-C72BB023546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rot="10800000">
              <a:off x="3721865" y="1617948"/>
              <a:ext cx="1479988" cy="1479988"/>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grpSp>
          <p:nvGrpSpPr>
            <p:cNvPr id="20" name="Group 19">
              <a:extLst>
                <a:ext uri="{FF2B5EF4-FFF2-40B4-BE49-F238E27FC236}">
                  <a16:creationId xmlns:a16="http://schemas.microsoft.com/office/drawing/2014/main" id="{06C24C59-DE4C-4434-2186-255572B7D042}"/>
                </a:ext>
              </a:extLst>
            </p:cNvPr>
            <p:cNvGrpSpPr/>
            <p:nvPr/>
          </p:nvGrpSpPr>
          <p:grpSpPr>
            <a:xfrm>
              <a:off x="1154057" y="628129"/>
              <a:ext cx="1283759" cy="869701"/>
              <a:chOff x="2007537" y="645780"/>
              <a:chExt cx="1450040" cy="1315231"/>
            </a:xfrm>
          </p:grpSpPr>
          <p:sp>
            <p:nvSpPr>
              <p:cNvPr id="61" name="Hexagon 60">
                <a:extLst>
                  <a:ext uri="{FF2B5EF4-FFF2-40B4-BE49-F238E27FC236}">
                    <a16:creationId xmlns:a16="http://schemas.microsoft.com/office/drawing/2014/main" id="{22F427F3-57DF-7462-F2D0-C8DB8E1189D4}"/>
                  </a:ext>
                </a:extLst>
              </p:cNvPr>
              <p:cNvSpPr/>
              <p:nvPr/>
            </p:nvSpPr>
            <p:spPr>
              <a:xfrm>
                <a:off x="2007537" y="645780"/>
                <a:ext cx="1450040" cy="1315231"/>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825">
                  <a:latin typeface="Century Gothic" panose="020B0502020202020204" pitchFamily="34" charset="0"/>
                </a:endParaRPr>
              </a:p>
            </p:txBody>
          </p:sp>
          <p:sp>
            <p:nvSpPr>
              <p:cNvPr id="62" name="Flowchart: Connector 61">
                <a:extLst>
                  <a:ext uri="{FF2B5EF4-FFF2-40B4-BE49-F238E27FC236}">
                    <a16:creationId xmlns:a16="http://schemas.microsoft.com/office/drawing/2014/main" id="{7C52D1E0-23A7-C746-6788-D372173C0D97}"/>
                  </a:ext>
                </a:extLst>
              </p:cNvPr>
              <p:cNvSpPr/>
              <p:nvPr/>
            </p:nvSpPr>
            <p:spPr>
              <a:xfrm>
                <a:off x="2105105" y="693743"/>
                <a:ext cx="1281606" cy="1194903"/>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25">
                  <a:latin typeface="Century Gothic" panose="020B0502020202020204" pitchFamily="34" charset="0"/>
                </a:endParaRPr>
              </a:p>
            </p:txBody>
          </p:sp>
        </p:grpSp>
        <p:sp>
          <p:nvSpPr>
            <p:cNvPr id="98" name="TextBox 97">
              <a:extLst>
                <a:ext uri="{FF2B5EF4-FFF2-40B4-BE49-F238E27FC236}">
                  <a16:creationId xmlns:a16="http://schemas.microsoft.com/office/drawing/2014/main" id="{500DB8A6-D97A-74D7-32D2-67F168D262CD}"/>
                </a:ext>
              </a:extLst>
            </p:cNvPr>
            <p:cNvSpPr txBox="1"/>
            <p:nvPr/>
          </p:nvSpPr>
          <p:spPr>
            <a:xfrm>
              <a:off x="1426828" y="659285"/>
              <a:ext cx="1011334" cy="750205"/>
            </a:xfrm>
            <a:prstGeom prst="rect">
              <a:avLst/>
            </a:prstGeom>
            <a:noFill/>
            <a:ln>
              <a:noFill/>
            </a:ln>
          </p:spPr>
          <p:txBody>
            <a:bodyPr wrap="square" rtlCol="0">
              <a:spAutoFit/>
            </a:bodyPr>
            <a:lstStyle/>
            <a:p>
              <a:r>
                <a:rPr lang="en-US" sz="900" b="1" u="sng">
                  <a:solidFill>
                    <a:schemeClr val="bg1"/>
                  </a:solidFill>
                  <a:latin typeface="Century Gothic" panose="020B0502020202020204" pitchFamily="34" charset="0"/>
                </a:rPr>
                <a:t>Focus on unbanked</a:t>
              </a:r>
            </a:p>
            <a:p>
              <a:r>
                <a:rPr lang="en-US" sz="825" b="1" i="1">
                  <a:solidFill>
                    <a:prstClr val="white"/>
                  </a:solidFill>
                  <a:latin typeface="Century Gothic" panose="020B0502020202020204" pitchFamily="34" charset="0"/>
                </a:rPr>
                <a:t>1Mn Customers Transacting in a day</a:t>
              </a:r>
              <a:endParaRPr lang="en-US" sz="825" b="1">
                <a:latin typeface="Century Gothic" panose="020B0502020202020204" pitchFamily="34" charset="0"/>
              </a:endParaRPr>
            </a:p>
          </p:txBody>
        </p:sp>
        <p:grpSp>
          <p:nvGrpSpPr>
            <p:cNvPr id="23" name="Group 22">
              <a:extLst>
                <a:ext uri="{FF2B5EF4-FFF2-40B4-BE49-F238E27FC236}">
                  <a16:creationId xmlns:a16="http://schemas.microsoft.com/office/drawing/2014/main" id="{446B15D4-4F35-1AD7-37FA-F12F8F9511C6}"/>
                </a:ext>
              </a:extLst>
            </p:cNvPr>
            <p:cNvGrpSpPr/>
            <p:nvPr/>
          </p:nvGrpSpPr>
          <p:grpSpPr>
            <a:xfrm>
              <a:off x="234004" y="1620623"/>
              <a:ext cx="1031147" cy="824981"/>
              <a:chOff x="634892" y="1995650"/>
              <a:chExt cx="1374863" cy="1099974"/>
            </a:xfrm>
          </p:grpSpPr>
          <p:sp>
            <p:nvSpPr>
              <p:cNvPr id="64" name="Hexagon 63">
                <a:extLst>
                  <a:ext uri="{FF2B5EF4-FFF2-40B4-BE49-F238E27FC236}">
                    <a16:creationId xmlns:a16="http://schemas.microsoft.com/office/drawing/2014/main" id="{8607903D-A2CF-1B82-3298-8D02277C17E9}"/>
                  </a:ext>
                </a:extLst>
              </p:cNvPr>
              <p:cNvSpPr/>
              <p:nvPr/>
            </p:nvSpPr>
            <p:spPr>
              <a:xfrm>
                <a:off x="634892" y="1995650"/>
                <a:ext cx="1374863" cy="1099974"/>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65" name="Flowchart: Connector 64">
                <a:extLst>
                  <a:ext uri="{FF2B5EF4-FFF2-40B4-BE49-F238E27FC236}">
                    <a16:creationId xmlns:a16="http://schemas.microsoft.com/office/drawing/2014/main" id="{2CB8C5D8-5D32-9E4B-AC3B-7F59D521B819}"/>
                  </a:ext>
                </a:extLst>
              </p:cNvPr>
              <p:cNvSpPr/>
              <p:nvPr/>
            </p:nvSpPr>
            <p:spPr>
              <a:xfrm>
                <a:off x="701830" y="2128672"/>
                <a:ext cx="1246371" cy="898436"/>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99" name="TextBox 98">
                <a:extLst>
                  <a:ext uri="{FF2B5EF4-FFF2-40B4-BE49-F238E27FC236}">
                    <a16:creationId xmlns:a16="http://schemas.microsoft.com/office/drawing/2014/main" id="{ABA26928-C017-BA34-88AE-6CD6A429A337}"/>
                  </a:ext>
                </a:extLst>
              </p:cNvPr>
              <p:cNvSpPr txBox="1"/>
              <p:nvPr/>
            </p:nvSpPr>
            <p:spPr>
              <a:xfrm>
                <a:off x="961163" y="2328267"/>
                <a:ext cx="1001894" cy="553997"/>
              </a:xfrm>
              <a:prstGeom prst="rect">
                <a:avLst/>
              </a:prstGeom>
              <a:noFill/>
            </p:spPr>
            <p:txBody>
              <a:bodyPr wrap="square" rtlCol="0">
                <a:spAutoFit/>
              </a:bodyPr>
              <a:lstStyle/>
              <a:p>
                <a:r>
                  <a:rPr lang="en-US" sz="1050" b="1">
                    <a:solidFill>
                      <a:schemeClr val="bg1"/>
                    </a:solidFill>
                    <a:latin typeface="Century Gothic" panose="020B0502020202020204" pitchFamily="34" charset="0"/>
                  </a:rPr>
                  <a:t>P2P transfers</a:t>
                </a:r>
              </a:p>
            </p:txBody>
          </p:sp>
        </p:grpSp>
        <p:grpSp>
          <p:nvGrpSpPr>
            <p:cNvPr id="21" name="Group 20">
              <a:extLst>
                <a:ext uri="{FF2B5EF4-FFF2-40B4-BE49-F238E27FC236}">
                  <a16:creationId xmlns:a16="http://schemas.microsoft.com/office/drawing/2014/main" id="{3D2F1936-5315-A231-1F8A-2FCD45B13FF1}"/>
                </a:ext>
              </a:extLst>
            </p:cNvPr>
            <p:cNvGrpSpPr/>
            <p:nvPr/>
          </p:nvGrpSpPr>
          <p:grpSpPr>
            <a:xfrm>
              <a:off x="1484244" y="3325065"/>
              <a:ext cx="905093" cy="975135"/>
              <a:chOff x="2370345" y="4222340"/>
              <a:chExt cx="1206785" cy="1300180"/>
            </a:xfrm>
          </p:grpSpPr>
          <p:sp>
            <p:nvSpPr>
              <p:cNvPr id="86" name="Hexagon 85">
                <a:extLst>
                  <a:ext uri="{FF2B5EF4-FFF2-40B4-BE49-F238E27FC236}">
                    <a16:creationId xmlns:a16="http://schemas.microsoft.com/office/drawing/2014/main" id="{27A93702-D74E-3C00-CB2B-241DFEC8A516}"/>
                  </a:ext>
                </a:extLst>
              </p:cNvPr>
              <p:cNvSpPr/>
              <p:nvPr/>
            </p:nvSpPr>
            <p:spPr>
              <a:xfrm>
                <a:off x="2385521" y="4501384"/>
                <a:ext cx="1156138" cy="102113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87" name="Flowchart: Connector 86">
                <a:extLst>
                  <a:ext uri="{FF2B5EF4-FFF2-40B4-BE49-F238E27FC236}">
                    <a16:creationId xmlns:a16="http://schemas.microsoft.com/office/drawing/2014/main" id="{D7649B39-ADD3-1D24-04BD-7694CD36C816}"/>
                  </a:ext>
                </a:extLst>
              </p:cNvPr>
              <p:cNvSpPr/>
              <p:nvPr/>
            </p:nvSpPr>
            <p:spPr>
              <a:xfrm>
                <a:off x="2469604" y="4588910"/>
                <a:ext cx="987972" cy="846084"/>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97" name="TextBox 96">
                <a:extLst>
                  <a:ext uri="{FF2B5EF4-FFF2-40B4-BE49-F238E27FC236}">
                    <a16:creationId xmlns:a16="http://schemas.microsoft.com/office/drawing/2014/main" id="{5B649224-985F-EBD5-89CA-D0E0B2945420}"/>
                  </a:ext>
                </a:extLst>
              </p:cNvPr>
              <p:cNvSpPr txBox="1"/>
              <p:nvPr/>
            </p:nvSpPr>
            <p:spPr>
              <a:xfrm rot="10800000" flipV="1">
                <a:off x="2370345" y="4222340"/>
                <a:ext cx="1177068" cy="212751"/>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Regulation</a:t>
                </a:r>
              </a:p>
            </p:txBody>
          </p:sp>
          <p:sp>
            <p:nvSpPr>
              <p:cNvPr id="101" name="TextBox 100">
                <a:extLst>
                  <a:ext uri="{FF2B5EF4-FFF2-40B4-BE49-F238E27FC236}">
                    <a16:creationId xmlns:a16="http://schemas.microsoft.com/office/drawing/2014/main" id="{F03E1AF1-08CF-D13F-3B44-35B2C9904805}"/>
                  </a:ext>
                </a:extLst>
              </p:cNvPr>
              <p:cNvSpPr txBox="1"/>
              <p:nvPr/>
            </p:nvSpPr>
            <p:spPr>
              <a:xfrm>
                <a:off x="2561227" y="4661691"/>
                <a:ext cx="1015903" cy="677108"/>
              </a:xfrm>
              <a:prstGeom prst="rect">
                <a:avLst/>
              </a:prstGeom>
              <a:noFill/>
            </p:spPr>
            <p:txBody>
              <a:bodyPr wrap="square" rtlCol="0">
                <a:spAutoFit/>
              </a:bodyPr>
              <a:lstStyle/>
              <a:p>
                <a:r>
                  <a:rPr lang="en-US" sz="900" b="1">
                    <a:solidFill>
                      <a:schemeClr val="bg1"/>
                    </a:solidFill>
                    <a:latin typeface="Century Gothic" panose="020B0502020202020204" pitchFamily="34" charset="0"/>
                  </a:rPr>
                  <a:t>Flexible/</a:t>
                </a:r>
              </a:p>
              <a:p>
                <a:r>
                  <a:rPr lang="en-US" sz="900" b="1">
                    <a:solidFill>
                      <a:schemeClr val="bg1"/>
                    </a:solidFill>
                    <a:latin typeface="Century Gothic" panose="020B0502020202020204" pitchFamily="34" charset="0"/>
                  </a:rPr>
                  <a:t>experimental</a:t>
                </a:r>
              </a:p>
            </p:txBody>
          </p:sp>
        </p:grpSp>
        <p:grpSp>
          <p:nvGrpSpPr>
            <p:cNvPr id="19" name="Group 18">
              <a:extLst>
                <a:ext uri="{FF2B5EF4-FFF2-40B4-BE49-F238E27FC236}">
                  <a16:creationId xmlns:a16="http://schemas.microsoft.com/office/drawing/2014/main" id="{0CCE13FC-7103-6CC0-4BBB-4167F9C60193}"/>
                </a:ext>
              </a:extLst>
            </p:cNvPr>
            <p:cNvGrpSpPr/>
            <p:nvPr/>
          </p:nvGrpSpPr>
          <p:grpSpPr>
            <a:xfrm>
              <a:off x="3827286" y="3507299"/>
              <a:ext cx="1278514" cy="851675"/>
              <a:chOff x="5497352" y="4420993"/>
              <a:chExt cx="1488202" cy="1135566"/>
            </a:xfrm>
          </p:grpSpPr>
          <p:sp>
            <p:nvSpPr>
              <p:cNvPr id="80" name="Hexagon 79">
                <a:extLst>
                  <a:ext uri="{FF2B5EF4-FFF2-40B4-BE49-F238E27FC236}">
                    <a16:creationId xmlns:a16="http://schemas.microsoft.com/office/drawing/2014/main" id="{4792C674-21F9-E542-E32C-C271AA14E65D}"/>
                  </a:ext>
                </a:extLst>
              </p:cNvPr>
              <p:cNvSpPr/>
              <p:nvPr/>
            </p:nvSpPr>
            <p:spPr>
              <a:xfrm>
                <a:off x="5497352" y="4420993"/>
                <a:ext cx="1345448" cy="113556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81" name="Flowchart: Connector 80">
                <a:extLst>
                  <a:ext uri="{FF2B5EF4-FFF2-40B4-BE49-F238E27FC236}">
                    <a16:creationId xmlns:a16="http://schemas.microsoft.com/office/drawing/2014/main" id="{018DD7C5-0AE1-EF60-A1CB-36AB5159A6A8}"/>
                  </a:ext>
                </a:extLst>
              </p:cNvPr>
              <p:cNvSpPr/>
              <p:nvPr/>
            </p:nvSpPr>
            <p:spPr>
              <a:xfrm>
                <a:off x="5559449" y="4501384"/>
                <a:ext cx="1231711" cy="988617"/>
              </a:xfrm>
              <a:prstGeom prst="flowChartConnector">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102" name="TextBox 101">
                <a:extLst>
                  <a:ext uri="{FF2B5EF4-FFF2-40B4-BE49-F238E27FC236}">
                    <a16:creationId xmlns:a16="http://schemas.microsoft.com/office/drawing/2014/main" id="{DDB9E414-771D-8703-176E-5169334144DB}"/>
                  </a:ext>
                </a:extLst>
              </p:cNvPr>
              <p:cNvSpPr txBox="1"/>
              <p:nvPr/>
            </p:nvSpPr>
            <p:spPr>
              <a:xfrm>
                <a:off x="5594565" y="4667202"/>
                <a:ext cx="1390989" cy="677108"/>
              </a:xfrm>
              <a:prstGeom prst="rect">
                <a:avLst/>
              </a:prstGeom>
              <a:noFill/>
            </p:spPr>
            <p:txBody>
              <a:bodyPr wrap="square" rtlCol="0">
                <a:spAutoFit/>
              </a:bodyPr>
              <a:lstStyle/>
              <a:p>
                <a:r>
                  <a:rPr lang="en-US" sz="900" b="1">
                    <a:solidFill>
                      <a:schemeClr val="bg1"/>
                    </a:solidFill>
                    <a:latin typeface="Century Gothic" panose="020B0502020202020204" pitchFamily="34" charset="0"/>
                  </a:rPr>
                  <a:t>Structured </a:t>
                </a:r>
                <a:r>
                  <a:rPr lang="en-US" sz="900" b="1">
                    <a:solidFill>
                      <a:schemeClr val="bg1"/>
                    </a:solidFill>
                  </a:rPr>
                  <a:t>Daily Cumulative Position</a:t>
                </a:r>
                <a:r>
                  <a:rPr lang="en-US" sz="900">
                    <a:solidFill>
                      <a:schemeClr val="bg1"/>
                    </a:solidFill>
                  </a:rPr>
                  <a:t> </a:t>
                </a:r>
                <a:r>
                  <a:rPr lang="en-US" sz="900" b="1">
                    <a:solidFill>
                      <a:schemeClr val="bg1"/>
                    </a:solidFill>
                  </a:rPr>
                  <a:t>rules</a:t>
                </a:r>
                <a:endParaRPr lang="en-US" sz="900" b="1">
                  <a:solidFill>
                    <a:schemeClr val="bg1"/>
                  </a:solidFill>
                  <a:latin typeface="Century Gothic" panose="020B0502020202020204" pitchFamily="34" charset="0"/>
                </a:endParaRPr>
              </a:p>
            </p:txBody>
          </p:sp>
        </p:grpSp>
        <p:sp>
          <p:nvSpPr>
            <p:cNvPr id="106" name="TextBox 105">
              <a:extLst>
                <a:ext uri="{FF2B5EF4-FFF2-40B4-BE49-F238E27FC236}">
                  <a16:creationId xmlns:a16="http://schemas.microsoft.com/office/drawing/2014/main" id="{769E73F5-5711-48BF-2BA9-9D92D5216A87}"/>
                </a:ext>
              </a:extLst>
            </p:cNvPr>
            <p:cNvSpPr txBox="1"/>
            <p:nvPr/>
          </p:nvSpPr>
          <p:spPr>
            <a:xfrm>
              <a:off x="1653769" y="2218469"/>
              <a:ext cx="632508" cy="261610"/>
            </a:xfrm>
            <a:prstGeom prst="rect">
              <a:avLst/>
            </a:prstGeom>
            <a:noFill/>
          </p:spPr>
          <p:txBody>
            <a:bodyPr wrap="square" rtlCol="0">
              <a:spAutoFit/>
            </a:bodyPr>
            <a:lstStyle/>
            <a:p>
              <a:r>
                <a:rPr lang="en-US" sz="1100" b="1">
                  <a:highlight>
                    <a:srgbClr val="E8E8E8"/>
                  </a:highlight>
                  <a:latin typeface="Century Gothic" panose="020B0502020202020204" pitchFamily="34" charset="0"/>
                </a:rPr>
                <a:t>PAST</a:t>
              </a:r>
            </a:p>
          </p:txBody>
        </p:sp>
        <p:sp>
          <p:nvSpPr>
            <p:cNvPr id="107" name="TextBox 106">
              <a:extLst>
                <a:ext uri="{FF2B5EF4-FFF2-40B4-BE49-F238E27FC236}">
                  <a16:creationId xmlns:a16="http://schemas.microsoft.com/office/drawing/2014/main" id="{15897E9B-801F-0A7A-020E-ED210C425629}"/>
                </a:ext>
              </a:extLst>
            </p:cNvPr>
            <p:cNvSpPr txBox="1"/>
            <p:nvPr/>
          </p:nvSpPr>
          <p:spPr>
            <a:xfrm>
              <a:off x="4145507" y="2242524"/>
              <a:ext cx="746594" cy="261610"/>
            </a:xfrm>
            <a:prstGeom prst="rect">
              <a:avLst/>
            </a:prstGeom>
            <a:noFill/>
          </p:spPr>
          <p:txBody>
            <a:bodyPr wrap="square" rtlCol="0">
              <a:spAutoFit/>
            </a:bodyPr>
            <a:lstStyle/>
            <a:p>
              <a:r>
                <a:rPr lang="en-US" sz="1100" b="1">
                  <a:latin typeface="Century Gothic" panose="020B0502020202020204" pitchFamily="34" charset="0"/>
                </a:rPr>
                <a:t>PRESENT</a:t>
              </a:r>
            </a:p>
          </p:txBody>
        </p:sp>
        <p:grpSp>
          <p:nvGrpSpPr>
            <p:cNvPr id="5" name="Group 4">
              <a:extLst>
                <a:ext uri="{FF2B5EF4-FFF2-40B4-BE49-F238E27FC236}">
                  <a16:creationId xmlns:a16="http://schemas.microsoft.com/office/drawing/2014/main" id="{5FB34F40-78C3-5C29-7638-3FC79E08CB82}"/>
                </a:ext>
              </a:extLst>
            </p:cNvPr>
            <p:cNvGrpSpPr/>
            <p:nvPr/>
          </p:nvGrpSpPr>
          <p:grpSpPr>
            <a:xfrm>
              <a:off x="6603805" y="576447"/>
              <a:ext cx="2418530" cy="3693281"/>
              <a:chOff x="8044682" y="751870"/>
              <a:chExt cx="3224706" cy="4924374"/>
            </a:xfrm>
          </p:grpSpPr>
          <p:sp>
            <p:nvSpPr>
              <p:cNvPr id="110" name="Thought Bubble: Cloud 109">
                <a:extLst>
                  <a:ext uri="{FF2B5EF4-FFF2-40B4-BE49-F238E27FC236}">
                    <a16:creationId xmlns:a16="http://schemas.microsoft.com/office/drawing/2014/main" id="{90F35653-CE27-8F71-E1AE-CE81994D1AB7}"/>
                  </a:ext>
                </a:extLst>
              </p:cNvPr>
              <p:cNvSpPr/>
              <p:nvPr/>
            </p:nvSpPr>
            <p:spPr>
              <a:xfrm>
                <a:off x="8044682" y="751870"/>
                <a:ext cx="3224706" cy="4924374"/>
              </a:xfrm>
              <a:prstGeom prst="cloudCallout">
                <a:avLst/>
              </a:prstGeom>
              <a:solidFill>
                <a:schemeClr val="accent3">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50">
                  <a:latin typeface="Century Gothic" panose="020B0502020202020204" pitchFamily="34" charset="0"/>
                </a:endParaRPr>
              </a:p>
            </p:txBody>
          </p:sp>
          <p:pic>
            <p:nvPicPr>
              <p:cNvPr id="109" name="Graphic 108" descr="Eagle with solid fill">
                <a:extLst>
                  <a:ext uri="{FF2B5EF4-FFF2-40B4-BE49-F238E27FC236}">
                    <a16:creationId xmlns:a16="http://schemas.microsoft.com/office/drawing/2014/main" id="{179943A9-4118-C0B9-D276-8124FDAB3D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30638" y="1518298"/>
                <a:ext cx="914400" cy="914400"/>
              </a:xfrm>
              <a:prstGeom prst="rect">
                <a:avLst/>
              </a:prstGeom>
            </p:spPr>
          </p:pic>
          <p:sp>
            <p:nvSpPr>
              <p:cNvPr id="111" name="TextBox 110">
                <a:extLst>
                  <a:ext uri="{FF2B5EF4-FFF2-40B4-BE49-F238E27FC236}">
                    <a16:creationId xmlns:a16="http://schemas.microsoft.com/office/drawing/2014/main" id="{B6723585-DDC4-105C-CED8-ACDE17CDBF15}"/>
                  </a:ext>
                </a:extLst>
              </p:cNvPr>
              <p:cNvSpPr txBox="1"/>
              <p:nvPr/>
            </p:nvSpPr>
            <p:spPr>
              <a:xfrm>
                <a:off x="9314788" y="1262349"/>
                <a:ext cx="1156138" cy="338555"/>
              </a:xfrm>
              <a:prstGeom prst="rect">
                <a:avLst/>
              </a:prstGeom>
              <a:noFill/>
            </p:spPr>
            <p:txBody>
              <a:bodyPr wrap="square" rtlCol="0">
                <a:spAutoFit/>
              </a:bodyPr>
              <a:lstStyle/>
              <a:p>
                <a:r>
                  <a:rPr lang="en-US" sz="1050" b="1">
                    <a:solidFill>
                      <a:schemeClr val="accent2"/>
                    </a:solidFill>
                    <a:latin typeface="Century Gothic" panose="020B0502020202020204" pitchFamily="34" charset="0"/>
                  </a:rPr>
                  <a:t>FUTURE</a:t>
                </a:r>
              </a:p>
            </p:txBody>
          </p:sp>
          <p:sp>
            <p:nvSpPr>
              <p:cNvPr id="112" name="Hexagon 111">
                <a:extLst>
                  <a:ext uri="{FF2B5EF4-FFF2-40B4-BE49-F238E27FC236}">
                    <a16:creationId xmlns:a16="http://schemas.microsoft.com/office/drawing/2014/main" id="{88B6DD76-A3BB-98B5-1FF1-D76071197967}"/>
                  </a:ext>
                </a:extLst>
              </p:cNvPr>
              <p:cNvSpPr/>
              <p:nvPr/>
            </p:nvSpPr>
            <p:spPr>
              <a:xfrm>
                <a:off x="8089179" y="2520329"/>
                <a:ext cx="1377009" cy="1099425"/>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50">
                  <a:latin typeface="Century Gothic" panose="020B0502020202020204" pitchFamily="34" charset="0"/>
                </a:endParaRPr>
              </a:p>
            </p:txBody>
          </p:sp>
          <p:sp>
            <p:nvSpPr>
              <p:cNvPr id="113" name="Hexagon 112">
                <a:extLst>
                  <a:ext uri="{FF2B5EF4-FFF2-40B4-BE49-F238E27FC236}">
                    <a16:creationId xmlns:a16="http://schemas.microsoft.com/office/drawing/2014/main" id="{FD29553A-A891-E048-8FC1-A114E982A758}"/>
                  </a:ext>
                </a:extLst>
              </p:cNvPr>
              <p:cNvSpPr/>
              <p:nvPr/>
            </p:nvSpPr>
            <p:spPr>
              <a:xfrm>
                <a:off x="9491827" y="2581833"/>
                <a:ext cx="1156138" cy="102113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50">
                  <a:latin typeface="Century Gothic" panose="020B0502020202020204" pitchFamily="34" charset="0"/>
                </a:endParaRPr>
              </a:p>
            </p:txBody>
          </p:sp>
          <p:sp>
            <p:nvSpPr>
              <p:cNvPr id="114" name="Hexagon 113">
                <a:extLst>
                  <a:ext uri="{FF2B5EF4-FFF2-40B4-BE49-F238E27FC236}">
                    <a16:creationId xmlns:a16="http://schemas.microsoft.com/office/drawing/2014/main" id="{B14D6C5B-D203-A3F7-7AA7-D63BE136534B}"/>
                  </a:ext>
                </a:extLst>
              </p:cNvPr>
              <p:cNvSpPr/>
              <p:nvPr/>
            </p:nvSpPr>
            <p:spPr>
              <a:xfrm>
                <a:off x="8326494" y="3619754"/>
                <a:ext cx="1256132" cy="1043627"/>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50">
                  <a:latin typeface="Century Gothic" panose="020B0502020202020204" pitchFamily="34" charset="0"/>
                </a:endParaRPr>
              </a:p>
            </p:txBody>
          </p:sp>
          <p:sp>
            <p:nvSpPr>
              <p:cNvPr id="115" name="Hexagon 114">
                <a:extLst>
                  <a:ext uri="{FF2B5EF4-FFF2-40B4-BE49-F238E27FC236}">
                    <a16:creationId xmlns:a16="http://schemas.microsoft.com/office/drawing/2014/main" id="{3525357A-F8D1-E09E-673A-9C6C802BC5BD}"/>
                  </a:ext>
                </a:extLst>
              </p:cNvPr>
              <p:cNvSpPr/>
              <p:nvPr/>
            </p:nvSpPr>
            <p:spPr>
              <a:xfrm>
                <a:off x="9539529" y="3581654"/>
                <a:ext cx="1156138" cy="1022521"/>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50">
                  <a:latin typeface="Century Gothic" panose="020B0502020202020204" pitchFamily="34" charset="0"/>
                </a:endParaRPr>
              </a:p>
            </p:txBody>
          </p:sp>
          <p:sp>
            <p:nvSpPr>
              <p:cNvPr id="75" name="Flowchart: Connector 74">
                <a:extLst>
                  <a:ext uri="{FF2B5EF4-FFF2-40B4-BE49-F238E27FC236}">
                    <a16:creationId xmlns:a16="http://schemas.microsoft.com/office/drawing/2014/main" id="{12459E4D-F940-5803-D043-5D167D951229}"/>
                  </a:ext>
                </a:extLst>
              </p:cNvPr>
              <p:cNvSpPr/>
              <p:nvPr/>
            </p:nvSpPr>
            <p:spPr>
              <a:xfrm>
                <a:off x="8209010" y="2570330"/>
                <a:ext cx="1173095" cy="994802"/>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Century Gothic" panose="020B0502020202020204" pitchFamily="34" charset="0"/>
                </a:endParaRPr>
              </a:p>
            </p:txBody>
          </p:sp>
          <p:sp>
            <p:nvSpPr>
              <p:cNvPr id="116" name="Flowchart: Connector 115">
                <a:extLst>
                  <a:ext uri="{FF2B5EF4-FFF2-40B4-BE49-F238E27FC236}">
                    <a16:creationId xmlns:a16="http://schemas.microsoft.com/office/drawing/2014/main" id="{FD4F6930-3B51-46E8-B312-E63FCD3735DF}"/>
                  </a:ext>
                </a:extLst>
              </p:cNvPr>
              <p:cNvSpPr/>
              <p:nvPr/>
            </p:nvSpPr>
            <p:spPr>
              <a:xfrm>
                <a:off x="9575233" y="2699998"/>
                <a:ext cx="987972" cy="846084"/>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Century Gothic" panose="020B0502020202020204" pitchFamily="34" charset="0"/>
                </a:endParaRPr>
              </a:p>
            </p:txBody>
          </p:sp>
          <p:sp>
            <p:nvSpPr>
              <p:cNvPr id="117" name="Flowchart: Connector 116">
                <a:extLst>
                  <a:ext uri="{FF2B5EF4-FFF2-40B4-BE49-F238E27FC236}">
                    <a16:creationId xmlns:a16="http://schemas.microsoft.com/office/drawing/2014/main" id="{AC384EA3-A61B-D55B-A587-55555EBB0C48}"/>
                  </a:ext>
                </a:extLst>
              </p:cNvPr>
              <p:cNvSpPr/>
              <p:nvPr/>
            </p:nvSpPr>
            <p:spPr>
              <a:xfrm>
                <a:off x="8403658" y="3611185"/>
                <a:ext cx="1094628" cy="1006258"/>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Century Gothic" panose="020B0502020202020204" pitchFamily="34" charset="0"/>
                </a:endParaRPr>
              </a:p>
            </p:txBody>
          </p:sp>
          <p:sp>
            <p:nvSpPr>
              <p:cNvPr id="118" name="Flowchart: Connector 117">
                <a:extLst>
                  <a:ext uri="{FF2B5EF4-FFF2-40B4-BE49-F238E27FC236}">
                    <a16:creationId xmlns:a16="http://schemas.microsoft.com/office/drawing/2014/main" id="{A6EA4C9D-11F7-335F-B025-601034595418}"/>
                  </a:ext>
                </a:extLst>
              </p:cNvPr>
              <p:cNvSpPr/>
              <p:nvPr/>
            </p:nvSpPr>
            <p:spPr>
              <a:xfrm>
                <a:off x="9616132" y="3611185"/>
                <a:ext cx="987972" cy="954072"/>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50">
                  <a:latin typeface="Century Gothic" panose="020B0502020202020204" pitchFamily="34" charset="0"/>
                </a:endParaRPr>
              </a:p>
            </p:txBody>
          </p:sp>
          <p:sp>
            <p:nvSpPr>
              <p:cNvPr id="123" name="TextBox 122">
                <a:extLst>
                  <a:ext uri="{FF2B5EF4-FFF2-40B4-BE49-F238E27FC236}">
                    <a16:creationId xmlns:a16="http://schemas.microsoft.com/office/drawing/2014/main" id="{368E218F-DC6C-9D29-1733-B4A55F564A06}"/>
                  </a:ext>
                </a:extLst>
              </p:cNvPr>
              <p:cNvSpPr txBox="1"/>
              <p:nvPr/>
            </p:nvSpPr>
            <p:spPr>
              <a:xfrm>
                <a:off x="8154262" y="2592100"/>
                <a:ext cx="1377009" cy="1046440"/>
              </a:xfrm>
              <a:prstGeom prst="rect">
                <a:avLst/>
              </a:prstGeom>
              <a:noFill/>
              <a:ln>
                <a:noFill/>
              </a:ln>
            </p:spPr>
            <p:txBody>
              <a:bodyPr wrap="square" rtlCol="0">
                <a:spAutoFit/>
              </a:bodyPr>
              <a:lstStyle/>
              <a:p>
                <a:r>
                  <a:rPr lang="en-US" sz="750">
                    <a:latin typeface="Century Gothic" panose="020B0502020202020204" pitchFamily="34" charset="0"/>
                  </a:rPr>
                  <a:t>     </a:t>
                </a:r>
                <a:r>
                  <a:rPr lang="en-US" sz="750" b="1" u="sng">
                    <a:solidFill>
                      <a:schemeClr val="bg1"/>
                    </a:solidFill>
                    <a:latin typeface="Century Gothic" panose="020B0502020202020204" pitchFamily="34" charset="0"/>
                  </a:rPr>
                  <a:t>Universal</a:t>
                </a:r>
                <a:r>
                  <a:rPr lang="en-US" sz="750" b="1" u="sng">
                    <a:latin typeface="Century Gothic" panose="020B0502020202020204" pitchFamily="34" charset="0"/>
                  </a:rPr>
                  <a:t> </a:t>
                </a:r>
              </a:p>
              <a:p>
                <a:pPr algn="ctr"/>
                <a:r>
                  <a:rPr lang="en-US" sz="750" b="1" u="sng">
                    <a:solidFill>
                      <a:schemeClr val="bg1"/>
                    </a:solidFill>
                    <a:latin typeface="Century Gothic" panose="020B0502020202020204" pitchFamily="34" charset="0"/>
                  </a:rPr>
                  <a:t>inclusion</a:t>
                </a:r>
              </a:p>
              <a:p>
                <a:r>
                  <a:rPr lang="en-US" sz="750" b="1" i="1">
                    <a:solidFill>
                      <a:prstClr val="white"/>
                    </a:solidFill>
                    <a:latin typeface="Century Gothic" panose="020B0502020202020204" pitchFamily="34" charset="0"/>
                  </a:rPr>
                  <a:t>&gt;25Mn Customers Transacting in a</a:t>
                </a:r>
              </a:p>
              <a:p>
                <a:r>
                  <a:rPr lang="en-US" sz="750" b="1" i="1">
                    <a:solidFill>
                      <a:prstClr val="white"/>
                    </a:solidFill>
                    <a:latin typeface="Century Gothic" panose="020B0502020202020204" pitchFamily="34" charset="0"/>
                  </a:rPr>
                  <a:t>     day</a:t>
                </a:r>
                <a:endParaRPr lang="en-KE" sz="750" b="1" i="1">
                  <a:solidFill>
                    <a:prstClr val="white"/>
                  </a:solidFill>
                  <a:latin typeface="Century Gothic" panose="020B0502020202020204" pitchFamily="34" charset="0"/>
                </a:endParaRPr>
              </a:p>
              <a:p>
                <a:endParaRPr lang="en-US" sz="750">
                  <a:latin typeface="Century Gothic" panose="020B0502020202020204" pitchFamily="34" charset="0"/>
                </a:endParaRPr>
              </a:p>
            </p:txBody>
          </p:sp>
          <p:sp>
            <p:nvSpPr>
              <p:cNvPr id="124" name="TextBox 123">
                <a:extLst>
                  <a:ext uri="{FF2B5EF4-FFF2-40B4-BE49-F238E27FC236}">
                    <a16:creationId xmlns:a16="http://schemas.microsoft.com/office/drawing/2014/main" id="{B801AD3B-27A1-FEE9-1CFD-30FB9C1B45F1}"/>
                  </a:ext>
                </a:extLst>
              </p:cNvPr>
              <p:cNvSpPr txBox="1"/>
              <p:nvPr/>
            </p:nvSpPr>
            <p:spPr>
              <a:xfrm>
                <a:off x="9649174" y="2851692"/>
                <a:ext cx="1035646" cy="584776"/>
              </a:xfrm>
              <a:prstGeom prst="rect">
                <a:avLst/>
              </a:prstGeom>
              <a:noFill/>
            </p:spPr>
            <p:txBody>
              <a:bodyPr wrap="square" rtlCol="0">
                <a:spAutoFit/>
              </a:bodyPr>
              <a:lstStyle/>
              <a:p>
                <a:r>
                  <a:rPr lang="en-US" sz="750" b="1">
                    <a:solidFill>
                      <a:schemeClr val="bg1"/>
                    </a:solidFill>
                    <a:latin typeface="Century Gothic" panose="020B0502020202020204" pitchFamily="34" charset="0"/>
                  </a:rPr>
                  <a:t>Neobanks, AI-driven apps</a:t>
                </a:r>
              </a:p>
            </p:txBody>
          </p:sp>
          <p:sp>
            <p:nvSpPr>
              <p:cNvPr id="125" name="TextBox 124">
                <a:extLst>
                  <a:ext uri="{FF2B5EF4-FFF2-40B4-BE49-F238E27FC236}">
                    <a16:creationId xmlns:a16="http://schemas.microsoft.com/office/drawing/2014/main" id="{73CA18A2-1045-31B2-EB19-F8BE534E82D6}"/>
                  </a:ext>
                </a:extLst>
              </p:cNvPr>
              <p:cNvSpPr txBox="1"/>
              <p:nvPr/>
            </p:nvSpPr>
            <p:spPr>
              <a:xfrm>
                <a:off x="8428399" y="3779175"/>
                <a:ext cx="1216290" cy="584776"/>
              </a:xfrm>
              <a:prstGeom prst="rect">
                <a:avLst/>
              </a:prstGeom>
              <a:noFill/>
            </p:spPr>
            <p:txBody>
              <a:bodyPr wrap="square" rtlCol="0">
                <a:spAutoFit/>
              </a:bodyPr>
              <a:lstStyle/>
              <a:p>
                <a:r>
                  <a:rPr lang="en-US" sz="750" b="1">
                    <a:solidFill>
                      <a:schemeClr val="bg1"/>
                    </a:solidFill>
                    <a:latin typeface="Century Gothic" panose="020B0502020202020204" pitchFamily="34" charset="0"/>
                  </a:rPr>
                  <a:t>Full banking, investments, insurance</a:t>
                </a:r>
              </a:p>
            </p:txBody>
          </p:sp>
          <p:sp>
            <p:nvSpPr>
              <p:cNvPr id="126" name="TextBox 125">
                <a:extLst>
                  <a:ext uri="{FF2B5EF4-FFF2-40B4-BE49-F238E27FC236}">
                    <a16:creationId xmlns:a16="http://schemas.microsoft.com/office/drawing/2014/main" id="{9A2C023A-1FF8-6FBA-D14D-E61C59DB87A8}"/>
                  </a:ext>
                </a:extLst>
              </p:cNvPr>
              <p:cNvSpPr txBox="1"/>
              <p:nvPr/>
            </p:nvSpPr>
            <p:spPr>
              <a:xfrm>
                <a:off x="9586556" y="3731758"/>
                <a:ext cx="1117750" cy="584776"/>
              </a:xfrm>
              <a:prstGeom prst="rect">
                <a:avLst/>
              </a:prstGeom>
              <a:noFill/>
            </p:spPr>
            <p:txBody>
              <a:bodyPr wrap="square" rtlCol="0">
                <a:spAutoFit/>
              </a:bodyPr>
              <a:lstStyle/>
              <a:p>
                <a:r>
                  <a:rPr lang="en-US" sz="750" b="1">
                    <a:solidFill>
                      <a:schemeClr val="bg1"/>
                    </a:solidFill>
                    <a:latin typeface="Century Gothic" panose="020B0502020202020204" pitchFamily="34" charset="0"/>
                  </a:rPr>
                  <a:t>Consumer-centric,</a:t>
                </a:r>
                <a:r>
                  <a:rPr lang="en-US" sz="750" b="1">
                    <a:latin typeface="Century Gothic" panose="020B0502020202020204" pitchFamily="34" charset="0"/>
                  </a:rPr>
                  <a:t> </a:t>
                </a:r>
                <a:r>
                  <a:rPr lang="en-US" sz="750" b="1">
                    <a:solidFill>
                      <a:schemeClr val="bg1"/>
                    </a:solidFill>
                    <a:latin typeface="Century Gothic" panose="020B0502020202020204" pitchFamily="34" charset="0"/>
                  </a:rPr>
                  <a:t>interoperable</a:t>
                </a:r>
              </a:p>
            </p:txBody>
          </p:sp>
        </p:grpSp>
        <p:grpSp>
          <p:nvGrpSpPr>
            <p:cNvPr id="4" name="Group 3">
              <a:extLst>
                <a:ext uri="{FF2B5EF4-FFF2-40B4-BE49-F238E27FC236}">
                  <a16:creationId xmlns:a16="http://schemas.microsoft.com/office/drawing/2014/main" id="{A2869593-5D8C-5560-21A1-877E56F3B0B2}"/>
                </a:ext>
              </a:extLst>
            </p:cNvPr>
            <p:cNvGrpSpPr/>
            <p:nvPr/>
          </p:nvGrpSpPr>
          <p:grpSpPr>
            <a:xfrm>
              <a:off x="3771971" y="632939"/>
              <a:ext cx="1283759" cy="1132299"/>
              <a:chOff x="5475139" y="593197"/>
              <a:chExt cx="1376852" cy="1477008"/>
            </a:xfrm>
          </p:grpSpPr>
          <p:sp>
            <p:nvSpPr>
              <p:cNvPr id="74" name="Hexagon 73">
                <a:extLst>
                  <a:ext uri="{FF2B5EF4-FFF2-40B4-BE49-F238E27FC236}">
                    <a16:creationId xmlns:a16="http://schemas.microsoft.com/office/drawing/2014/main" id="{EAEAD422-16A3-0151-232C-69D56B35E3E1}"/>
                  </a:ext>
                </a:extLst>
              </p:cNvPr>
              <p:cNvSpPr/>
              <p:nvPr/>
            </p:nvSpPr>
            <p:spPr>
              <a:xfrm>
                <a:off x="5475139" y="593197"/>
                <a:ext cx="1376852" cy="1306782"/>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6" name="Oval 5">
                <a:extLst>
                  <a:ext uri="{FF2B5EF4-FFF2-40B4-BE49-F238E27FC236}">
                    <a16:creationId xmlns:a16="http://schemas.microsoft.com/office/drawing/2014/main" id="{A68AFC1D-4D4E-99CF-B9E5-E0826C630E98}"/>
                  </a:ext>
                </a:extLst>
              </p:cNvPr>
              <p:cNvSpPr/>
              <p:nvPr/>
            </p:nvSpPr>
            <p:spPr>
              <a:xfrm>
                <a:off x="5610458" y="630545"/>
                <a:ext cx="1106214" cy="1243779"/>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104" name="TextBox 103">
                <a:extLst>
                  <a:ext uri="{FF2B5EF4-FFF2-40B4-BE49-F238E27FC236}">
                    <a16:creationId xmlns:a16="http://schemas.microsoft.com/office/drawing/2014/main" id="{2924A8FF-CB9A-E5E1-B00D-389F1A8845E9}"/>
                  </a:ext>
                </a:extLst>
              </p:cNvPr>
              <p:cNvSpPr txBox="1"/>
              <p:nvPr/>
            </p:nvSpPr>
            <p:spPr>
              <a:xfrm>
                <a:off x="5652375" y="614862"/>
                <a:ext cx="1050118" cy="1455343"/>
              </a:xfrm>
              <a:prstGeom prst="rect">
                <a:avLst/>
              </a:prstGeom>
              <a:noFill/>
            </p:spPr>
            <p:txBody>
              <a:bodyPr wrap="square" rtlCol="0">
                <a:spAutoFit/>
              </a:bodyPr>
              <a:lstStyle/>
              <a:p>
                <a:pPr algn="ctr"/>
                <a:r>
                  <a:rPr lang="en-US" sz="1000" b="1" u="sng">
                    <a:solidFill>
                      <a:schemeClr val="bg1"/>
                    </a:solidFill>
                    <a:latin typeface="Century Gothic" panose="020B0502020202020204" pitchFamily="34" charset="0"/>
                  </a:rPr>
                  <a:t>High penetration</a:t>
                </a:r>
              </a:p>
              <a:p>
                <a:pPr algn="ctr"/>
                <a:r>
                  <a:rPr lang="en-US" sz="900" b="1" i="1">
                    <a:solidFill>
                      <a:prstClr val="white"/>
                    </a:solidFill>
                    <a:latin typeface="Century Gothic" panose="020B0502020202020204" pitchFamily="34" charset="0"/>
                  </a:rPr>
                  <a:t>18Mn Customers Transacting in a day</a:t>
                </a:r>
                <a:endParaRPr lang="en-KE" sz="900" b="1" i="1">
                  <a:solidFill>
                    <a:prstClr val="white"/>
                  </a:solidFill>
                  <a:latin typeface="Century Gothic" panose="020B0502020202020204" pitchFamily="34" charset="0"/>
                </a:endParaRPr>
              </a:p>
              <a:p>
                <a:endParaRPr lang="en-US" sz="1050">
                  <a:latin typeface="Century Gothic" panose="020B0502020202020204" pitchFamily="34" charset="0"/>
                </a:endParaRPr>
              </a:p>
            </p:txBody>
          </p:sp>
        </p:grpSp>
        <p:sp>
          <p:nvSpPr>
            <p:cNvPr id="7" name="TextBox 6">
              <a:extLst>
                <a:ext uri="{FF2B5EF4-FFF2-40B4-BE49-F238E27FC236}">
                  <a16:creationId xmlns:a16="http://schemas.microsoft.com/office/drawing/2014/main" id="{03FA94EA-B2B8-C00B-01CD-7E9A34AA8968}"/>
                </a:ext>
              </a:extLst>
            </p:cNvPr>
            <p:cNvSpPr txBox="1"/>
            <p:nvPr/>
          </p:nvSpPr>
          <p:spPr>
            <a:xfrm rot="10800000" flipV="1">
              <a:off x="3833980" y="3289085"/>
              <a:ext cx="882801" cy="159563"/>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Regulation</a:t>
              </a:r>
            </a:p>
          </p:txBody>
        </p:sp>
        <p:grpSp>
          <p:nvGrpSpPr>
            <p:cNvPr id="22" name="Group 21">
              <a:extLst>
                <a:ext uri="{FF2B5EF4-FFF2-40B4-BE49-F238E27FC236}">
                  <a16:creationId xmlns:a16="http://schemas.microsoft.com/office/drawing/2014/main" id="{B756B02B-716F-99CB-C2B9-46CFFD39E9F8}"/>
                </a:ext>
              </a:extLst>
            </p:cNvPr>
            <p:cNvGrpSpPr/>
            <p:nvPr/>
          </p:nvGrpSpPr>
          <p:grpSpPr>
            <a:xfrm>
              <a:off x="235575" y="2517397"/>
              <a:ext cx="1207049" cy="960632"/>
              <a:chOff x="556519" y="3215604"/>
              <a:chExt cx="1609398" cy="1280842"/>
            </a:xfrm>
          </p:grpSpPr>
          <p:sp>
            <p:nvSpPr>
              <p:cNvPr id="83" name="Hexagon 82">
                <a:extLst>
                  <a:ext uri="{FF2B5EF4-FFF2-40B4-BE49-F238E27FC236}">
                    <a16:creationId xmlns:a16="http://schemas.microsoft.com/office/drawing/2014/main" id="{9A6B0F24-D1C3-EE14-30F4-B19B20D0DFFE}"/>
                  </a:ext>
                </a:extLst>
              </p:cNvPr>
              <p:cNvSpPr/>
              <p:nvPr/>
            </p:nvSpPr>
            <p:spPr>
              <a:xfrm>
                <a:off x="828018" y="3475310"/>
                <a:ext cx="1156138" cy="102113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84" name="Flowchart: Connector 83">
                <a:extLst>
                  <a:ext uri="{FF2B5EF4-FFF2-40B4-BE49-F238E27FC236}">
                    <a16:creationId xmlns:a16="http://schemas.microsoft.com/office/drawing/2014/main" id="{8871CADF-4647-D632-F7B1-765DE0A7DA47}"/>
                  </a:ext>
                </a:extLst>
              </p:cNvPr>
              <p:cNvSpPr/>
              <p:nvPr/>
            </p:nvSpPr>
            <p:spPr>
              <a:xfrm>
                <a:off x="922612" y="3529494"/>
                <a:ext cx="987972" cy="846084"/>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100" name="TextBox 99">
                <a:extLst>
                  <a:ext uri="{FF2B5EF4-FFF2-40B4-BE49-F238E27FC236}">
                    <a16:creationId xmlns:a16="http://schemas.microsoft.com/office/drawing/2014/main" id="{F3D47284-B7FD-680F-C20F-F8B3707670FE}"/>
                  </a:ext>
                </a:extLst>
              </p:cNvPr>
              <p:cNvSpPr txBox="1"/>
              <p:nvPr/>
            </p:nvSpPr>
            <p:spPr>
              <a:xfrm>
                <a:off x="1016177" y="3546968"/>
                <a:ext cx="955748" cy="738664"/>
              </a:xfrm>
              <a:prstGeom prst="rect">
                <a:avLst/>
              </a:prstGeom>
              <a:noFill/>
            </p:spPr>
            <p:txBody>
              <a:bodyPr wrap="square" rtlCol="0">
                <a:spAutoFit/>
              </a:bodyPr>
              <a:lstStyle/>
              <a:p>
                <a:r>
                  <a:rPr lang="en-US" sz="1000" b="1">
                    <a:solidFill>
                      <a:schemeClr val="bg1"/>
                    </a:solidFill>
                    <a:latin typeface="Century Gothic" panose="020B0502020202020204" pitchFamily="34" charset="0"/>
                  </a:rPr>
                  <a:t>M-Pesa, Airtel Money</a:t>
                </a:r>
              </a:p>
            </p:txBody>
          </p:sp>
          <p:sp>
            <p:nvSpPr>
              <p:cNvPr id="8" name="TextBox 7">
                <a:extLst>
                  <a:ext uri="{FF2B5EF4-FFF2-40B4-BE49-F238E27FC236}">
                    <a16:creationId xmlns:a16="http://schemas.microsoft.com/office/drawing/2014/main" id="{EA97C646-2C44-13D2-5215-772AC3E58E14}"/>
                  </a:ext>
                </a:extLst>
              </p:cNvPr>
              <p:cNvSpPr txBox="1"/>
              <p:nvPr/>
            </p:nvSpPr>
            <p:spPr>
              <a:xfrm rot="10800000" flipV="1">
                <a:off x="556519" y="3215604"/>
                <a:ext cx="1609398" cy="193139"/>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Key players</a:t>
                </a:r>
              </a:p>
            </p:txBody>
          </p:sp>
        </p:grpSp>
        <p:sp>
          <p:nvSpPr>
            <p:cNvPr id="9" name="TextBox 8">
              <a:extLst>
                <a:ext uri="{FF2B5EF4-FFF2-40B4-BE49-F238E27FC236}">
                  <a16:creationId xmlns:a16="http://schemas.microsoft.com/office/drawing/2014/main" id="{9868DB9D-484A-1239-4597-E8ADCFDCBB3A}"/>
                </a:ext>
              </a:extLst>
            </p:cNvPr>
            <p:cNvSpPr txBox="1"/>
            <p:nvPr/>
          </p:nvSpPr>
          <p:spPr>
            <a:xfrm rot="10800000" flipV="1">
              <a:off x="4983159" y="2517398"/>
              <a:ext cx="1100629" cy="240644"/>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Key players</a:t>
              </a:r>
            </a:p>
          </p:txBody>
        </p:sp>
        <p:sp>
          <p:nvSpPr>
            <p:cNvPr id="11" name="TextBox 10">
              <a:extLst>
                <a:ext uri="{FF2B5EF4-FFF2-40B4-BE49-F238E27FC236}">
                  <a16:creationId xmlns:a16="http://schemas.microsoft.com/office/drawing/2014/main" id="{596AA0E6-6474-6828-D41E-F157A310C1AC}"/>
                </a:ext>
              </a:extLst>
            </p:cNvPr>
            <p:cNvSpPr txBox="1"/>
            <p:nvPr/>
          </p:nvSpPr>
          <p:spPr>
            <a:xfrm rot="10800000" flipV="1">
              <a:off x="121664" y="1428260"/>
              <a:ext cx="1207049" cy="144854"/>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Services</a:t>
              </a:r>
            </a:p>
          </p:txBody>
        </p:sp>
        <p:sp>
          <p:nvSpPr>
            <p:cNvPr id="12" name="TextBox 11">
              <a:extLst>
                <a:ext uri="{FF2B5EF4-FFF2-40B4-BE49-F238E27FC236}">
                  <a16:creationId xmlns:a16="http://schemas.microsoft.com/office/drawing/2014/main" id="{E122A036-1AB0-E58C-4F51-042BA31B2871}"/>
                </a:ext>
              </a:extLst>
            </p:cNvPr>
            <p:cNvSpPr txBox="1"/>
            <p:nvPr/>
          </p:nvSpPr>
          <p:spPr>
            <a:xfrm rot="10800000" flipV="1">
              <a:off x="1423109" y="474511"/>
              <a:ext cx="854048" cy="112981"/>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Access</a:t>
              </a:r>
            </a:p>
          </p:txBody>
        </p:sp>
        <p:grpSp>
          <p:nvGrpSpPr>
            <p:cNvPr id="10" name="Group 9">
              <a:extLst>
                <a:ext uri="{FF2B5EF4-FFF2-40B4-BE49-F238E27FC236}">
                  <a16:creationId xmlns:a16="http://schemas.microsoft.com/office/drawing/2014/main" id="{C449A63C-C487-89E3-2709-D97286D6D20E}"/>
                </a:ext>
              </a:extLst>
            </p:cNvPr>
            <p:cNvGrpSpPr/>
            <p:nvPr/>
          </p:nvGrpSpPr>
          <p:grpSpPr>
            <a:xfrm>
              <a:off x="4878262" y="1457452"/>
              <a:ext cx="1029620" cy="2138656"/>
              <a:chOff x="6768991" y="1729983"/>
              <a:chExt cx="1372822" cy="2851541"/>
            </a:xfrm>
          </p:grpSpPr>
          <p:sp>
            <p:nvSpPr>
              <p:cNvPr id="76" name="Hexagon 75">
                <a:extLst>
                  <a:ext uri="{FF2B5EF4-FFF2-40B4-BE49-F238E27FC236}">
                    <a16:creationId xmlns:a16="http://schemas.microsoft.com/office/drawing/2014/main" id="{1B72FE2B-549D-54C5-A826-FE3244C77FD4}"/>
                  </a:ext>
                </a:extLst>
              </p:cNvPr>
              <p:cNvSpPr/>
              <p:nvPr/>
            </p:nvSpPr>
            <p:spPr>
              <a:xfrm>
                <a:off x="6842563" y="2020304"/>
                <a:ext cx="1156138" cy="102113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77" name="Flowchart: Connector 76">
                <a:extLst>
                  <a:ext uri="{FF2B5EF4-FFF2-40B4-BE49-F238E27FC236}">
                    <a16:creationId xmlns:a16="http://schemas.microsoft.com/office/drawing/2014/main" id="{7DC900CF-04A5-7F12-A660-F68C7849C997}"/>
                  </a:ext>
                </a:extLst>
              </p:cNvPr>
              <p:cNvSpPr/>
              <p:nvPr/>
            </p:nvSpPr>
            <p:spPr>
              <a:xfrm>
                <a:off x="6937157" y="2074488"/>
                <a:ext cx="987972" cy="846084"/>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78" name="Hexagon 77">
                <a:extLst>
                  <a:ext uri="{FF2B5EF4-FFF2-40B4-BE49-F238E27FC236}">
                    <a16:creationId xmlns:a16="http://schemas.microsoft.com/office/drawing/2014/main" id="{4F88AFA5-F2C3-EA30-3B95-9AE06E28E4F4}"/>
                  </a:ext>
                </a:extLst>
              </p:cNvPr>
              <p:cNvSpPr/>
              <p:nvPr/>
            </p:nvSpPr>
            <p:spPr>
              <a:xfrm>
                <a:off x="6768991" y="3560388"/>
                <a:ext cx="1345448" cy="1021136"/>
              </a:xfrm>
              <a:prstGeom prst="hexagon">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79" name="Flowchart: Connector 78">
                <a:extLst>
                  <a:ext uri="{FF2B5EF4-FFF2-40B4-BE49-F238E27FC236}">
                    <a16:creationId xmlns:a16="http://schemas.microsoft.com/office/drawing/2014/main" id="{33A8D886-2F8F-B1D0-6C19-657AF1C61A9C}"/>
                  </a:ext>
                </a:extLst>
              </p:cNvPr>
              <p:cNvSpPr/>
              <p:nvPr/>
            </p:nvSpPr>
            <p:spPr>
              <a:xfrm>
                <a:off x="6863584" y="3614572"/>
                <a:ext cx="1095507" cy="846084"/>
              </a:xfrm>
              <a:prstGeom prst="flowChartConnector">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latin typeface="Century Gothic" panose="020B0502020202020204" pitchFamily="34" charset="0"/>
                </a:endParaRPr>
              </a:p>
            </p:txBody>
          </p:sp>
          <p:sp>
            <p:nvSpPr>
              <p:cNvPr id="103" name="TextBox 102">
                <a:extLst>
                  <a:ext uri="{FF2B5EF4-FFF2-40B4-BE49-F238E27FC236}">
                    <a16:creationId xmlns:a16="http://schemas.microsoft.com/office/drawing/2014/main" id="{3A76077A-B4D6-6868-7CBA-CD8F4507606C}"/>
                  </a:ext>
                </a:extLst>
              </p:cNvPr>
              <p:cNvSpPr txBox="1"/>
              <p:nvPr/>
            </p:nvSpPr>
            <p:spPr>
              <a:xfrm>
                <a:off x="6910241" y="3636461"/>
                <a:ext cx="1209144" cy="738664"/>
              </a:xfrm>
              <a:prstGeom prst="rect">
                <a:avLst/>
              </a:prstGeom>
              <a:noFill/>
            </p:spPr>
            <p:txBody>
              <a:bodyPr wrap="square" rtlCol="0">
                <a:spAutoFit/>
              </a:bodyPr>
              <a:lstStyle/>
              <a:p>
                <a:r>
                  <a:rPr lang="en-US" sz="1000" b="1">
                    <a:solidFill>
                      <a:schemeClr val="bg1"/>
                    </a:solidFill>
                    <a:latin typeface="Century Gothic" panose="020B0502020202020204" pitchFamily="34" charset="0"/>
                  </a:rPr>
                  <a:t>M-Pesa, KCB, Equity, FinTech's</a:t>
                </a:r>
              </a:p>
            </p:txBody>
          </p:sp>
          <p:sp>
            <p:nvSpPr>
              <p:cNvPr id="105" name="TextBox 104">
                <a:extLst>
                  <a:ext uri="{FF2B5EF4-FFF2-40B4-BE49-F238E27FC236}">
                    <a16:creationId xmlns:a16="http://schemas.microsoft.com/office/drawing/2014/main" id="{D9E245DD-FD47-AF84-69D0-D1E4D98477C1}"/>
                  </a:ext>
                </a:extLst>
              </p:cNvPr>
              <p:cNvSpPr txBox="1"/>
              <p:nvPr/>
            </p:nvSpPr>
            <p:spPr>
              <a:xfrm>
                <a:off x="7028947" y="2144507"/>
                <a:ext cx="1112866" cy="677108"/>
              </a:xfrm>
              <a:prstGeom prst="rect">
                <a:avLst/>
              </a:prstGeom>
              <a:noFill/>
            </p:spPr>
            <p:txBody>
              <a:bodyPr wrap="square" rtlCol="0">
                <a:spAutoFit/>
              </a:bodyPr>
              <a:lstStyle/>
              <a:p>
                <a:r>
                  <a:rPr lang="en-US" sz="900" b="1">
                    <a:solidFill>
                      <a:schemeClr val="bg1"/>
                    </a:solidFill>
                    <a:latin typeface="Century Gothic" panose="020B0502020202020204" pitchFamily="34" charset="0"/>
                  </a:rPr>
                  <a:t>Loans, payments, APIs</a:t>
                </a:r>
              </a:p>
            </p:txBody>
          </p:sp>
          <p:sp>
            <p:nvSpPr>
              <p:cNvPr id="13" name="TextBox 12">
                <a:extLst>
                  <a:ext uri="{FF2B5EF4-FFF2-40B4-BE49-F238E27FC236}">
                    <a16:creationId xmlns:a16="http://schemas.microsoft.com/office/drawing/2014/main" id="{1681C06C-D153-CA80-D52C-37E19D5303F5}"/>
                  </a:ext>
                </a:extLst>
              </p:cNvPr>
              <p:cNvSpPr txBox="1"/>
              <p:nvPr/>
            </p:nvSpPr>
            <p:spPr>
              <a:xfrm rot="10800000" flipV="1">
                <a:off x="6913984" y="1729983"/>
                <a:ext cx="975137" cy="211609"/>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Services</a:t>
                </a:r>
              </a:p>
            </p:txBody>
          </p:sp>
        </p:grpSp>
        <p:sp>
          <p:nvSpPr>
            <p:cNvPr id="14" name="TextBox 13">
              <a:extLst>
                <a:ext uri="{FF2B5EF4-FFF2-40B4-BE49-F238E27FC236}">
                  <a16:creationId xmlns:a16="http://schemas.microsoft.com/office/drawing/2014/main" id="{C9F17C10-0348-453A-EC00-7CC376D20BD9}"/>
                </a:ext>
              </a:extLst>
            </p:cNvPr>
            <p:cNvSpPr txBox="1"/>
            <p:nvPr/>
          </p:nvSpPr>
          <p:spPr>
            <a:xfrm rot="10800000" flipV="1">
              <a:off x="3849248" y="479321"/>
              <a:ext cx="854048" cy="112981"/>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50" b="1">
                  <a:solidFill>
                    <a:schemeClr val="tx1"/>
                  </a:solidFill>
                  <a:latin typeface="Century Gothic" panose="020B0502020202020204" pitchFamily="34" charset="0"/>
                </a:rPr>
                <a:t>Access</a:t>
              </a:r>
            </a:p>
          </p:txBody>
        </p:sp>
        <p:sp>
          <p:nvSpPr>
            <p:cNvPr id="15" name="TextBox 14">
              <a:extLst>
                <a:ext uri="{FF2B5EF4-FFF2-40B4-BE49-F238E27FC236}">
                  <a16:creationId xmlns:a16="http://schemas.microsoft.com/office/drawing/2014/main" id="{0690013B-9324-13FE-43A6-F8361435ADFB}"/>
                </a:ext>
              </a:extLst>
            </p:cNvPr>
            <p:cNvSpPr txBox="1"/>
            <p:nvPr/>
          </p:nvSpPr>
          <p:spPr>
            <a:xfrm rot="10800000" flipV="1">
              <a:off x="6917567" y="1760025"/>
              <a:ext cx="708708" cy="140142"/>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00" b="1">
                  <a:solidFill>
                    <a:schemeClr val="tx1"/>
                  </a:solidFill>
                  <a:latin typeface="Century Gothic" panose="020B0502020202020204" pitchFamily="34" charset="0"/>
                </a:rPr>
                <a:t>Access</a:t>
              </a:r>
              <a:endParaRPr lang="en-US" sz="750" b="1">
                <a:solidFill>
                  <a:schemeClr val="tx1"/>
                </a:solidFill>
                <a:latin typeface="Century Gothic" panose="020B0502020202020204" pitchFamily="34" charset="0"/>
              </a:endParaRPr>
            </a:p>
          </p:txBody>
        </p:sp>
        <p:sp>
          <p:nvSpPr>
            <p:cNvPr id="16" name="TextBox 15">
              <a:extLst>
                <a:ext uri="{FF2B5EF4-FFF2-40B4-BE49-F238E27FC236}">
                  <a16:creationId xmlns:a16="http://schemas.microsoft.com/office/drawing/2014/main" id="{5C2D9F6F-2734-C5CB-1109-05F8503AEA3F}"/>
                </a:ext>
              </a:extLst>
            </p:cNvPr>
            <p:cNvSpPr txBox="1"/>
            <p:nvPr/>
          </p:nvSpPr>
          <p:spPr>
            <a:xfrm rot="11910911" flipV="1">
              <a:off x="8182601" y="1698834"/>
              <a:ext cx="706405" cy="152175"/>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00" b="1">
                  <a:solidFill>
                    <a:schemeClr val="tx1"/>
                  </a:solidFill>
                  <a:latin typeface="Century Gothic" panose="020B0502020202020204" pitchFamily="34" charset="0"/>
                </a:rPr>
                <a:t>Key players</a:t>
              </a:r>
            </a:p>
          </p:txBody>
        </p:sp>
        <p:sp>
          <p:nvSpPr>
            <p:cNvPr id="17" name="TextBox 16">
              <a:extLst>
                <a:ext uri="{FF2B5EF4-FFF2-40B4-BE49-F238E27FC236}">
                  <a16:creationId xmlns:a16="http://schemas.microsoft.com/office/drawing/2014/main" id="{B9805EAD-8F2D-A89A-80B9-5AE1AB45C0B5}"/>
                </a:ext>
              </a:extLst>
            </p:cNvPr>
            <p:cNvSpPr txBox="1"/>
            <p:nvPr/>
          </p:nvSpPr>
          <p:spPr>
            <a:xfrm rot="15193463" flipV="1">
              <a:off x="8193218" y="3020567"/>
              <a:ext cx="860672" cy="34563"/>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825" b="1">
                  <a:solidFill>
                    <a:schemeClr val="tx1"/>
                  </a:solidFill>
                  <a:latin typeface="Century Gothic" panose="020B0502020202020204" pitchFamily="34" charset="0"/>
                </a:rPr>
                <a:t>Regulation</a:t>
              </a:r>
              <a:endParaRPr lang="en-US" sz="750" b="1">
                <a:solidFill>
                  <a:schemeClr val="tx1"/>
                </a:solidFill>
                <a:latin typeface="Century Gothic" panose="020B0502020202020204" pitchFamily="34" charset="0"/>
              </a:endParaRPr>
            </a:p>
          </p:txBody>
        </p:sp>
        <p:sp>
          <p:nvSpPr>
            <p:cNvPr id="18" name="TextBox 17">
              <a:extLst>
                <a:ext uri="{FF2B5EF4-FFF2-40B4-BE49-F238E27FC236}">
                  <a16:creationId xmlns:a16="http://schemas.microsoft.com/office/drawing/2014/main" id="{A6028A2C-7F80-D599-16E1-BFB8585150E3}"/>
                </a:ext>
              </a:extLst>
            </p:cNvPr>
            <p:cNvSpPr txBox="1"/>
            <p:nvPr/>
          </p:nvSpPr>
          <p:spPr>
            <a:xfrm rot="3855389" flipV="1">
              <a:off x="6513778" y="3327568"/>
              <a:ext cx="711815" cy="109122"/>
            </a:xfrm>
            <a:prstGeom prst="roundRect">
              <a:avLst>
                <a:gd name="adj" fmla="val 50000"/>
              </a:avLst>
            </a:prstGeom>
            <a:solidFill>
              <a:schemeClr val="bg1"/>
            </a:solidFill>
            <a:ln w="10795" cap="flat" cmpd="sng" algn="ctr">
              <a:noFill/>
              <a:prstDash val="solid"/>
            </a:ln>
            <a:effectLst/>
          </p:spPr>
          <p:txBody>
            <a:bodyPr lIns="68580" tIns="68580" rIns="68580" bIns="68580" rtlCol="0" anchor="ctr"/>
            <a:lstStyle>
              <a:defPPr>
                <a:defRPr lang="en-US"/>
              </a:defPPr>
              <a:lvl1pPr algn="ctr">
                <a:lnSpc>
                  <a:spcPct val="95000"/>
                </a:lnSpc>
                <a:defRPr kern="0">
                  <a:solidFill>
                    <a:schemeClr val="bg1"/>
                  </a:solidFill>
                </a:defRPr>
              </a:lvl1pPr>
            </a:lstStyle>
            <a:p>
              <a:pPr lvl="0">
                <a:defRPr/>
              </a:pPr>
              <a:r>
                <a:rPr lang="en-US" sz="1000" b="1">
                  <a:solidFill>
                    <a:schemeClr val="tx1"/>
                  </a:solidFill>
                  <a:latin typeface="Century Gothic" panose="020B0502020202020204" pitchFamily="34" charset="0"/>
                </a:rPr>
                <a:t>Services</a:t>
              </a:r>
              <a:endParaRPr lang="en-US" sz="750" b="1">
                <a:solidFill>
                  <a:schemeClr val="tx1"/>
                </a:solidFill>
                <a:latin typeface="Century Gothic" panose="020B0502020202020204" pitchFamily="34" charset="0"/>
              </a:endParaRPr>
            </a:p>
          </p:txBody>
        </p:sp>
        <p:sp>
          <p:nvSpPr>
            <p:cNvPr id="24" name="Arrow: Right 23">
              <a:extLst>
                <a:ext uri="{FF2B5EF4-FFF2-40B4-BE49-F238E27FC236}">
                  <a16:creationId xmlns:a16="http://schemas.microsoft.com/office/drawing/2014/main" id="{FD0B2C52-93A9-43CD-30E8-2D65331C7952}"/>
                </a:ext>
              </a:extLst>
            </p:cNvPr>
            <p:cNvSpPr/>
            <p:nvPr/>
          </p:nvSpPr>
          <p:spPr>
            <a:xfrm>
              <a:off x="5714200" y="2271380"/>
              <a:ext cx="866785" cy="34289"/>
            </a:xfrm>
            <a:prstGeom prst="rightArrow">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sz="1050">
                <a:latin typeface="Century Gothic" panose="020B0502020202020204" pitchFamily="34" charset="0"/>
              </a:endParaRPr>
            </a:p>
          </p:txBody>
        </p:sp>
        <p:sp>
          <p:nvSpPr>
            <p:cNvPr id="26" name="TextBox 25">
              <a:extLst>
                <a:ext uri="{FF2B5EF4-FFF2-40B4-BE49-F238E27FC236}">
                  <a16:creationId xmlns:a16="http://schemas.microsoft.com/office/drawing/2014/main" id="{C0FE4E14-A6AD-48B1-E3B5-C090C2084300}"/>
                </a:ext>
              </a:extLst>
            </p:cNvPr>
            <p:cNvSpPr txBox="1"/>
            <p:nvPr/>
          </p:nvSpPr>
          <p:spPr>
            <a:xfrm>
              <a:off x="5823353" y="2019865"/>
              <a:ext cx="866785" cy="253916"/>
            </a:xfrm>
            <a:prstGeom prst="rect">
              <a:avLst/>
            </a:prstGeom>
            <a:noFill/>
          </p:spPr>
          <p:txBody>
            <a:bodyPr wrap="square">
              <a:spAutoFit/>
            </a:bodyPr>
            <a:lstStyle/>
            <a:p>
              <a:r>
                <a:rPr lang="en-US" sz="1050" b="1" i="1">
                  <a:solidFill>
                    <a:schemeClr val="accent1"/>
                  </a:solidFill>
                  <a:latin typeface="Century Gothic" panose="020B0502020202020204" pitchFamily="34" charset="0"/>
                </a:rPr>
                <a:t>FUTURE</a:t>
              </a:r>
            </a:p>
          </p:txBody>
        </p:sp>
        <p:sp>
          <p:nvSpPr>
            <p:cNvPr id="2" name="TextBox 1">
              <a:extLst>
                <a:ext uri="{FF2B5EF4-FFF2-40B4-BE49-F238E27FC236}">
                  <a16:creationId xmlns:a16="http://schemas.microsoft.com/office/drawing/2014/main" id="{57337929-02B8-F983-6D52-43A8A43F4A88}"/>
                </a:ext>
              </a:extLst>
            </p:cNvPr>
            <p:cNvSpPr txBox="1"/>
            <p:nvPr/>
          </p:nvSpPr>
          <p:spPr>
            <a:xfrm>
              <a:off x="984175" y="29644"/>
              <a:ext cx="7465211" cy="308674"/>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defTabSz="514350">
                <a:buClrTx/>
                <a:defRPr/>
              </a:pPr>
              <a:r>
                <a:rPr lang="en-US" sz="1406" b="1" kern="1200" dirty="0">
                  <a:ln w="6350" cap="flat">
                    <a:noFill/>
                    <a:miter lim="800000"/>
                  </a:ln>
                  <a:solidFill>
                    <a:schemeClr val="bg1"/>
                  </a:solidFill>
                  <a:latin typeface="Century Gothic" panose="020B0502020202020204" pitchFamily="34" charset="0"/>
                </a:rPr>
                <a:t>Evolution: Mobile Money has played a Transformative Role in Financial Services</a:t>
              </a:r>
              <a:endParaRPr lang="en-US" sz="1013" b="1" kern="1200" dirty="0">
                <a:solidFill>
                  <a:schemeClr val="bg1"/>
                </a:solidFill>
                <a:latin typeface="Century Gothic" panose="020B0502020202020204" pitchFamily="34" charset="0"/>
              </a:endParaRPr>
            </a:p>
          </p:txBody>
        </p:sp>
      </p:grpSp>
      <p:sp>
        <p:nvSpPr>
          <p:cNvPr id="25" name="Title 10">
            <a:extLst>
              <a:ext uri="{FF2B5EF4-FFF2-40B4-BE49-F238E27FC236}">
                <a16:creationId xmlns:a16="http://schemas.microsoft.com/office/drawing/2014/main" id="{8786C605-6A2F-19C6-7FF9-33981CDAD9D8}"/>
              </a:ext>
            </a:extLst>
          </p:cNvPr>
          <p:cNvSpPr txBox="1">
            <a:spLocks/>
          </p:cNvSpPr>
          <p:nvPr/>
        </p:nvSpPr>
        <p:spPr>
          <a:xfrm>
            <a:off x="53001" y="44907"/>
            <a:ext cx="646154"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20.</a:t>
            </a:r>
          </a:p>
        </p:txBody>
      </p:sp>
      <p:pic>
        <p:nvPicPr>
          <p:cNvPr id="27" name="Picture 26">
            <a:extLst>
              <a:ext uri="{FF2B5EF4-FFF2-40B4-BE49-F238E27FC236}">
                <a16:creationId xmlns:a16="http://schemas.microsoft.com/office/drawing/2014/main" id="{5C6C9D6C-622B-D817-0B6C-9608642B3806}"/>
              </a:ext>
            </a:extLst>
          </p:cNvPr>
          <p:cNvPicPr>
            <a:picLocks noChangeAspect="1"/>
          </p:cNvPicPr>
          <p:nvPr/>
        </p:nvPicPr>
        <p:blipFill>
          <a:blip r:embed="rId8"/>
          <a:stretch>
            <a:fillRect/>
          </a:stretch>
        </p:blipFill>
        <p:spPr>
          <a:xfrm>
            <a:off x="8641768" y="0"/>
            <a:ext cx="478971" cy="379561"/>
          </a:xfrm>
          <a:prstGeom prst="rect">
            <a:avLst/>
          </a:prstGeom>
        </p:spPr>
      </p:pic>
      <p:sp>
        <p:nvSpPr>
          <p:cNvPr id="28" name="TextBox 27">
            <a:extLst>
              <a:ext uri="{FF2B5EF4-FFF2-40B4-BE49-F238E27FC236}">
                <a16:creationId xmlns:a16="http://schemas.microsoft.com/office/drawing/2014/main" id="{E2D5828A-5940-A798-1F55-5D907915A46D}"/>
              </a:ext>
            </a:extLst>
          </p:cNvPr>
          <p:cNvSpPr txBox="1"/>
          <p:nvPr/>
        </p:nvSpPr>
        <p:spPr>
          <a:xfrm>
            <a:off x="162543" y="4684465"/>
            <a:ext cx="3067050" cy="276999"/>
          </a:xfrm>
          <a:prstGeom prst="rect">
            <a:avLst/>
          </a:prstGeom>
          <a:noFill/>
        </p:spPr>
        <p:txBody>
          <a:bodyPr wrap="square" rtlCol="0">
            <a:spAutoFit/>
          </a:bodyPr>
          <a:lstStyle/>
          <a:p>
            <a:r>
              <a:rPr lang="en-US" sz="1200" b="1">
                <a:latin typeface="Century Gothic" panose="020B0502020202020204" pitchFamily="34" charset="0"/>
              </a:rPr>
              <a:t>Source : CBK</a:t>
            </a:r>
          </a:p>
        </p:txBody>
      </p:sp>
    </p:spTree>
    <p:extLst>
      <p:ext uri="{BB962C8B-B14F-4D97-AF65-F5344CB8AC3E}">
        <p14:creationId xmlns:p14="http://schemas.microsoft.com/office/powerpoint/2010/main" val="899223866"/>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6849A-0D05-E855-24E5-4421562B86D9}"/>
            </a:ext>
          </a:extLst>
        </p:cNvPr>
        <p:cNvGrpSpPr/>
        <p:nvPr/>
      </p:nvGrpSpPr>
      <p:grpSpPr>
        <a:xfrm>
          <a:off x="0" y="0"/>
          <a:ext cx="0" cy="0"/>
          <a:chOff x="0" y="0"/>
          <a:chExt cx="0" cy="0"/>
        </a:xfrm>
      </p:grpSpPr>
      <p:sp>
        <p:nvSpPr>
          <p:cNvPr id="4" name="object 2">
            <a:extLst>
              <a:ext uri="{FF2B5EF4-FFF2-40B4-BE49-F238E27FC236}">
                <a16:creationId xmlns:a16="http://schemas.microsoft.com/office/drawing/2014/main" id="{031D398F-8707-1F32-EF33-A200DD44CB2D}"/>
              </a:ext>
            </a:extLst>
          </p:cNvPr>
          <p:cNvSpPr txBox="1"/>
          <p:nvPr/>
        </p:nvSpPr>
        <p:spPr>
          <a:xfrm>
            <a:off x="120152" y="14749"/>
            <a:ext cx="8483847" cy="212879"/>
          </a:xfrm>
          <a:prstGeom prst="rect">
            <a:avLst/>
          </a:prstGeom>
        </p:spPr>
        <p:txBody>
          <a:bodyPr vert="horz" wrap="square" lIns="0" tIns="12700" rIns="0" bIns="0" rtlCol="0">
            <a:spAutoFit/>
          </a:bodyPr>
          <a:lstStyle/>
          <a:p>
            <a:pPr marL="12700" algn="ctr">
              <a:lnSpc>
                <a:spcPct val="100000"/>
              </a:lnSpc>
              <a:spcBef>
                <a:spcPts val="100"/>
              </a:spcBef>
            </a:pPr>
            <a:r>
              <a:rPr lang="en-US" sz="1300" b="1" dirty="0">
                <a:solidFill>
                  <a:schemeClr val="tx1"/>
                </a:solidFill>
                <a:latin typeface="Century Gothic" panose="020B0502020202020204" pitchFamily="34" charset="0"/>
                <a:cs typeface="Century Gothic"/>
              </a:rPr>
              <a:t>  Proportion of men and women at each stage of mobile money user journey in 2024, by country</a:t>
            </a:r>
          </a:p>
        </p:txBody>
      </p:sp>
      <p:pic>
        <p:nvPicPr>
          <p:cNvPr id="5" name="Picture 4">
            <a:extLst>
              <a:ext uri="{FF2B5EF4-FFF2-40B4-BE49-F238E27FC236}">
                <a16:creationId xmlns:a16="http://schemas.microsoft.com/office/drawing/2014/main" id="{26BFFF27-0838-EAB6-79DB-73D28AC750F2}"/>
              </a:ext>
            </a:extLst>
          </p:cNvPr>
          <p:cNvPicPr>
            <a:picLocks noChangeAspect="1"/>
          </p:cNvPicPr>
          <p:nvPr/>
        </p:nvPicPr>
        <p:blipFill>
          <a:blip r:embed="rId3"/>
          <a:stretch>
            <a:fillRect/>
          </a:stretch>
        </p:blipFill>
        <p:spPr>
          <a:xfrm>
            <a:off x="8680953" y="-18862"/>
            <a:ext cx="463047" cy="366942"/>
          </a:xfrm>
          <a:prstGeom prst="rect">
            <a:avLst/>
          </a:prstGeom>
        </p:spPr>
      </p:pic>
      <p:sp>
        <p:nvSpPr>
          <p:cNvPr id="38" name="Title 10">
            <a:extLst>
              <a:ext uri="{FF2B5EF4-FFF2-40B4-BE49-F238E27FC236}">
                <a16:creationId xmlns:a16="http://schemas.microsoft.com/office/drawing/2014/main" id="{583284B9-6053-833B-2A21-95199E9BEED6}"/>
              </a:ext>
            </a:extLst>
          </p:cNvPr>
          <p:cNvSpPr txBox="1">
            <a:spLocks/>
          </p:cNvSpPr>
          <p:nvPr/>
        </p:nvSpPr>
        <p:spPr>
          <a:xfrm>
            <a:off x="-1" y="-28789"/>
            <a:ext cx="54000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b="1" dirty="0">
                <a:solidFill>
                  <a:schemeClr val="tx1"/>
                </a:solidFill>
                <a:latin typeface="Century Gothic" panose="020B0502020202020204" pitchFamily="34" charset="0"/>
              </a:rPr>
              <a:t>21.</a:t>
            </a:r>
          </a:p>
        </p:txBody>
      </p:sp>
      <p:graphicFrame>
        <p:nvGraphicFramePr>
          <p:cNvPr id="7" name="Table 6">
            <a:extLst>
              <a:ext uri="{FF2B5EF4-FFF2-40B4-BE49-F238E27FC236}">
                <a16:creationId xmlns:a16="http://schemas.microsoft.com/office/drawing/2014/main" id="{6A8FF1D9-AD5D-6FE3-C5D5-99BF46B85277}"/>
              </a:ext>
            </a:extLst>
          </p:cNvPr>
          <p:cNvGraphicFramePr>
            <a:graphicFrameLocks noGrp="1"/>
          </p:cNvGraphicFramePr>
          <p:nvPr>
            <p:extLst>
              <p:ext uri="{D42A27DB-BD31-4B8C-83A1-F6EECF244321}">
                <p14:modId xmlns:p14="http://schemas.microsoft.com/office/powerpoint/2010/main" val="1287918211"/>
              </p:ext>
            </p:extLst>
          </p:nvPr>
        </p:nvGraphicFramePr>
        <p:xfrm>
          <a:off x="214746" y="537143"/>
          <a:ext cx="6650182" cy="4291057"/>
        </p:xfrm>
        <a:graphic>
          <a:graphicData uri="http://schemas.openxmlformats.org/drawingml/2006/table">
            <a:tbl>
              <a:tblPr/>
              <a:tblGrid>
                <a:gridCol w="714728">
                  <a:extLst>
                    <a:ext uri="{9D8B030D-6E8A-4147-A177-3AD203B41FA5}">
                      <a16:colId xmlns:a16="http://schemas.microsoft.com/office/drawing/2014/main" val="4099843290"/>
                    </a:ext>
                  </a:extLst>
                </a:gridCol>
                <a:gridCol w="737822">
                  <a:extLst>
                    <a:ext uri="{9D8B030D-6E8A-4147-A177-3AD203B41FA5}">
                      <a16:colId xmlns:a16="http://schemas.microsoft.com/office/drawing/2014/main" val="3373352738"/>
                    </a:ext>
                  </a:extLst>
                </a:gridCol>
                <a:gridCol w="622799">
                  <a:extLst>
                    <a:ext uri="{9D8B030D-6E8A-4147-A177-3AD203B41FA5}">
                      <a16:colId xmlns:a16="http://schemas.microsoft.com/office/drawing/2014/main" val="1098247174"/>
                    </a:ext>
                  </a:extLst>
                </a:gridCol>
                <a:gridCol w="946515">
                  <a:extLst>
                    <a:ext uri="{9D8B030D-6E8A-4147-A177-3AD203B41FA5}">
                      <a16:colId xmlns:a16="http://schemas.microsoft.com/office/drawing/2014/main" val="4022011371"/>
                    </a:ext>
                  </a:extLst>
                </a:gridCol>
                <a:gridCol w="1281742">
                  <a:extLst>
                    <a:ext uri="{9D8B030D-6E8A-4147-A177-3AD203B41FA5}">
                      <a16:colId xmlns:a16="http://schemas.microsoft.com/office/drawing/2014/main" val="782218467"/>
                    </a:ext>
                  </a:extLst>
                </a:gridCol>
                <a:gridCol w="1183148">
                  <a:extLst>
                    <a:ext uri="{9D8B030D-6E8A-4147-A177-3AD203B41FA5}">
                      <a16:colId xmlns:a16="http://schemas.microsoft.com/office/drawing/2014/main" val="617789627"/>
                    </a:ext>
                  </a:extLst>
                </a:gridCol>
                <a:gridCol w="1163428">
                  <a:extLst>
                    <a:ext uri="{9D8B030D-6E8A-4147-A177-3AD203B41FA5}">
                      <a16:colId xmlns:a16="http://schemas.microsoft.com/office/drawing/2014/main" val="3241555848"/>
                    </a:ext>
                  </a:extLst>
                </a:gridCol>
              </a:tblGrid>
              <a:tr h="439635">
                <a:tc>
                  <a:txBody>
                    <a:bodyPr/>
                    <a:lstStyle/>
                    <a:p>
                      <a:pPr algn="l" fontAlgn="t"/>
                      <a:r>
                        <a:rPr lang="en-US" sz="900" b="1" i="0" u="none" strike="noStrike">
                          <a:solidFill>
                            <a:srgbClr val="000000"/>
                          </a:solidFill>
                          <a:effectLst/>
                          <a:latin typeface="Century Gothic" panose="020B0502020202020204" pitchFamily="34" charset="0"/>
                        </a:rPr>
                        <a:t>Countries</a:t>
                      </a:r>
                    </a:p>
                  </a:txBody>
                  <a:tcPr marL="3816" marR="3816" marT="38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Gender</a:t>
                      </a:r>
                    </a:p>
                  </a:txBody>
                  <a:tcPr marL="3816" marR="3816" marT="381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Mobile  ownership</a:t>
                      </a:r>
                    </a:p>
                  </a:txBody>
                  <a:tcPr marL="3816" marR="3816" marT="381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Mobile money awareness</a:t>
                      </a:r>
                    </a:p>
                  </a:txBody>
                  <a:tcPr marL="3816" marR="3816" marT="381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Mobile money account ownership</a:t>
                      </a:r>
                    </a:p>
                  </a:txBody>
                  <a:tcPr marL="3816" marR="3816" marT="381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Used mobile money in the last 90 days</a:t>
                      </a:r>
                    </a:p>
                  </a:txBody>
                  <a:tcPr marL="3816" marR="3816" marT="381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tc>
                  <a:txBody>
                    <a:bodyPr/>
                    <a:lstStyle/>
                    <a:p>
                      <a:pPr algn="l" fontAlgn="t"/>
                      <a:r>
                        <a:rPr lang="en-US" sz="900" b="1" i="0" u="none" strike="noStrike">
                          <a:solidFill>
                            <a:srgbClr val="000000"/>
                          </a:solidFill>
                          <a:effectLst/>
                          <a:latin typeface="Century Gothic" panose="020B0502020202020204" pitchFamily="34" charset="0"/>
                        </a:rPr>
                        <a:t>Used mobile money in the last 30 days</a:t>
                      </a:r>
                    </a:p>
                  </a:txBody>
                  <a:tcPr marL="3816" marR="3816" marT="381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E6F5"/>
                    </a:solidFill>
                  </a:tcPr>
                </a:tc>
                <a:extLst>
                  <a:ext uri="{0D108BD9-81ED-4DB2-BD59-A6C34878D82A}">
                    <a16:rowId xmlns:a16="http://schemas.microsoft.com/office/drawing/2014/main" val="3983204943"/>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Egypt</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4%</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1058446"/>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972872"/>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Ethiopi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7%</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7405573"/>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5451309"/>
                  </a:ext>
                </a:extLst>
              </a:tr>
              <a:tr h="207104">
                <a:tc rowSpan="2">
                  <a:txBody>
                    <a:bodyPr/>
                    <a:lstStyle/>
                    <a:p>
                      <a:pPr algn="l" fontAlgn="ctr"/>
                      <a:r>
                        <a:rPr lang="en-US" sz="900" b="1" i="0" u="none" strike="noStrike">
                          <a:solidFill>
                            <a:srgbClr val="EE0000"/>
                          </a:solidFill>
                          <a:effectLst/>
                          <a:latin typeface="Century Gothic" panose="020B0502020202020204" pitchFamily="34" charset="0"/>
                        </a:rPr>
                        <a:t>Keny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1" i="0" u="none" strike="noStrike">
                          <a:solidFill>
                            <a:srgbClr val="FF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1" i="0" u="none" strike="noStrike">
                          <a:solidFill>
                            <a:srgbClr val="FF0000"/>
                          </a:solidFill>
                          <a:effectLst/>
                          <a:latin typeface="Century Gothic" panose="020B0502020202020204" pitchFamily="34" charset="0"/>
                        </a:rPr>
                        <a:t>9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399893380"/>
                  </a:ext>
                </a:extLst>
              </a:tr>
              <a:tr h="207104">
                <a:tc vMerge="1">
                  <a:txBody>
                    <a:bodyPr/>
                    <a:lstStyle/>
                    <a:p>
                      <a:endParaRPr lang="en-US"/>
                    </a:p>
                  </a:txBody>
                  <a:tcPr/>
                </a:tc>
                <a:tc>
                  <a:txBody>
                    <a:bodyPr/>
                    <a:lstStyle/>
                    <a:p>
                      <a:pPr algn="l" fontAlgn="b"/>
                      <a:r>
                        <a:rPr lang="en-US" sz="900" b="1" i="0" u="none" strike="noStrike">
                          <a:solidFill>
                            <a:srgbClr val="FF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1" i="0" u="none" strike="noStrike">
                          <a:solidFill>
                            <a:srgbClr val="FF00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1" i="0" u="none" strike="noStrike">
                          <a:solidFill>
                            <a:srgbClr val="FF0000"/>
                          </a:solidFill>
                          <a:effectLst/>
                          <a:latin typeface="Century Gothic" panose="020B0502020202020204" pitchFamily="34" charset="0"/>
                        </a:rPr>
                        <a:t>89%</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535184"/>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Nigeri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4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4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9%</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1581606"/>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0%</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6804613"/>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Senegal</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10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5832558"/>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7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5778429"/>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Tanzani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6%</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5168526"/>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6100"/>
                          </a:solidFill>
                          <a:effectLst/>
                          <a:latin typeface="Century Gothic" panose="020B0502020202020204" pitchFamily="34" charset="0"/>
                        </a:rPr>
                        <a:t>9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2%</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1247670"/>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Ugand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9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8%</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082827"/>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1127617"/>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Bangladesh</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46%</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222238"/>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8%</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1162563"/>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Indi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4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3%</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630811"/>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3429477"/>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Indonesia</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5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6%</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5846296"/>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16%</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8514458"/>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Pakistan</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6100"/>
                          </a:solidFill>
                          <a:effectLst/>
                          <a:latin typeface="Century Gothic" panose="020B0502020202020204" pitchFamily="34" charset="0"/>
                        </a:rPr>
                        <a:t>9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900" b="0" i="0" u="none" strike="noStrike">
                          <a:solidFill>
                            <a:srgbClr val="000000"/>
                          </a:solidFill>
                          <a:effectLst/>
                          <a:latin typeface="Century Gothic" panose="020B0502020202020204" pitchFamily="34" charset="0"/>
                        </a:rPr>
                        <a:t>86%</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4%</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1242147"/>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5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9%</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6%</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1994441"/>
                  </a:ext>
                </a:extLst>
              </a:tr>
              <a:tr h="156237">
                <a:tc rowSpan="2">
                  <a:txBody>
                    <a:bodyPr/>
                    <a:lstStyle/>
                    <a:p>
                      <a:pPr algn="l" fontAlgn="ctr"/>
                      <a:r>
                        <a:rPr lang="en-US" sz="900" b="1" i="0" u="none" strike="noStrike">
                          <a:solidFill>
                            <a:srgbClr val="FFFFFF"/>
                          </a:solidFill>
                          <a:effectLst/>
                          <a:latin typeface="Century Gothic" panose="020B0502020202020204" pitchFamily="34" charset="0"/>
                        </a:rPr>
                        <a:t>Philippines</a:t>
                      </a:r>
                    </a:p>
                  </a:txBody>
                  <a:tcPr marL="3816" marR="3816" marT="38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l" fontAlgn="b"/>
                      <a:r>
                        <a:rPr lang="en-US" sz="900" b="0" i="0" u="none" strike="noStrike">
                          <a:solidFill>
                            <a:srgbClr val="000000"/>
                          </a:solidFill>
                          <a:effectLst/>
                          <a:latin typeface="Century Gothic" panose="020B0502020202020204" pitchFamily="34" charset="0"/>
                        </a:rPr>
                        <a:t>Male </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84%</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5%</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2%</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29%</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1077051"/>
                  </a:ext>
                </a:extLst>
              </a:tr>
              <a:tr h="156237">
                <a:tc vMerge="1">
                  <a:txBody>
                    <a:bodyPr/>
                    <a:lstStyle/>
                    <a:p>
                      <a:endParaRPr lang="en-US"/>
                    </a:p>
                  </a:txBody>
                  <a:tcPr/>
                </a:tc>
                <a:tc>
                  <a:txBody>
                    <a:bodyPr/>
                    <a:lstStyle/>
                    <a:p>
                      <a:pPr algn="l" fontAlgn="b"/>
                      <a:r>
                        <a:rPr lang="en-US" sz="900" b="0" i="0" u="none" strike="noStrike">
                          <a:solidFill>
                            <a:srgbClr val="000000"/>
                          </a:solidFill>
                          <a:effectLst/>
                          <a:latin typeface="Century Gothic" panose="020B0502020202020204" pitchFamily="34" charset="0"/>
                        </a:rPr>
                        <a:t>Female</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73%</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90%</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41%</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Century Gothic" panose="020B0502020202020204" pitchFamily="34" charset="0"/>
                        </a:rPr>
                        <a:t>38%</a:t>
                      </a:r>
                    </a:p>
                  </a:txBody>
                  <a:tcPr marL="3816" marR="3816" marT="3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dirty="0">
                          <a:solidFill>
                            <a:srgbClr val="000000"/>
                          </a:solidFill>
                          <a:effectLst/>
                          <a:latin typeface="Century Gothic" panose="020B0502020202020204" pitchFamily="34" charset="0"/>
                        </a:rPr>
                        <a:t>35%</a:t>
                      </a:r>
                    </a:p>
                  </a:txBody>
                  <a:tcPr marL="3816" marR="3816" marT="38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7118272"/>
                  </a:ext>
                </a:extLst>
              </a:tr>
            </a:tbl>
          </a:graphicData>
        </a:graphic>
      </p:graphicFrame>
      <p:sp>
        <p:nvSpPr>
          <p:cNvPr id="8" name="Rectangle: Beveled 7">
            <a:extLst>
              <a:ext uri="{FF2B5EF4-FFF2-40B4-BE49-F238E27FC236}">
                <a16:creationId xmlns:a16="http://schemas.microsoft.com/office/drawing/2014/main" id="{6C44DAEE-4E7F-1BCE-6CE6-4B372EFFDAF8}"/>
              </a:ext>
            </a:extLst>
          </p:cNvPr>
          <p:cNvSpPr/>
          <p:nvPr/>
        </p:nvSpPr>
        <p:spPr>
          <a:xfrm>
            <a:off x="7052629" y="498187"/>
            <a:ext cx="1859847" cy="4499760"/>
          </a:xfrm>
          <a:prstGeom prst="bevel">
            <a:avLst/>
          </a:prstGeom>
          <a:solidFill>
            <a:schemeClr val="accent5"/>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Century Gothic" panose="020B0502020202020204" pitchFamily="34" charset="0"/>
              </a:rPr>
              <a:t>Overall, Kenya has the highest percentage of mobile money accounts actively used by both genders in the past 30 and 90 days, highlighting strong adoption of mobile money services</a:t>
            </a:r>
          </a:p>
        </p:txBody>
      </p:sp>
      <p:sp>
        <p:nvSpPr>
          <p:cNvPr id="9" name="TextBox 8">
            <a:extLst>
              <a:ext uri="{FF2B5EF4-FFF2-40B4-BE49-F238E27FC236}">
                <a16:creationId xmlns:a16="http://schemas.microsoft.com/office/drawing/2014/main" id="{665B96E5-2B26-201A-8F7F-F9CF05FDF232}"/>
              </a:ext>
            </a:extLst>
          </p:cNvPr>
          <p:cNvSpPr txBox="1"/>
          <p:nvPr/>
        </p:nvSpPr>
        <p:spPr>
          <a:xfrm>
            <a:off x="120152" y="4882531"/>
            <a:ext cx="4192205" cy="230832"/>
          </a:xfrm>
          <a:prstGeom prst="rect">
            <a:avLst/>
          </a:prstGeom>
          <a:noFill/>
        </p:spPr>
        <p:txBody>
          <a:bodyPr wrap="square" rtlCol="0">
            <a:spAutoFit/>
          </a:bodyPr>
          <a:lstStyle/>
          <a:p>
            <a:r>
              <a:rPr lang="en-US" sz="900" i="1">
                <a:latin typeface="Century Gothic" panose="020B0502020202020204" pitchFamily="34" charset="0"/>
              </a:rPr>
              <a:t>Source : 2024 GSMA Consumer Survey </a:t>
            </a:r>
          </a:p>
        </p:txBody>
      </p:sp>
      <p:cxnSp>
        <p:nvCxnSpPr>
          <p:cNvPr id="2" name="Straight Connector 1">
            <a:extLst>
              <a:ext uri="{FF2B5EF4-FFF2-40B4-BE49-F238E27FC236}">
                <a16:creationId xmlns:a16="http://schemas.microsoft.com/office/drawing/2014/main" id="{7336EACA-85B8-FAB7-140B-2DEFA14D7BA1}"/>
              </a:ext>
            </a:extLst>
          </p:cNvPr>
          <p:cNvCxnSpPr>
            <a:cxnSpLocks/>
          </p:cNvCxnSpPr>
          <p:nvPr/>
        </p:nvCxnSpPr>
        <p:spPr>
          <a:xfrm>
            <a:off x="-15874" y="36183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463701715"/>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87161-074B-45B6-87A3-AEFA7F91FFD8}"/>
              </a:ext>
            </a:extLst>
          </p:cNvPr>
          <p:cNvSpPr>
            <a:spLocks noGrp="1"/>
          </p:cNvSpPr>
          <p:nvPr>
            <p:ph type="title"/>
          </p:nvPr>
        </p:nvSpPr>
        <p:spPr>
          <a:xfrm>
            <a:off x="648393" y="71957"/>
            <a:ext cx="7306886" cy="341632"/>
          </a:xfr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a:lstStyle/>
          <a:p>
            <a:pPr marL="8637">
              <a:spcBef>
                <a:spcPts val="68"/>
              </a:spcBef>
            </a:pPr>
            <a:r>
              <a:rPr lang="en-US" sz="1800">
                <a:latin typeface="Century Gothic" panose="020B0502020202020204" pitchFamily="34" charset="0"/>
              </a:rPr>
              <a:t>How Money Enters the Mobile Money Ecosystem</a:t>
            </a:r>
            <a:endParaRPr lang="en-GB" sz="1800">
              <a:latin typeface="Century Gothic" panose="020B0502020202020204" pitchFamily="34" charset="0"/>
            </a:endParaRPr>
          </a:p>
        </p:txBody>
      </p:sp>
      <p:sp>
        <p:nvSpPr>
          <p:cNvPr id="5" name="Title 9">
            <a:extLst>
              <a:ext uri="{FF2B5EF4-FFF2-40B4-BE49-F238E27FC236}">
                <a16:creationId xmlns:a16="http://schemas.microsoft.com/office/drawing/2014/main" id="{44C7E133-A729-4EC1-BCA1-BAD89C4BDAE7}"/>
              </a:ext>
            </a:extLst>
          </p:cNvPr>
          <p:cNvSpPr txBox="1">
            <a:spLocks/>
          </p:cNvSpPr>
          <p:nvPr/>
        </p:nvSpPr>
        <p:spPr>
          <a:xfrm>
            <a:off x="19625" y="71957"/>
            <a:ext cx="526234"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2.</a:t>
            </a:r>
          </a:p>
        </p:txBody>
      </p:sp>
      <p:pic>
        <p:nvPicPr>
          <p:cNvPr id="4" name="Picture 3">
            <a:extLst>
              <a:ext uri="{FF2B5EF4-FFF2-40B4-BE49-F238E27FC236}">
                <a16:creationId xmlns:a16="http://schemas.microsoft.com/office/drawing/2014/main" id="{760BADC6-C98B-8692-6ECF-6FEA1189A993}"/>
              </a:ext>
            </a:extLst>
          </p:cNvPr>
          <p:cNvPicPr>
            <a:picLocks noChangeAspect="1"/>
          </p:cNvPicPr>
          <p:nvPr/>
        </p:nvPicPr>
        <p:blipFill>
          <a:blip r:embed="rId3"/>
          <a:stretch>
            <a:fillRect/>
          </a:stretch>
        </p:blipFill>
        <p:spPr>
          <a:xfrm>
            <a:off x="8598141" y="-59998"/>
            <a:ext cx="526234" cy="414915"/>
          </a:xfrm>
          <a:prstGeom prst="rect">
            <a:avLst/>
          </a:prstGeom>
        </p:spPr>
      </p:pic>
      <p:graphicFrame>
        <p:nvGraphicFramePr>
          <p:cNvPr id="8" name="Chart 7">
            <a:extLst>
              <a:ext uri="{FF2B5EF4-FFF2-40B4-BE49-F238E27FC236}">
                <a16:creationId xmlns:a16="http://schemas.microsoft.com/office/drawing/2014/main" id="{AC21C3AA-8F55-FE6A-7FC9-7844C49DCEF3}"/>
              </a:ext>
            </a:extLst>
          </p:cNvPr>
          <p:cNvGraphicFramePr>
            <a:graphicFrameLocks/>
          </p:cNvGraphicFramePr>
          <p:nvPr>
            <p:extLst>
              <p:ext uri="{D42A27DB-BD31-4B8C-83A1-F6EECF244321}">
                <p14:modId xmlns:p14="http://schemas.microsoft.com/office/powerpoint/2010/main" val="1723645893"/>
              </p:ext>
            </p:extLst>
          </p:nvPr>
        </p:nvGraphicFramePr>
        <p:xfrm>
          <a:off x="111806" y="1156704"/>
          <a:ext cx="4198099" cy="30385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95FF2DDD-D243-69F6-D01D-B9A6BDD6DC46}"/>
              </a:ext>
            </a:extLst>
          </p:cNvPr>
          <p:cNvGraphicFramePr>
            <a:graphicFrameLocks/>
          </p:cNvGraphicFramePr>
          <p:nvPr>
            <p:extLst>
              <p:ext uri="{D42A27DB-BD31-4B8C-83A1-F6EECF244321}">
                <p14:modId xmlns:p14="http://schemas.microsoft.com/office/powerpoint/2010/main" val="3440135293"/>
              </p:ext>
            </p:extLst>
          </p:nvPr>
        </p:nvGraphicFramePr>
        <p:xfrm>
          <a:off x="4572000" y="1214893"/>
          <a:ext cx="4198099" cy="2980393"/>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86697A5B-3A84-D866-D001-3C044EBC39EE}"/>
              </a:ext>
            </a:extLst>
          </p:cNvPr>
          <p:cNvSpPr txBox="1"/>
          <p:nvPr/>
        </p:nvSpPr>
        <p:spPr>
          <a:xfrm>
            <a:off x="160469" y="4270437"/>
            <a:ext cx="8700789" cy="707886"/>
          </a:xfrm>
          <a:prstGeom prst="rect">
            <a:avLst/>
          </a:prstGeom>
          <a:solidFill>
            <a:schemeClr val="tx1">
              <a:lumMod val="10000"/>
              <a:lumOff val="90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000" i="1">
                <a:solidFill>
                  <a:schemeClr val="tx1"/>
                </a:solidFill>
                <a:latin typeface="Century Gothic" panose="020B0502020202020204" pitchFamily="34" charset="0"/>
              </a:rPr>
              <a:t>Mobile agents in Kenya play a critical role in promoting financial inclusion by providing cash-in and cash-out services, especially in remote and underserved areas. With 381,116 active agents across the country, they bridge the gap between digital money and cash. The continued increase in cash-in volumes means more money stays within the mobile money ecosystem, allowing users to perform a variety of transactions, such as paying merchants and sending money to other individuals.</a:t>
            </a:r>
          </a:p>
        </p:txBody>
      </p:sp>
      <p:sp>
        <p:nvSpPr>
          <p:cNvPr id="3" name="TextBox 2">
            <a:extLst>
              <a:ext uri="{FF2B5EF4-FFF2-40B4-BE49-F238E27FC236}">
                <a16:creationId xmlns:a16="http://schemas.microsoft.com/office/drawing/2014/main" id="{6FBB8946-AFEF-04E2-DCF7-1EB518D4F481}"/>
              </a:ext>
            </a:extLst>
          </p:cNvPr>
          <p:cNvSpPr txBox="1"/>
          <p:nvPr/>
        </p:nvSpPr>
        <p:spPr>
          <a:xfrm>
            <a:off x="111806" y="601938"/>
            <a:ext cx="3822885" cy="461665"/>
          </a:xfrm>
          <a:prstGeom prst="rect">
            <a:avLst/>
          </a:prstGeom>
          <a:noFill/>
        </p:spPr>
        <p:txBody>
          <a:bodyPr wrap="square" rtlCol="0">
            <a:spAutoFit/>
          </a:bodyPr>
          <a:lstStyle/>
          <a:p>
            <a:r>
              <a:rPr lang="en-US" sz="1200" b="1" i="1"/>
              <a:t>(a) Through Mobile Agents Cash in (deposits) and Cash out (withdrawals)</a:t>
            </a:r>
          </a:p>
        </p:txBody>
      </p:sp>
      <p:sp>
        <p:nvSpPr>
          <p:cNvPr id="7" name="Speech Bubble: Rectangle 6">
            <a:extLst>
              <a:ext uri="{FF2B5EF4-FFF2-40B4-BE49-F238E27FC236}">
                <a16:creationId xmlns:a16="http://schemas.microsoft.com/office/drawing/2014/main" id="{B35B5AF9-FEC0-B11C-B054-5DE6F0B8A695}"/>
              </a:ext>
            </a:extLst>
          </p:cNvPr>
          <p:cNvSpPr/>
          <p:nvPr/>
        </p:nvSpPr>
        <p:spPr>
          <a:xfrm>
            <a:off x="4194467" y="499885"/>
            <a:ext cx="3418606" cy="563718"/>
          </a:xfrm>
          <a:prstGeom prst="wedgeRectCallout">
            <a:avLst>
              <a:gd name="adj1" fmla="val -19942"/>
              <a:gd name="adj2" fmla="val 87999"/>
            </a:avLst>
          </a:prstGeom>
          <a:solidFill>
            <a:schemeClr val="accent5"/>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50" b="1">
                <a:solidFill>
                  <a:schemeClr val="tx1"/>
                </a:solidFill>
                <a:latin typeface="Century Gothic" panose="020B0502020202020204" pitchFamily="34" charset="0"/>
              </a:rPr>
              <a:t>The gap between cash-in and cash-out transactions continues to widen, indicating that more funds are remaining within the mobile money ecosystem rather than being withdrawn as physical cash</a:t>
            </a:r>
          </a:p>
        </p:txBody>
      </p:sp>
      <p:sp>
        <p:nvSpPr>
          <p:cNvPr id="6" name="TextBox 5">
            <a:extLst>
              <a:ext uri="{FF2B5EF4-FFF2-40B4-BE49-F238E27FC236}">
                <a16:creationId xmlns:a16="http://schemas.microsoft.com/office/drawing/2014/main" id="{C0C4CEB6-6384-C25D-CD48-CC6F2D23D5FD}"/>
              </a:ext>
            </a:extLst>
          </p:cNvPr>
          <p:cNvSpPr txBox="1"/>
          <p:nvPr/>
        </p:nvSpPr>
        <p:spPr>
          <a:xfrm>
            <a:off x="126385" y="4912668"/>
            <a:ext cx="3067050" cy="230832"/>
          </a:xfrm>
          <a:prstGeom prst="rect">
            <a:avLst/>
          </a:prstGeom>
          <a:noFill/>
        </p:spPr>
        <p:txBody>
          <a:bodyPr wrap="square" rtlCol="0">
            <a:spAutoFit/>
          </a:bodyPr>
          <a:lstStyle/>
          <a:p>
            <a:r>
              <a:rPr lang="en-US" sz="900" b="1" dirty="0">
                <a:latin typeface="Century Gothic" panose="020B0502020202020204" pitchFamily="34" charset="0"/>
              </a:rPr>
              <a:t>Source : CBK</a:t>
            </a:r>
          </a:p>
        </p:txBody>
      </p:sp>
    </p:spTree>
    <p:extLst>
      <p:ext uri="{BB962C8B-B14F-4D97-AF65-F5344CB8AC3E}">
        <p14:creationId xmlns:p14="http://schemas.microsoft.com/office/powerpoint/2010/main" val="3898838386"/>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90000"/>
            <a:alpha val="50000"/>
          </a:schemeClr>
        </a:solidFill>
        <a:effectLst/>
      </p:bgPr>
    </p:bg>
    <p:spTree>
      <p:nvGrpSpPr>
        <p:cNvPr id="1" name="">
          <a:extLst>
            <a:ext uri="{FF2B5EF4-FFF2-40B4-BE49-F238E27FC236}">
              <a16:creationId xmlns:a16="http://schemas.microsoft.com/office/drawing/2014/main" id="{B29939A6-A0B4-B64D-AA77-9E7B18E36337}"/>
            </a:ext>
          </a:extLst>
        </p:cNvPr>
        <p:cNvGrpSpPr/>
        <p:nvPr/>
      </p:nvGrpSpPr>
      <p:grpSpPr>
        <a:xfrm>
          <a:off x="0" y="0"/>
          <a:ext cx="0" cy="0"/>
          <a:chOff x="0" y="0"/>
          <a:chExt cx="0" cy="0"/>
        </a:xfrm>
      </p:grpSpPr>
      <p:sp>
        <p:nvSpPr>
          <p:cNvPr id="5" name="Title 9">
            <a:extLst>
              <a:ext uri="{FF2B5EF4-FFF2-40B4-BE49-F238E27FC236}">
                <a16:creationId xmlns:a16="http://schemas.microsoft.com/office/drawing/2014/main" id="{72CEE181-52FB-8AE8-D49E-B96059770059}"/>
              </a:ext>
            </a:extLst>
          </p:cNvPr>
          <p:cNvSpPr txBox="1">
            <a:spLocks/>
          </p:cNvSpPr>
          <p:nvPr/>
        </p:nvSpPr>
        <p:spPr>
          <a:xfrm>
            <a:off x="-48200" y="95508"/>
            <a:ext cx="530097"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3.</a:t>
            </a:r>
          </a:p>
        </p:txBody>
      </p:sp>
      <p:pic>
        <p:nvPicPr>
          <p:cNvPr id="4" name="Picture 3">
            <a:extLst>
              <a:ext uri="{FF2B5EF4-FFF2-40B4-BE49-F238E27FC236}">
                <a16:creationId xmlns:a16="http://schemas.microsoft.com/office/drawing/2014/main" id="{5D3512C6-0BB4-F7C7-98A2-171780F0BCFE}"/>
              </a:ext>
            </a:extLst>
          </p:cNvPr>
          <p:cNvPicPr>
            <a:picLocks noChangeAspect="1"/>
          </p:cNvPicPr>
          <p:nvPr/>
        </p:nvPicPr>
        <p:blipFill>
          <a:blip r:embed="rId3"/>
          <a:stretch>
            <a:fillRect/>
          </a:stretch>
        </p:blipFill>
        <p:spPr>
          <a:xfrm>
            <a:off x="8613903" y="-28855"/>
            <a:ext cx="530097" cy="417961"/>
          </a:xfrm>
          <a:prstGeom prst="rect">
            <a:avLst/>
          </a:prstGeom>
        </p:spPr>
      </p:pic>
      <p:graphicFrame>
        <p:nvGraphicFramePr>
          <p:cNvPr id="6" name="Chart 5">
            <a:extLst>
              <a:ext uri="{FF2B5EF4-FFF2-40B4-BE49-F238E27FC236}">
                <a16:creationId xmlns:a16="http://schemas.microsoft.com/office/drawing/2014/main" id="{90CCC32D-EF3E-C784-E0E5-6674138A4EF0}"/>
              </a:ext>
            </a:extLst>
          </p:cNvPr>
          <p:cNvGraphicFramePr>
            <a:graphicFrameLocks/>
          </p:cNvGraphicFramePr>
          <p:nvPr>
            <p:extLst>
              <p:ext uri="{D42A27DB-BD31-4B8C-83A1-F6EECF244321}">
                <p14:modId xmlns:p14="http://schemas.microsoft.com/office/powerpoint/2010/main" val="3271987117"/>
              </p:ext>
            </p:extLst>
          </p:nvPr>
        </p:nvGraphicFramePr>
        <p:xfrm>
          <a:off x="232637" y="934730"/>
          <a:ext cx="4134406" cy="2734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007367BA-5B5A-C1EC-8ED7-8178D23B7A16}"/>
              </a:ext>
            </a:extLst>
          </p:cNvPr>
          <p:cNvGraphicFramePr>
            <a:graphicFrameLocks/>
          </p:cNvGraphicFramePr>
          <p:nvPr>
            <p:extLst>
              <p:ext uri="{D42A27DB-BD31-4B8C-83A1-F6EECF244321}">
                <p14:modId xmlns:p14="http://schemas.microsoft.com/office/powerpoint/2010/main" val="3669322770"/>
              </p:ext>
            </p:extLst>
          </p:nvPr>
        </p:nvGraphicFramePr>
        <p:xfrm>
          <a:off x="4461777" y="934730"/>
          <a:ext cx="4433977" cy="2734836"/>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E3E30146-B00F-52CB-29B7-42131AE9DDBB}"/>
              </a:ext>
            </a:extLst>
          </p:cNvPr>
          <p:cNvSpPr txBox="1"/>
          <p:nvPr/>
        </p:nvSpPr>
        <p:spPr>
          <a:xfrm>
            <a:off x="163274" y="3833657"/>
            <a:ext cx="8732480" cy="1015663"/>
          </a:xfrm>
          <a:prstGeom prst="rect">
            <a:avLst/>
          </a:prstGeom>
          <a:solidFill>
            <a:schemeClr val="bg1"/>
          </a:solidFill>
        </p:spPr>
        <p:txBody>
          <a:bodyPr wrap="square" rtlCol="0">
            <a:spAutoFit/>
          </a:bodyPr>
          <a:lstStyle/>
          <a:p>
            <a:r>
              <a:rPr lang="en-US" sz="1200" i="1">
                <a:latin typeface="Century Gothic" panose="020B0502020202020204" pitchFamily="34" charset="0"/>
              </a:rPr>
              <a:t>Over the years transfer of money Bank account  to mobile money E-Wallet has continued to increase. The increase is driven by the convenience, speed, and accessibility of mobile money. As more people adopt digital financial services, they prefer transferring funds to mobile wallets for everyday transactions like paying bills, shopping, or sending money. Additionally, improved integration between banks and mobile platforms has made these transfers faster and easier.</a:t>
            </a:r>
          </a:p>
        </p:txBody>
      </p:sp>
      <p:sp>
        <p:nvSpPr>
          <p:cNvPr id="8" name="TextBox 7">
            <a:extLst>
              <a:ext uri="{FF2B5EF4-FFF2-40B4-BE49-F238E27FC236}">
                <a16:creationId xmlns:a16="http://schemas.microsoft.com/office/drawing/2014/main" id="{B16B47EE-8D78-5C51-3B30-12C8D21FF0F3}"/>
              </a:ext>
            </a:extLst>
          </p:cNvPr>
          <p:cNvSpPr txBox="1"/>
          <p:nvPr/>
        </p:nvSpPr>
        <p:spPr>
          <a:xfrm>
            <a:off x="376274" y="111556"/>
            <a:ext cx="8008970" cy="3231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sz="1500" b="1" i="1" dirty="0"/>
              <a:t>(b) Through Bank account to E-Wallet (Money in) and E wallet to bank (Money out)</a:t>
            </a:r>
          </a:p>
        </p:txBody>
      </p:sp>
      <p:sp>
        <p:nvSpPr>
          <p:cNvPr id="2" name="TextBox 1">
            <a:extLst>
              <a:ext uri="{FF2B5EF4-FFF2-40B4-BE49-F238E27FC236}">
                <a16:creationId xmlns:a16="http://schemas.microsoft.com/office/drawing/2014/main" id="{191D0CC8-7949-5C21-2597-58D6B84E8E8A}"/>
              </a:ext>
            </a:extLst>
          </p:cNvPr>
          <p:cNvSpPr txBox="1"/>
          <p:nvPr/>
        </p:nvSpPr>
        <p:spPr>
          <a:xfrm>
            <a:off x="244017" y="4871604"/>
            <a:ext cx="3067050" cy="276999"/>
          </a:xfrm>
          <a:prstGeom prst="rect">
            <a:avLst/>
          </a:prstGeom>
          <a:noFill/>
        </p:spPr>
        <p:txBody>
          <a:bodyPr wrap="square" rtlCol="0">
            <a:spAutoFit/>
          </a:bodyPr>
          <a:lstStyle/>
          <a:p>
            <a:r>
              <a:rPr lang="en-US" sz="1200" b="1">
                <a:latin typeface="Century Gothic" panose="020B0502020202020204" pitchFamily="34" charset="0"/>
              </a:rPr>
              <a:t>Source : CBK</a:t>
            </a:r>
          </a:p>
        </p:txBody>
      </p:sp>
    </p:spTree>
    <p:extLst>
      <p:ext uri="{BB962C8B-B14F-4D97-AF65-F5344CB8AC3E}">
        <p14:creationId xmlns:p14="http://schemas.microsoft.com/office/powerpoint/2010/main" val="3511044947"/>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72000"/>
          </a:schemeClr>
        </a:solidFill>
        <a:effectLst/>
      </p:bgPr>
    </p:bg>
    <p:spTree>
      <p:nvGrpSpPr>
        <p:cNvPr id="1" name="">
          <a:extLst>
            <a:ext uri="{FF2B5EF4-FFF2-40B4-BE49-F238E27FC236}">
              <a16:creationId xmlns:a16="http://schemas.microsoft.com/office/drawing/2014/main" id="{74D73C81-BE95-DC8A-E8C5-3CB2E6C91330}"/>
            </a:ext>
          </a:extLst>
        </p:cNvPr>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EF2E9C3F-07E0-43A9-83EF-F13509D33A42}"/>
              </a:ext>
            </a:extLst>
          </p:cNvPr>
          <p:cNvGraphicFramePr>
            <a:graphicFrameLocks/>
          </p:cNvGraphicFramePr>
          <p:nvPr>
            <p:extLst>
              <p:ext uri="{D42A27DB-BD31-4B8C-83A1-F6EECF244321}">
                <p14:modId xmlns:p14="http://schemas.microsoft.com/office/powerpoint/2010/main" val="1478591058"/>
              </p:ext>
            </p:extLst>
          </p:nvPr>
        </p:nvGraphicFramePr>
        <p:xfrm>
          <a:off x="4533948" y="1141765"/>
          <a:ext cx="4489526" cy="265314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17512DFD-E1F3-D794-F5C9-CD225557A8FD}"/>
              </a:ext>
            </a:extLst>
          </p:cNvPr>
          <p:cNvSpPr>
            <a:spLocks noGrp="1"/>
          </p:cNvSpPr>
          <p:nvPr>
            <p:ph type="title"/>
          </p:nvPr>
        </p:nvSpPr>
        <p:spPr>
          <a:xfrm>
            <a:off x="1101341" y="-13114"/>
            <a:ext cx="6601786" cy="318549"/>
          </a:xfrm>
        </p:spPr>
        <p:txBody>
          <a:bodyPr/>
          <a:lstStyle/>
          <a:p>
            <a:pPr marL="8637" algn="ctr">
              <a:spcBef>
                <a:spcPts val="68"/>
              </a:spcBef>
            </a:pPr>
            <a:r>
              <a:rPr lang="en-GB" sz="1800" dirty="0">
                <a:solidFill>
                  <a:schemeClr val="tx1"/>
                </a:solidFill>
                <a:latin typeface="Century Gothic" panose="020B0502020202020204" pitchFamily="34" charset="0"/>
              </a:rPr>
              <a:t>Other Retail Payments - (a) EFT and Cheques Transactions</a:t>
            </a:r>
          </a:p>
        </p:txBody>
      </p:sp>
      <p:sp>
        <p:nvSpPr>
          <p:cNvPr id="5" name="Title 9">
            <a:extLst>
              <a:ext uri="{FF2B5EF4-FFF2-40B4-BE49-F238E27FC236}">
                <a16:creationId xmlns:a16="http://schemas.microsoft.com/office/drawing/2014/main" id="{2300826B-DDF6-85D7-DC14-B8B418FD4A1E}"/>
              </a:ext>
            </a:extLst>
          </p:cNvPr>
          <p:cNvSpPr txBox="1">
            <a:spLocks/>
          </p:cNvSpPr>
          <p:nvPr/>
        </p:nvSpPr>
        <p:spPr>
          <a:xfrm>
            <a:off x="35257" y="7391"/>
            <a:ext cx="570738"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4.</a:t>
            </a:r>
          </a:p>
        </p:txBody>
      </p:sp>
      <p:pic>
        <p:nvPicPr>
          <p:cNvPr id="4" name="Picture 3">
            <a:extLst>
              <a:ext uri="{FF2B5EF4-FFF2-40B4-BE49-F238E27FC236}">
                <a16:creationId xmlns:a16="http://schemas.microsoft.com/office/drawing/2014/main" id="{A9497000-9834-3AB1-8C8C-430C398A8867}"/>
              </a:ext>
            </a:extLst>
          </p:cNvPr>
          <p:cNvPicPr>
            <a:picLocks noChangeAspect="1"/>
          </p:cNvPicPr>
          <p:nvPr/>
        </p:nvPicPr>
        <p:blipFill>
          <a:blip r:embed="rId4"/>
          <a:stretch>
            <a:fillRect/>
          </a:stretch>
        </p:blipFill>
        <p:spPr>
          <a:xfrm>
            <a:off x="8616992" y="-71335"/>
            <a:ext cx="535515" cy="422233"/>
          </a:xfrm>
          <a:prstGeom prst="rect">
            <a:avLst/>
          </a:prstGeom>
        </p:spPr>
      </p:pic>
      <p:sp>
        <p:nvSpPr>
          <p:cNvPr id="11" name="TextBox 10">
            <a:extLst>
              <a:ext uri="{FF2B5EF4-FFF2-40B4-BE49-F238E27FC236}">
                <a16:creationId xmlns:a16="http://schemas.microsoft.com/office/drawing/2014/main" id="{B6EC7AD2-A421-5E05-1A59-08DD3E6975C4}"/>
              </a:ext>
            </a:extLst>
          </p:cNvPr>
          <p:cNvSpPr txBox="1"/>
          <p:nvPr/>
        </p:nvSpPr>
        <p:spPr>
          <a:xfrm>
            <a:off x="116378" y="3904513"/>
            <a:ext cx="4281708" cy="938719"/>
          </a:xfrm>
          <a:prstGeom prst="rect">
            <a:avLst/>
          </a:prstGeom>
          <a:solidFill>
            <a:schemeClr val="bg1"/>
          </a:solidFill>
        </p:spPr>
        <p:txBody>
          <a:bodyPr wrap="square">
            <a:spAutoFit/>
          </a:bodyPr>
          <a:lstStyle/>
          <a:p>
            <a:pPr algn="ctr"/>
            <a:r>
              <a:rPr lang="en-US" sz="1200" b="1">
                <a:latin typeface="Century Gothic" panose="020B0502020202020204" pitchFamily="34" charset="0"/>
              </a:rPr>
              <a:t>EFT (Electronic Funds Transfer)</a:t>
            </a:r>
            <a:endParaRPr lang="en-US" sz="1200">
              <a:latin typeface="Century Gothic" panose="020B0502020202020204" pitchFamily="34" charset="0"/>
            </a:endParaRPr>
          </a:p>
          <a:p>
            <a:r>
              <a:rPr lang="en-US" sz="1000" i="1">
                <a:latin typeface="Century Gothic" panose="020B0502020202020204" pitchFamily="34" charset="0"/>
              </a:rPr>
              <a:t>Widely used for business-to-business and salary payments. EFT is preferred for large-value, less frequent transactions due to its security and traceability, making it significant in formal banking but less so for daily consumer spending</a:t>
            </a:r>
            <a:r>
              <a:rPr lang="en-US" sz="1100" i="1">
                <a:latin typeface="Century Gothic" panose="020B0502020202020204" pitchFamily="34" charset="0"/>
              </a:rPr>
              <a:t>.</a:t>
            </a:r>
          </a:p>
        </p:txBody>
      </p:sp>
      <p:sp>
        <p:nvSpPr>
          <p:cNvPr id="13" name="TextBox 12">
            <a:extLst>
              <a:ext uri="{FF2B5EF4-FFF2-40B4-BE49-F238E27FC236}">
                <a16:creationId xmlns:a16="http://schemas.microsoft.com/office/drawing/2014/main" id="{1854F58B-094B-9864-459D-B0EDA6BFBF63}"/>
              </a:ext>
            </a:extLst>
          </p:cNvPr>
          <p:cNvSpPr txBox="1"/>
          <p:nvPr/>
        </p:nvSpPr>
        <p:spPr>
          <a:xfrm>
            <a:off x="4533949" y="3904513"/>
            <a:ext cx="4493674" cy="946413"/>
          </a:xfrm>
          <a:prstGeom prst="rect">
            <a:avLst/>
          </a:prstGeom>
          <a:solidFill>
            <a:schemeClr val="bg1"/>
          </a:solidFill>
        </p:spPr>
        <p:txBody>
          <a:bodyPr wrap="square">
            <a:spAutoFit/>
          </a:bodyPr>
          <a:lstStyle/>
          <a:p>
            <a:pPr algn="ctr"/>
            <a:r>
              <a:rPr lang="en-US" sz="1200" b="1">
                <a:latin typeface="Century Gothic" panose="020B0502020202020204" pitchFamily="34" charset="0"/>
              </a:rPr>
              <a:t>Cheques</a:t>
            </a:r>
            <a:endParaRPr lang="en-US" sz="1200">
              <a:latin typeface="Century Gothic" panose="020B0502020202020204" pitchFamily="34" charset="0"/>
            </a:endParaRPr>
          </a:p>
          <a:p>
            <a:r>
              <a:rPr lang="en-US" sz="1050" i="1">
                <a:latin typeface="Century Gothic" panose="020B0502020202020204" pitchFamily="34" charset="0"/>
              </a:rPr>
              <a:t>Usage has declined significantly, as electronic payment methods gain prominence. Cheques are mostly used in corporate and government transactions but are increasingly being replaced by EFT and mobile payments</a:t>
            </a:r>
            <a:r>
              <a:rPr lang="en-US" sz="1200" i="1">
                <a:latin typeface="Century Gothic" panose="020B0502020202020204" pitchFamily="34" charset="0"/>
              </a:rPr>
              <a:t>.</a:t>
            </a:r>
          </a:p>
        </p:txBody>
      </p:sp>
      <p:graphicFrame>
        <p:nvGraphicFramePr>
          <p:cNvPr id="6" name="Chart 5">
            <a:extLst>
              <a:ext uri="{FF2B5EF4-FFF2-40B4-BE49-F238E27FC236}">
                <a16:creationId xmlns:a16="http://schemas.microsoft.com/office/drawing/2014/main" id="{1770F48F-5A6A-4BAA-8A70-AC0F6DDCC982}"/>
              </a:ext>
            </a:extLst>
          </p:cNvPr>
          <p:cNvGraphicFramePr>
            <a:graphicFrameLocks/>
          </p:cNvGraphicFramePr>
          <p:nvPr>
            <p:extLst>
              <p:ext uri="{D42A27DB-BD31-4B8C-83A1-F6EECF244321}">
                <p14:modId xmlns:p14="http://schemas.microsoft.com/office/powerpoint/2010/main" val="478192868"/>
              </p:ext>
            </p:extLst>
          </p:nvPr>
        </p:nvGraphicFramePr>
        <p:xfrm>
          <a:off x="120526" y="1141765"/>
          <a:ext cx="4281708" cy="2653146"/>
        </p:xfrm>
        <a:graphic>
          <a:graphicData uri="http://schemas.openxmlformats.org/drawingml/2006/chart">
            <c:chart xmlns:c="http://schemas.openxmlformats.org/drawingml/2006/chart" xmlns:r="http://schemas.openxmlformats.org/officeDocument/2006/relationships" r:id="rId5"/>
          </a:graphicData>
        </a:graphic>
      </p:graphicFrame>
      <p:sp>
        <p:nvSpPr>
          <p:cNvPr id="12" name="Speech Bubble: Rectangle 11">
            <a:extLst>
              <a:ext uri="{FF2B5EF4-FFF2-40B4-BE49-F238E27FC236}">
                <a16:creationId xmlns:a16="http://schemas.microsoft.com/office/drawing/2014/main" id="{DD180F31-1629-ABF7-E501-50201E9A815F}"/>
              </a:ext>
            </a:extLst>
          </p:cNvPr>
          <p:cNvSpPr/>
          <p:nvPr/>
        </p:nvSpPr>
        <p:spPr>
          <a:xfrm>
            <a:off x="1409702" y="576270"/>
            <a:ext cx="2403763" cy="499915"/>
          </a:xfrm>
          <a:prstGeom prst="wedgeRectCallout">
            <a:avLst>
              <a:gd name="adj1" fmla="val -15152"/>
              <a:gd name="adj2" fmla="val 85515"/>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a:solidFill>
                  <a:srgbClr val="FF0000"/>
                </a:solidFill>
                <a:latin typeface="Century Gothic" panose="020B0502020202020204" pitchFamily="34" charset="0"/>
              </a:rPr>
              <a:t>In the era of Instant Payments is EFT still relevant, should IP be mandated?</a:t>
            </a:r>
          </a:p>
        </p:txBody>
      </p:sp>
      <p:sp>
        <p:nvSpPr>
          <p:cNvPr id="14" name="Speech Bubble: Rectangle 13">
            <a:extLst>
              <a:ext uri="{FF2B5EF4-FFF2-40B4-BE49-F238E27FC236}">
                <a16:creationId xmlns:a16="http://schemas.microsoft.com/office/drawing/2014/main" id="{D286660D-469D-927D-3722-F617E2911940}"/>
              </a:ext>
            </a:extLst>
          </p:cNvPr>
          <p:cNvSpPr/>
          <p:nvPr/>
        </p:nvSpPr>
        <p:spPr>
          <a:xfrm>
            <a:off x="5479471" y="592935"/>
            <a:ext cx="2223656" cy="431559"/>
          </a:xfrm>
          <a:prstGeom prst="wedgeRectCallout">
            <a:avLst>
              <a:gd name="adj1" fmla="val -14817"/>
              <a:gd name="adj2" fmla="val 113559"/>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a:solidFill>
                  <a:srgbClr val="FF0000"/>
                </a:solidFill>
              </a:rPr>
              <a:t>Who Issues Cheques?</a:t>
            </a:r>
          </a:p>
          <a:p>
            <a:r>
              <a:rPr lang="en-US" sz="1000" b="1">
                <a:solidFill>
                  <a:srgbClr val="FF0000"/>
                </a:solidFill>
              </a:rPr>
              <a:t> What is the future of cheques?</a:t>
            </a:r>
          </a:p>
        </p:txBody>
      </p:sp>
      <p:sp>
        <p:nvSpPr>
          <p:cNvPr id="8" name="TextBox 7">
            <a:extLst>
              <a:ext uri="{FF2B5EF4-FFF2-40B4-BE49-F238E27FC236}">
                <a16:creationId xmlns:a16="http://schemas.microsoft.com/office/drawing/2014/main" id="{6BEC08BA-8454-A4B5-5253-50158660449F}"/>
              </a:ext>
            </a:extLst>
          </p:cNvPr>
          <p:cNvSpPr txBox="1"/>
          <p:nvPr/>
        </p:nvSpPr>
        <p:spPr>
          <a:xfrm>
            <a:off x="244017" y="4871604"/>
            <a:ext cx="3067050" cy="276999"/>
          </a:xfrm>
          <a:prstGeom prst="rect">
            <a:avLst/>
          </a:prstGeom>
          <a:noFill/>
        </p:spPr>
        <p:txBody>
          <a:bodyPr wrap="square" rtlCol="0">
            <a:spAutoFit/>
          </a:bodyPr>
          <a:lstStyle/>
          <a:p>
            <a:r>
              <a:rPr lang="en-US" sz="1200" b="1" dirty="0">
                <a:latin typeface="Century Gothic" panose="020B0502020202020204" pitchFamily="34" charset="0"/>
              </a:rPr>
              <a:t>Source : CBK</a:t>
            </a:r>
          </a:p>
        </p:txBody>
      </p:sp>
      <p:cxnSp>
        <p:nvCxnSpPr>
          <p:cNvPr id="9" name="Straight Connector 8">
            <a:extLst>
              <a:ext uri="{FF2B5EF4-FFF2-40B4-BE49-F238E27FC236}">
                <a16:creationId xmlns:a16="http://schemas.microsoft.com/office/drawing/2014/main" id="{7C0C6DD4-D03F-6FAD-B5EA-6DFFFB135256}"/>
              </a:ext>
            </a:extLst>
          </p:cNvPr>
          <p:cNvCxnSpPr>
            <a:cxnSpLocks/>
          </p:cNvCxnSpPr>
          <p:nvPr/>
        </p:nvCxnSpPr>
        <p:spPr>
          <a:xfrm>
            <a:off x="-15874" y="36183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974561258"/>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50000"/>
          </a:schemeClr>
        </a:solidFill>
        <a:effectLst/>
      </p:bgPr>
    </p:bg>
    <p:spTree>
      <p:nvGrpSpPr>
        <p:cNvPr id="1" name="">
          <a:extLst>
            <a:ext uri="{FF2B5EF4-FFF2-40B4-BE49-F238E27FC236}">
              <a16:creationId xmlns:a16="http://schemas.microsoft.com/office/drawing/2014/main" id="{27A38DCC-CC04-EAA3-91E1-C092E2F8AA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18461C-3EC2-9AAB-ADA1-F4911B39D7EC}"/>
              </a:ext>
            </a:extLst>
          </p:cNvPr>
          <p:cNvSpPr>
            <a:spLocks noGrp="1"/>
          </p:cNvSpPr>
          <p:nvPr>
            <p:ph type="title"/>
          </p:nvPr>
        </p:nvSpPr>
        <p:spPr>
          <a:xfrm>
            <a:off x="832734" y="32615"/>
            <a:ext cx="7136295" cy="318549"/>
          </a:xfrm>
        </p:spPr>
        <p:txBody>
          <a:bodyPr/>
          <a:lstStyle/>
          <a:p>
            <a:pPr marL="8637" algn="ctr">
              <a:spcBef>
                <a:spcPts val="68"/>
              </a:spcBef>
            </a:pPr>
            <a:r>
              <a:rPr lang="en-GB" sz="1800" dirty="0">
                <a:solidFill>
                  <a:schemeClr val="tx1"/>
                </a:solidFill>
                <a:latin typeface="Century Gothic" panose="020B0502020202020204" pitchFamily="34" charset="0"/>
              </a:rPr>
              <a:t>(b) Card Transactions</a:t>
            </a:r>
          </a:p>
        </p:txBody>
      </p:sp>
      <p:sp>
        <p:nvSpPr>
          <p:cNvPr id="5" name="Title 9">
            <a:extLst>
              <a:ext uri="{FF2B5EF4-FFF2-40B4-BE49-F238E27FC236}">
                <a16:creationId xmlns:a16="http://schemas.microsoft.com/office/drawing/2014/main" id="{69C00348-F012-5479-25AB-6287EBE43AD8}"/>
              </a:ext>
            </a:extLst>
          </p:cNvPr>
          <p:cNvSpPr txBox="1">
            <a:spLocks/>
          </p:cNvSpPr>
          <p:nvPr/>
        </p:nvSpPr>
        <p:spPr>
          <a:xfrm>
            <a:off x="1514475" y="323198"/>
            <a:ext cx="363141" cy="590931"/>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a:solidFill>
                  <a:schemeClr val="bg1"/>
                </a:solidFill>
                <a:latin typeface="Century Gothic "/>
              </a:rPr>
              <a:t>7.</a:t>
            </a:r>
          </a:p>
        </p:txBody>
      </p:sp>
      <p:pic>
        <p:nvPicPr>
          <p:cNvPr id="4" name="Picture 3">
            <a:extLst>
              <a:ext uri="{FF2B5EF4-FFF2-40B4-BE49-F238E27FC236}">
                <a16:creationId xmlns:a16="http://schemas.microsoft.com/office/drawing/2014/main" id="{ECE48A46-1488-6206-5D33-5F07F86447E9}"/>
              </a:ext>
            </a:extLst>
          </p:cNvPr>
          <p:cNvPicPr>
            <a:picLocks noChangeAspect="1"/>
          </p:cNvPicPr>
          <p:nvPr/>
        </p:nvPicPr>
        <p:blipFill>
          <a:blip r:embed="rId3"/>
          <a:stretch>
            <a:fillRect/>
          </a:stretch>
        </p:blipFill>
        <p:spPr>
          <a:xfrm>
            <a:off x="8628920" y="-69657"/>
            <a:ext cx="515389" cy="406364"/>
          </a:xfrm>
          <a:prstGeom prst="rect">
            <a:avLst/>
          </a:prstGeom>
        </p:spPr>
      </p:pic>
      <p:graphicFrame>
        <p:nvGraphicFramePr>
          <p:cNvPr id="6" name="Chart 5">
            <a:extLst>
              <a:ext uri="{FF2B5EF4-FFF2-40B4-BE49-F238E27FC236}">
                <a16:creationId xmlns:a16="http://schemas.microsoft.com/office/drawing/2014/main" id="{0081CB68-A88B-5483-C763-79F2941AC497}"/>
              </a:ext>
            </a:extLst>
          </p:cNvPr>
          <p:cNvGraphicFramePr>
            <a:graphicFrameLocks/>
          </p:cNvGraphicFramePr>
          <p:nvPr>
            <p:extLst>
              <p:ext uri="{D42A27DB-BD31-4B8C-83A1-F6EECF244321}">
                <p14:modId xmlns:p14="http://schemas.microsoft.com/office/powerpoint/2010/main" val="543390554"/>
              </p:ext>
            </p:extLst>
          </p:nvPr>
        </p:nvGraphicFramePr>
        <p:xfrm>
          <a:off x="442134" y="811760"/>
          <a:ext cx="5769032" cy="3519979"/>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EFAD151D-14F1-BF25-D693-BD8E87BE4846}"/>
              </a:ext>
            </a:extLst>
          </p:cNvPr>
          <p:cNvSpPr txBox="1"/>
          <p:nvPr/>
        </p:nvSpPr>
        <p:spPr>
          <a:xfrm>
            <a:off x="6478992" y="811760"/>
            <a:ext cx="2301066" cy="3539430"/>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wrap="square">
            <a:spAutoFit/>
          </a:bodyPr>
          <a:lstStyle/>
          <a:p>
            <a:pPr lvl="1"/>
            <a:r>
              <a:rPr lang="en-US" sz="1600">
                <a:latin typeface="Century Gothic" panose="020B0502020202020204" pitchFamily="34" charset="0"/>
              </a:rPr>
              <a:t>Cards acceptance remains low</a:t>
            </a:r>
          </a:p>
          <a:p>
            <a:pPr lvl="1"/>
            <a:endParaRPr lang="en-US" sz="1600">
              <a:latin typeface="Century Gothic" panose="020B0502020202020204" pitchFamily="34" charset="0"/>
            </a:endParaRPr>
          </a:p>
          <a:p>
            <a:pPr lvl="1"/>
            <a:r>
              <a:rPr lang="en-US" sz="1600" b="1">
                <a:latin typeface="Century Gothic" panose="020B0502020202020204" pitchFamily="34" charset="0"/>
              </a:rPr>
              <a:t>Challenges</a:t>
            </a:r>
          </a:p>
          <a:p>
            <a:pPr lvl="1"/>
            <a:endParaRPr lang="en-US" sz="1600" b="1">
              <a:latin typeface="Century Gothic" panose="020B0502020202020204" pitchFamily="34" charset="0"/>
            </a:endParaRPr>
          </a:p>
          <a:p>
            <a:pPr marL="285750" lvl="1" indent="-285750">
              <a:buFont typeface="Arial" panose="020B0604020202020204" pitchFamily="34" charset="0"/>
              <a:buChar char="•"/>
            </a:pPr>
            <a:r>
              <a:rPr lang="en-US" sz="1600">
                <a:latin typeface="Century Gothic" panose="020B0502020202020204" pitchFamily="34" charset="0"/>
              </a:rPr>
              <a:t>Settlement time current T+1</a:t>
            </a:r>
            <a:endParaRPr lang="en-US" sz="1600" b="1">
              <a:latin typeface="Century Gothic" panose="020B0502020202020204" pitchFamily="34" charset="0"/>
            </a:endParaRPr>
          </a:p>
          <a:p>
            <a:pPr marL="285750" lvl="1" indent="-285750">
              <a:buFont typeface="Arial" panose="020B0604020202020204" pitchFamily="34" charset="0"/>
              <a:buChar char="•"/>
            </a:pPr>
            <a:r>
              <a:rPr lang="en-US">
                <a:latin typeface="Century Gothic" panose="020B0502020202020204" pitchFamily="34" charset="0"/>
              </a:rPr>
              <a:t>Merchant Discount Rate (MDR) that is non-competitive between 1.5% to 3%</a:t>
            </a:r>
          </a:p>
          <a:p>
            <a:pPr marL="285750" lvl="1" indent="-285750">
              <a:buFont typeface="Arial" panose="020B0604020202020204" pitchFamily="34" charset="0"/>
              <a:buChar char="•"/>
            </a:pPr>
            <a:r>
              <a:rPr lang="en-US">
                <a:latin typeface="Century Gothic" panose="020B0502020202020204" pitchFamily="34" charset="0"/>
              </a:rPr>
              <a:t>Cost to merchant discouraging them to use cards</a:t>
            </a:r>
          </a:p>
          <a:p>
            <a:pPr marL="285750" lvl="1" indent="-285750">
              <a:buFont typeface="Arial" panose="020B0604020202020204" pitchFamily="34" charset="0"/>
              <a:buChar char="•"/>
            </a:pPr>
            <a:endParaRPr lang="en-US">
              <a:latin typeface="Century Gothic" panose="020B0502020202020204" pitchFamily="34" charset="0"/>
            </a:endParaRPr>
          </a:p>
        </p:txBody>
      </p:sp>
      <p:sp>
        <p:nvSpPr>
          <p:cNvPr id="7" name="Title 9">
            <a:extLst>
              <a:ext uri="{FF2B5EF4-FFF2-40B4-BE49-F238E27FC236}">
                <a16:creationId xmlns:a16="http://schemas.microsoft.com/office/drawing/2014/main" id="{81E3A30B-EA86-7CC8-7BCA-C4B55FC6E120}"/>
              </a:ext>
            </a:extLst>
          </p:cNvPr>
          <p:cNvSpPr txBox="1">
            <a:spLocks/>
          </p:cNvSpPr>
          <p:nvPr/>
        </p:nvSpPr>
        <p:spPr>
          <a:xfrm>
            <a:off x="4654" y="14001"/>
            <a:ext cx="570738"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5.</a:t>
            </a:r>
          </a:p>
        </p:txBody>
      </p:sp>
      <p:sp>
        <p:nvSpPr>
          <p:cNvPr id="8" name="TextBox 7">
            <a:extLst>
              <a:ext uri="{FF2B5EF4-FFF2-40B4-BE49-F238E27FC236}">
                <a16:creationId xmlns:a16="http://schemas.microsoft.com/office/drawing/2014/main" id="{8DC816E3-D313-B1D7-63CD-7B0E69506723}"/>
              </a:ext>
            </a:extLst>
          </p:cNvPr>
          <p:cNvSpPr txBox="1"/>
          <p:nvPr/>
        </p:nvSpPr>
        <p:spPr>
          <a:xfrm>
            <a:off x="290023" y="4596026"/>
            <a:ext cx="3067050" cy="276999"/>
          </a:xfrm>
          <a:prstGeom prst="rect">
            <a:avLst/>
          </a:prstGeom>
          <a:noFill/>
        </p:spPr>
        <p:txBody>
          <a:bodyPr wrap="square" rtlCol="0">
            <a:spAutoFit/>
          </a:bodyPr>
          <a:lstStyle/>
          <a:p>
            <a:r>
              <a:rPr lang="en-US" sz="1200" b="1">
                <a:latin typeface="Century Gothic" panose="020B0502020202020204" pitchFamily="34" charset="0"/>
              </a:rPr>
              <a:t>Source : CBK</a:t>
            </a:r>
          </a:p>
        </p:txBody>
      </p:sp>
      <p:cxnSp>
        <p:nvCxnSpPr>
          <p:cNvPr id="9" name="Straight Connector 8">
            <a:extLst>
              <a:ext uri="{FF2B5EF4-FFF2-40B4-BE49-F238E27FC236}">
                <a16:creationId xmlns:a16="http://schemas.microsoft.com/office/drawing/2014/main" id="{DAA1D670-0EE3-2CAA-686D-493456BFB513}"/>
              </a:ext>
            </a:extLst>
          </p:cNvPr>
          <p:cNvCxnSpPr>
            <a:cxnSpLocks/>
          </p:cNvCxnSpPr>
          <p:nvPr/>
        </p:nvCxnSpPr>
        <p:spPr>
          <a:xfrm>
            <a:off x="-15874" y="36183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402985518"/>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50000"/>
          </a:schemeClr>
        </a:solidFill>
        <a:effectLst/>
      </p:bgPr>
    </p:bg>
    <p:spTree>
      <p:nvGrpSpPr>
        <p:cNvPr id="1" name="">
          <a:extLst>
            <a:ext uri="{FF2B5EF4-FFF2-40B4-BE49-F238E27FC236}">
              <a16:creationId xmlns:a16="http://schemas.microsoft.com/office/drawing/2014/main" id="{9E7825C9-62E2-ACDC-89B2-CFB3E8E40F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5B3C23-E5D5-EF0D-74ED-A6B1A535B49B}"/>
              </a:ext>
            </a:extLst>
          </p:cNvPr>
          <p:cNvSpPr>
            <a:spLocks noGrp="1"/>
          </p:cNvSpPr>
          <p:nvPr>
            <p:ph type="title"/>
          </p:nvPr>
        </p:nvSpPr>
        <p:spPr>
          <a:xfrm>
            <a:off x="673331" y="-11517"/>
            <a:ext cx="7797337" cy="354714"/>
          </a:xfrm>
        </p:spPr>
        <p:txBody>
          <a:bodyPr/>
          <a:lstStyle/>
          <a:p>
            <a:pPr marL="8637" algn="ctr">
              <a:spcBef>
                <a:spcPts val="68"/>
              </a:spcBef>
            </a:pPr>
            <a:r>
              <a:rPr lang="en-GB" sz="1800" dirty="0">
                <a:solidFill>
                  <a:schemeClr val="tx1"/>
                </a:solidFill>
                <a:latin typeface="Century Gothic" panose="020B0502020202020204" pitchFamily="34" charset="0"/>
              </a:rPr>
              <a:t>Large Value Payment System (LVPS) – KEPSS Transactions</a:t>
            </a:r>
          </a:p>
        </p:txBody>
      </p:sp>
      <p:sp>
        <p:nvSpPr>
          <p:cNvPr id="5" name="Title 9">
            <a:extLst>
              <a:ext uri="{FF2B5EF4-FFF2-40B4-BE49-F238E27FC236}">
                <a16:creationId xmlns:a16="http://schemas.microsoft.com/office/drawing/2014/main" id="{E7ECCB44-CFC9-FB7C-DF80-A73294A1ADF5}"/>
              </a:ext>
            </a:extLst>
          </p:cNvPr>
          <p:cNvSpPr txBox="1">
            <a:spLocks/>
          </p:cNvSpPr>
          <p:nvPr/>
        </p:nvSpPr>
        <p:spPr>
          <a:xfrm>
            <a:off x="18641" y="-1006"/>
            <a:ext cx="575435"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6.</a:t>
            </a:r>
          </a:p>
        </p:txBody>
      </p:sp>
      <p:pic>
        <p:nvPicPr>
          <p:cNvPr id="4" name="Picture 3">
            <a:extLst>
              <a:ext uri="{FF2B5EF4-FFF2-40B4-BE49-F238E27FC236}">
                <a16:creationId xmlns:a16="http://schemas.microsoft.com/office/drawing/2014/main" id="{03363F9D-B4CA-119C-79F5-F2A10953BD29}"/>
              </a:ext>
            </a:extLst>
          </p:cNvPr>
          <p:cNvPicPr>
            <a:picLocks noChangeAspect="1"/>
          </p:cNvPicPr>
          <p:nvPr/>
        </p:nvPicPr>
        <p:blipFill>
          <a:blip r:embed="rId3"/>
          <a:stretch>
            <a:fillRect/>
          </a:stretch>
        </p:blipFill>
        <p:spPr>
          <a:xfrm>
            <a:off x="8681058" y="-25940"/>
            <a:ext cx="450023" cy="354825"/>
          </a:xfrm>
          <a:prstGeom prst="rect">
            <a:avLst/>
          </a:prstGeom>
        </p:spPr>
      </p:pic>
      <p:graphicFrame>
        <p:nvGraphicFramePr>
          <p:cNvPr id="7" name="Chart 6">
            <a:extLst>
              <a:ext uri="{FF2B5EF4-FFF2-40B4-BE49-F238E27FC236}">
                <a16:creationId xmlns:a16="http://schemas.microsoft.com/office/drawing/2014/main" id="{7AD87366-8B69-35BF-9B98-BBF4B187CAD5}"/>
              </a:ext>
            </a:extLst>
          </p:cNvPr>
          <p:cNvGraphicFramePr>
            <a:graphicFrameLocks/>
          </p:cNvGraphicFramePr>
          <p:nvPr>
            <p:extLst>
              <p:ext uri="{D42A27DB-BD31-4B8C-83A1-F6EECF244321}">
                <p14:modId xmlns:p14="http://schemas.microsoft.com/office/powerpoint/2010/main" val="3660371514"/>
              </p:ext>
            </p:extLst>
          </p:nvPr>
        </p:nvGraphicFramePr>
        <p:xfrm>
          <a:off x="96057" y="677911"/>
          <a:ext cx="5099398" cy="3553267"/>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Connector 7">
            <a:extLst>
              <a:ext uri="{FF2B5EF4-FFF2-40B4-BE49-F238E27FC236}">
                <a16:creationId xmlns:a16="http://schemas.microsoft.com/office/drawing/2014/main" id="{7DA6AB0E-6006-F99C-7CAD-5E1B27F4202C}"/>
              </a:ext>
            </a:extLst>
          </p:cNvPr>
          <p:cNvCxnSpPr>
            <a:cxnSpLocks/>
          </p:cNvCxnSpPr>
          <p:nvPr/>
        </p:nvCxnSpPr>
        <p:spPr>
          <a:xfrm>
            <a:off x="-15874" y="338054"/>
            <a:ext cx="9144000" cy="0"/>
          </a:xfrm>
          <a:prstGeom prst="line">
            <a:avLst/>
          </a:prstGeom>
          <a:noFill/>
          <a:ln w="19050" cap="flat" cmpd="sng" algn="ctr">
            <a:solidFill>
              <a:srgbClr val="F19D19"/>
            </a:solidFill>
            <a:prstDash val="solid"/>
            <a:miter lim="800000"/>
          </a:ln>
          <a:effectLst/>
        </p:spPr>
      </p:cxnSp>
      <p:sp>
        <p:nvSpPr>
          <p:cNvPr id="10" name="TextBox 9">
            <a:extLst>
              <a:ext uri="{FF2B5EF4-FFF2-40B4-BE49-F238E27FC236}">
                <a16:creationId xmlns:a16="http://schemas.microsoft.com/office/drawing/2014/main" id="{A1C7EEB3-41B6-1BE6-9F9C-3E2BFE2308D3}"/>
              </a:ext>
            </a:extLst>
          </p:cNvPr>
          <p:cNvSpPr txBox="1"/>
          <p:nvPr/>
        </p:nvSpPr>
        <p:spPr>
          <a:xfrm>
            <a:off x="5455419" y="677911"/>
            <a:ext cx="3512128" cy="160043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l" fontAlgn="t"/>
            <a:r>
              <a:rPr lang="en-US" sz="1400" b="1" u="none" strike="noStrike">
                <a:solidFill>
                  <a:srgbClr val="000000"/>
                </a:solidFill>
                <a:effectLst/>
                <a:latin typeface="Century Gothic" panose="020B0502020202020204" pitchFamily="34" charset="0"/>
              </a:rPr>
              <a:t>System Availability</a:t>
            </a:r>
          </a:p>
          <a:p>
            <a:pPr marL="285750" indent="-285750" algn="l" fontAlgn="t">
              <a:buFont typeface="Arial" panose="020B0604020202020204" pitchFamily="34" charset="0"/>
              <a:buChar char="•"/>
            </a:pPr>
            <a:r>
              <a:rPr lang="en-US" sz="1400" b="0" u="none" strike="noStrike">
                <a:solidFill>
                  <a:srgbClr val="000000"/>
                </a:solidFill>
                <a:effectLst/>
                <a:latin typeface="Century Gothic" panose="020B0502020202020204" pitchFamily="34" charset="0"/>
              </a:rPr>
              <a:t>Percentage of uptime for Q3 of FY 2024/2025 is </a:t>
            </a:r>
            <a:r>
              <a:rPr lang="en-US" sz="1400" b="1" u="none" strike="noStrike">
                <a:solidFill>
                  <a:srgbClr val="000000"/>
                </a:solidFill>
                <a:effectLst/>
                <a:latin typeface="Century Gothic" panose="020B0502020202020204" pitchFamily="34" charset="0"/>
              </a:rPr>
              <a:t>100%</a:t>
            </a:r>
            <a:r>
              <a:rPr lang="en-US" sz="1400" b="0" u="none" strike="noStrike">
                <a:solidFill>
                  <a:srgbClr val="000000"/>
                </a:solidFill>
                <a:effectLst/>
                <a:latin typeface="Century Gothic" panose="020B0502020202020204" pitchFamily="34" charset="0"/>
              </a:rPr>
              <a:t>, no downtime reported.</a:t>
            </a:r>
          </a:p>
          <a:p>
            <a:pPr marL="285750" indent="-285750" algn="l" fontAlgn="t">
              <a:buFont typeface="Arial" panose="020B0604020202020204" pitchFamily="34" charset="0"/>
              <a:buChar char="•"/>
            </a:pPr>
            <a:r>
              <a:rPr lang="en-US" sz="1400" b="0" u="none" strike="noStrike">
                <a:solidFill>
                  <a:srgbClr val="000000"/>
                </a:solidFill>
                <a:effectLst/>
                <a:latin typeface="Century Gothic" panose="020B0502020202020204" pitchFamily="34" charset="0"/>
              </a:rPr>
              <a:t>RTGS KEPSS Operating hours revised with effect from July 1, 2025, to 7-7 i.e., </a:t>
            </a:r>
            <a:r>
              <a:rPr lang="en-US" sz="1400" b="1" u="none" strike="noStrike">
                <a:solidFill>
                  <a:srgbClr val="000000"/>
                </a:solidFill>
                <a:effectLst/>
                <a:latin typeface="Century Gothic" panose="020B0502020202020204" pitchFamily="34" charset="0"/>
              </a:rPr>
              <a:t>12 hours per day</a:t>
            </a:r>
            <a:endParaRPr lang="en-US" sz="1400" b="1" i="0" u="none" strike="noStrike">
              <a:solidFill>
                <a:srgbClr val="000000"/>
              </a:solidFill>
              <a:effectLst/>
              <a:latin typeface="Century Gothic" panose="020B0502020202020204" pitchFamily="34" charset="0"/>
            </a:endParaRPr>
          </a:p>
        </p:txBody>
      </p:sp>
      <p:sp>
        <p:nvSpPr>
          <p:cNvPr id="12" name="TextBox 11">
            <a:extLst>
              <a:ext uri="{FF2B5EF4-FFF2-40B4-BE49-F238E27FC236}">
                <a16:creationId xmlns:a16="http://schemas.microsoft.com/office/drawing/2014/main" id="{C7D53B60-715E-DCA0-5D08-ED13FE3B97E8}"/>
              </a:ext>
            </a:extLst>
          </p:cNvPr>
          <p:cNvSpPr txBox="1"/>
          <p:nvPr/>
        </p:nvSpPr>
        <p:spPr>
          <a:xfrm>
            <a:off x="5455419" y="2372357"/>
            <a:ext cx="3387436" cy="1600438"/>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l" fontAlgn="t"/>
            <a:r>
              <a:rPr lang="en-US" b="1">
                <a:latin typeface="Century Gothic" panose="020B0502020202020204" pitchFamily="34" charset="0"/>
              </a:rPr>
              <a:t>Operational Resilience</a:t>
            </a:r>
          </a:p>
          <a:p>
            <a:pPr marL="285750" indent="-285750" algn="l" fontAlgn="t">
              <a:buFont typeface="Arial" panose="020B0604020202020204" pitchFamily="34" charset="0"/>
              <a:buChar char="•"/>
            </a:pPr>
            <a:r>
              <a:rPr lang="en-US" sz="1400" b="0" i="0" u="none" strike="noStrike">
                <a:solidFill>
                  <a:srgbClr val="000000"/>
                </a:solidFill>
                <a:effectLst/>
                <a:latin typeface="Century Gothic" panose="020B0502020202020204" pitchFamily="34" charset="0"/>
              </a:rPr>
              <a:t>BCP and DRS up and running. Tests scheduled for Q1 of FY 2025/2026</a:t>
            </a:r>
          </a:p>
          <a:p>
            <a:pPr marL="285750" indent="-285750" algn="l" fontAlgn="t">
              <a:buFont typeface="Arial" panose="020B0604020202020204" pitchFamily="34" charset="0"/>
              <a:buChar char="•"/>
            </a:pPr>
            <a:r>
              <a:rPr lang="en-US" sz="1400" b="0" i="0" u="none" strike="noStrike">
                <a:solidFill>
                  <a:srgbClr val="000000"/>
                </a:solidFill>
                <a:effectLst/>
                <a:latin typeface="Century Gothic" panose="020B0502020202020204" pitchFamily="34" charset="0"/>
              </a:rPr>
              <a:t>Planned contingency arrangements (VPN) project to commence  Q2 of FY 2025/2026</a:t>
            </a:r>
          </a:p>
        </p:txBody>
      </p:sp>
      <p:sp>
        <p:nvSpPr>
          <p:cNvPr id="13" name="TextBox 12">
            <a:extLst>
              <a:ext uri="{FF2B5EF4-FFF2-40B4-BE49-F238E27FC236}">
                <a16:creationId xmlns:a16="http://schemas.microsoft.com/office/drawing/2014/main" id="{8A5A40FD-7B3D-B4C0-978C-414E8B04C270}"/>
              </a:ext>
            </a:extLst>
          </p:cNvPr>
          <p:cNvSpPr txBox="1"/>
          <p:nvPr/>
        </p:nvSpPr>
        <p:spPr>
          <a:xfrm>
            <a:off x="5455419" y="4066803"/>
            <a:ext cx="3512128" cy="5232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l" fontAlgn="t"/>
            <a:r>
              <a:rPr lang="en-US" sz="1400" b="1" u="none" strike="noStrike">
                <a:solidFill>
                  <a:srgbClr val="000000"/>
                </a:solidFill>
                <a:effectLst/>
                <a:latin typeface="Century Gothic" panose="020B0502020202020204" pitchFamily="34" charset="0"/>
              </a:rPr>
              <a:t>Average value per transaction</a:t>
            </a:r>
          </a:p>
          <a:p>
            <a:pPr algn="l" fontAlgn="t"/>
            <a:r>
              <a:rPr lang="en-US">
                <a:solidFill>
                  <a:srgbClr val="000000"/>
                </a:solidFill>
                <a:latin typeface="Century Gothic" panose="020B0502020202020204" pitchFamily="34" charset="0"/>
              </a:rPr>
              <a:t>Kes = 5,111,111.11</a:t>
            </a:r>
            <a:endParaRPr lang="en-US" sz="1400" u="none" strike="noStrike">
              <a:solidFill>
                <a:srgbClr val="000000"/>
              </a:solidFill>
              <a:effectLst/>
              <a:latin typeface="Century Gothic" panose="020B0502020202020204" pitchFamily="34" charset="0"/>
            </a:endParaRPr>
          </a:p>
        </p:txBody>
      </p:sp>
      <p:sp>
        <p:nvSpPr>
          <p:cNvPr id="3" name="TextBox 2">
            <a:extLst>
              <a:ext uri="{FF2B5EF4-FFF2-40B4-BE49-F238E27FC236}">
                <a16:creationId xmlns:a16="http://schemas.microsoft.com/office/drawing/2014/main" id="{C56B5A90-A884-C207-EF97-BCA59DDE9FCE}"/>
              </a:ext>
            </a:extLst>
          </p:cNvPr>
          <p:cNvSpPr txBox="1"/>
          <p:nvPr/>
        </p:nvSpPr>
        <p:spPr>
          <a:xfrm>
            <a:off x="179166" y="4528447"/>
            <a:ext cx="3067050" cy="276999"/>
          </a:xfrm>
          <a:prstGeom prst="rect">
            <a:avLst/>
          </a:prstGeom>
          <a:noFill/>
        </p:spPr>
        <p:txBody>
          <a:bodyPr wrap="square" rtlCol="0">
            <a:spAutoFit/>
          </a:bodyPr>
          <a:lstStyle/>
          <a:p>
            <a:r>
              <a:rPr lang="en-US" sz="1200" b="1" dirty="0">
                <a:latin typeface="Century Gothic" panose="020B0502020202020204" pitchFamily="34" charset="0"/>
              </a:rPr>
              <a:t>Source : CBK</a:t>
            </a:r>
          </a:p>
        </p:txBody>
      </p:sp>
    </p:spTree>
    <p:extLst>
      <p:ext uri="{BB962C8B-B14F-4D97-AF65-F5344CB8AC3E}">
        <p14:creationId xmlns:p14="http://schemas.microsoft.com/office/powerpoint/2010/main" val="4099513768"/>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3110BEC-7890-8D5A-E1EF-35EF14978825}"/>
              </a:ext>
            </a:extLst>
          </p:cNvPr>
          <p:cNvSpPr txBox="1"/>
          <p:nvPr/>
        </p:nvSpPr>
        <p:spPr>
          <a:xfrm>
            <a:off x="244017" y="4871604"/>
            <a:ext cx="3067050" cy="276999"/>
          </a:xfrm>
          <a:prstGeom prst="rect">
            <a:avLst/>
          </a:prstGeom>
          <a:noFill/>
        </p:spPr>
        <p:txBody>
          <a:bodyPr wrap="square" rtlCol="0">
            <a:spAutoFit/>
          </a:bodyPr>
          <a:lstStyle/>
          <a:p>
            <a:r>
              <a:rPr lang="en-US" sz="1200" b="1">
                <a:latin typeface="Century Gothic" panose="020B0502020202020204" pitchFamily="34" charset="0"/>
              </a:rPr>
              <a:t>Source : CBK</a:t>
            </a:r>
          </a:p>
        </p:txBody>
      </p:sp>
      <p:sp>
        <p:nvSpPr>
          <p:cNvPr id="5" name="TextBox 4">
            <a:extLst>
              <a:ext uri="{FF2B5EF4-FFF2-40B4-BE49-F238E27FC236}">
                <a16:creationId xmlns:a16="http://schemas.microsoft.com/office/drawing/2014/main" id="{F8510809-7B3C-159B-B344-F84CBE99DDE9}"/>
              </a:ext>
            </a:extLst>
          </p:cNvPr>
          <p:cNvSpPr txBox="1"/>
          <p:nvPr/>
        </p:nvSpPr>
        <p:spPr>
          <a:xfrm>
            <a:off x="1032641" y="8469148"/>
            <a:ext cx="4256690" cy="138499"/>
          </a:xfrm>
          <a:prstGeom prst="rect">
            <a:avLst/>
          </a:prstGeom>
          <a:noFill/>
        </p:spPr>
        <p:txBody>
          <a:bodyPr wrap="square" rtlCol="0">
            <a:spAutoFit/>
          </a:bodyPr>
          <a:lstStyle/>
          <a:p>
            <a:pPr defTabSz="685800">
              <a:buClrTx/>
            </a:pPr>
            <a:endParaRPr lang="en-US" sz="300" kern="1200">
              <a:solidFill>
                <a:prstClr val="black"/>
              </a:solidFill>
              <a:latin typeface="Aptos" panose="02110004020202020204"/>
              <a:ea typeface="+mn-ea"/>
              <a:cs typeface="+mn-cs"/>
            </a:endParaRPr>
          </a:p>
        </p:txBody>
      </p:sp>
      <p:cxnSp>
        <p:nvCxnSpPr>
          <p:cNvPr id="2" name="Straight Connector 1">
            <a:extLst>
              <a:ext uri="{FF2B5EF4-FFF2-40B4-BE49-F238E27FC236}">
                <a16:creationId xmlns:a16="http://schemas.microsoft.com/office/drawing/2014/main" id="{D1088C81-B61F-62A8-2663-4B2DD76F1AD5}"/>
              </a:ext>
            </a:extLst>
          </p:cNvPr>
          <p:cNvCxnSpPr>
            <a:cxnSpLocks/>
          </p:cNvCxnSpPr>
          <p:nvPr/>
        </p:nvCxnSpPr>
        <p:spPr>
          <a:xfrm>
            <a:off x="-15874" y="370479"/>
            <a:ext cx="9144000" cy="0"/>
          </a:xfrm>
          <a:prstGeom prst="line">
            <a:avLst/>
          </a:prstGeom>
          <a:noFill/>
          <a:ln w="19050" cap="flat" cmpd="sng" algn="ctr">
            <a:solidFill>
              <a:srgbClr val="F19D19"/>
            </a:solidFill>
            <a:prstDash val="solid"/>
            <a:miter lim="800000"/>
          </a:ln>
          <a:effectLst/>
        </p:spPr>
      </p:cxnSp>
      <p:pic>
        <p:nvPicPr>
          <p:cNvPr id="6" name="Picture 5">
            <a:extLst>
              <a:ext uri="{FF2B5EF4-FFF2-40B4-BE49-F238E27FC236}">
                <a16:creationId xmlns:a16="http://schemas.microsoft.com/office/drawing/2014/main" id="{B06E954D-CB3C-F1CB-C11D-88615AD20251}"/>
              </a:ext>
            </a:extLst>
          </p:cNvPr>
          <p:cNvPicPr>
            <a:picLocks noChangeAspect="1"/>
          </p:cNvPicPr>
          <p:nvPr/>
        </p:nvPicPr>
        <p:blipFill>
          <a:blip r:embed="rId3"/>
          <a:stretch>
            <a:fillRect/>
          </a:stretch>
        </p:blipFill>
        <p:spPr>
          <a:xfrm>
            <a:off x="8698427" y="7209"/>
            <a:ext cx="445047" cy="353599"/>
          </a:xfrm>
          <a:prstGeom prst="rect">
            <a:avLst/>
          </a:prstGeom>
        </p:spPr>
      </p:pic>
      <p:sp>
        <p:nvSpPr>
          <p:cNvPr id="7" name="TextBox 6">
            <a:extLst>
              <a:ext uri="{FF2B5EF4-FFF2-40B4-BE49-F238E27FC236}">
                <a16:creationId xmlns:a16="http://schemas.microsoft.com/office/drawing/2014/main" id="{CF07EA93-ED21-6653-0F4A-3C0ADB99CD34}"/>
              </a:ext>
            </a:extLst>
          </p:cNvPr>
          <p:cNvSpPr txBox="1"/>
          <p:nvPr/>
        </p:nvSpPr>
        <p:spPr>
          <a:xfrm>
            <a:off x="1235116" y="54326"/>
            <a:ext cx="6209786" cy="338554"/>
          </a:xfrm>
          <a:prstGeom prst="rect">
            <a:avLst/>
          </a:prstGeom>
          <a:noFill/>
        </p:spPr>
        <p:txBody>
          <a:bodyPr wrap="square" rtlCol="0">
            <a:spAutoFit/>
          </a:bodyPr>
          <a:lstStyle/>
          <a:p>
            <a:pPr algn="ctr"/>
            <a:r>
              <a:rPr lang="en-US" sz="1600" b="1" dirty="0">
                <a:latin typeface="Century Gothic" panose="020B0502020202020204" pitchFamily="34" charset="0"/>
              </a:rPr>
              <a:t>EAPS TRANSACTIONS</a:t>
            </a:r>
          </a:p>
        </p:txBody>
      </p:sp>
      <p:sp>
        <p:nvSpPr>
          <p:cNvPr id="10" name="Title 9">
            <a:extLst>
              <a:ext uri="{FF2B5EF4-FFF2-40B4-BE49-F238E27FC236}">
                <a16:creationId xmlns:a16="http://schemas.microsoft.com/office/drawing/2014/main" id="{FC2D314B-12FE-6CCA-6155-A1967D21469F}"/>
              </a:ext>
            </a:extLst>
          </p:cNvPr>
          <p:cNvSpPr txBox="1">
            <a:spLocks/>
          </p:cNvSpPr>
          <p:nvPr/>
        </p:nvSpPr>
        <p:spPr>
          <a:xfrm>
            <a:off x="64799" y="13193"/>
            <a:ext cx="606693"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7.</a:t>
            </a:r>
          </a:p>
        </p:txBody>
      </p:sp>
      <p:sp>
        <p:nvSpPr>
          <p:cNvPr id="11" name="TextBox 10">
            <a:extLst>
              <a:ext uri="{FF2B5EF4-FFF2-40B4-BE49-F238E27FC236}">
                <a16:creationId xmlns:a16="http://schemas.microsoft.com/office/drawing/2014/main" id="{34F78CB9-DC77-1374-96BB-8D0604E21E1C}"/>
              </a:ext>
            </a:extLst>
          </p:cNvPr>
          <p:cNvSpPr txBox="1"/>
          <p:nvPr/>
        </p:nvSpPr>
        <p:spPr>
          <a:xfrm>
            <a:off x="165721" y="510913"/>
            <a:ext cx="3845170" cy="276999"/>
          </a:xfrm>
          <a:prstGeom prst="rect">
            <a:avLst/>
          </a:prstGeom>
          <a:noFill/>
        </p:spPr>
        <p:txBody>
          <a:bodyPr wrap="square" rtlCol="0">
            <a:spAutoFit/>
          </a:bodyPr>
          <a:lstStyle/>
          <a:p>
            <a:pPr algn="ctr">
              <a:defRPr sz="1400" b="0" i="0" u="none" strike="noStrike" kern="1200" spc="0" baseline="0">
                <a:solidFill>
                  <a:sysClr val="windowText" lastClr="000000">
                    <a:lumMod val="65000"/>
                    <a:lumOff val="35000"/>
                  </a:sysClr>
                </a:solidFill>
                <a:latin typeface="+mn-lt"/>
                <a:ea typeface="+mn-ea"/>
                <a:cs typeface="+mn-cs"/>
              </a:defRPr>
            </a:pPr>
            <a:r>
              <a:rPr lang="en-US" sz="1200" b="1">
                <a:solidFill>
                  <a:schemeClr val="tx1"/>
                </a:solidFill>
                <a:latin typeface="Century Gothic" panose="020B0502020202020204" pitchFamily="34" charset="0"/>
              </a:rPr>
              <a:t>INWARD EAPS TRANSACTIONS  VALUE IN MILLIONS</a:t>
            </a:r>
          </a:p>
        </p:txBody>
      </p:sp>
      <p:sp>
        <p:nvSpPr>
          <p:cNvPr id="12" name="TextBox 11">
            <a:extLst>
              <a:ext uri="{FF2B5EF4-FFF2-40B4-BE49-F238E27FC236}">
                <a16:creationId xmlns:a16="http://schemas.microsoft.com/office/drawing/2014/main" id="{4B11B289-57A6-9AC9-8E34-C9F3D5C94A85}"/>
              </a:ext>
            </a:extLst>
          </p:cNvPr>
          <p:cNvSpPr txBox="1"/>
          <p:nvPr/>
        </p:nvSpPr>
        <p:spPr>
          <a:xfrm>
            <a:off x="4713069" y="510912"/>
            <a:ext cx="4175457" cy="276999"/>
          </a:xfrm>
          <a:prstGeom prst="rect">
            <a:avLst/>
          </a:prstGeom>
          <a:noFill/>
        </p:spPr>
        <p:txBody>
          <a:bodyPr wrap="square" rtlCol="0">
            <a:spAutoFit/>
          </a:bodyPr>
          <a:lstStyle/>
          <a:p>
            <a:pPr algn="ctr">
              <a:defRPr sz="1400" b="0" i="0" u="none" strike="noStrike" kern="1200" spc="0" baseline="0">
                <a:solidFill>
                  <a:sysClr val="windowText" lastClr="000000">
                    <a:lumMod val="65000"/>
                    <a:lumOff val="35000"/>
                  </a:sysClr>
                </a:solidFill>
                <a:latin typeface="+mn-lt"/>
                <a:ea typeface="+mn-ea"/>
                <a:cs typeface="+mn-cs"/>
              </a:defRPr>
            </a:pPr>
            <a:r>
              <a:rPr lang="en-US" sz="1200" b="1">
                <a:solidFill>
                  <a:schemeClr val="tx1"/>
                </a:solidFill>
                <a:latin typeface="Century Gothic" panose="020B0502020202020204" pitchFamily="34" charset="0"/>
              </a:rPr>
              <a:t>OUTWARD EAPS TRANSACTIONS  VALUE IN MILLIONS</a:t>
            </a:r>
          </a:p>
        </p:txBody>
      </p:sp>
      <p:sp>
        <p:nvSpPr>
          <p:cNvPr id="15" name="TextBox 14">
            <a:extLst>
              <a:ext uri="{FF2B5EF4-FFF2-40B4-BE49-F238E27FC236}">
                <a16:creationId xmlns:a16="http://schemas.microsoft.com/office/drawing/2014/main" id="{D1A47931-16B1-29B7-97B1-CAC621C2730E}"/>
              </a:ext>
            </a:extLst>
          </p:cNvPr>
          <p:cNvSpPr txBox="1"/>
          <p:nvPr/>
        </p:nvSpPr>
        <p:spPr>
          <a:xfrm>
            <a:off x="64799" y="2722214"/>
            <a:ext cx="4110904" cy="2123658"/>
          </a:xfrm>
          <a:prstGeom prst="rect">
            <a:avLst/>
          </a:prstGeom>
          <a:solidFill>
            <a:schemeClr val="bg1"/>
          </a:solidFill>
        </p:spPr>
        <p:txBody>
          <a:bodyPr wrap="square" rtlCol="0">
            <a:spAutoFit/>
          </a:bodyPr>
          <a:lstStyle/>
          <a:p>
            <a:pPr defTabSz="685800">
              <a:buClrTx/>
            </a:pPr>
            <a:r>
              <a:rPr lang="en-US" sz="1200" b="1">
                <a:latin typeface="Century Gothic" panose="020B0502020202020204" pitchFamily="34" charset="0"/>
              </a:rPr>
              <a:t>From 2020 to 2024, Kenya experienced increasing inward payments from Rwanda, Tanzania, and Uganda, reflecting stronger economic integration within the EAC.</a:t>
            </a:r>
            <a:br>
              <a:rPr lang="en-US" sz="1200">
                <a:latin typeface="Century Gothic" panose="020B0502020202020204" pitchFamily="34" charset="0"/>
              </a:rPr>
            </a:br>
            <a:r>
              <a:rPr lang="en-US" sz="1200">
                <a:latin typeface="Century Gothic" panose="020B0502020202020204" pitchFamily="34" charset="0"/>
              </a:rPr>
              <a:t>Although local currency transactions remain smaller in volume, their growth signals a shift toward greater use of regional currencies. This data highlights Kenya’s key role in advancing the EAC’s unified payments system and underscores the positive impact of digital payment innovations on cross-border trade and finance</a:t>
            </a:r>
          </a:p>
        </p:txBody>
      </p:sp>
      <p:sp>
        <p:nvSpPr>
          <p:cNvPr id="16" name="TextBox 15">
            <a:extLst>
              <a:ext uri="{FF2B5EF4-FFF2-40B4-BE49-F238E27FC236}">
                <a16:creationId xmlns:a16="http://schemas.microsoft.com/office/drawing/2014/main" id="{D89BCCA9-3AEF-48C6-A419-EDD0817BAAA7}"/>
              </a:ext>
            </a:extLst>
          </p:cNvPr>
          <p:cNvSpPr txBox="1"/>
          <p:nvPr/>
        </p:nvSpPr>
        <p:spPr>
          <a:xfrm>
            <a:off x="4791354" y="2704648"/>
            <a:ext cx="4246873" cy="2092881"/>
          </a:xfrm>
          <a:prstGeom prst="rect">
            <a:avLst/>
          </a:prstGeom>
          <a:solidFill>
            <a:schemeClr val="bg1"/>
          </a:solidFill>
        </p:spPr>
        <p:txBody>
          <a:bodyPr wrap="square" rtlCol="0">
            <a:spAutoFit/>
          </a:bodyPr>
          <a:lstStyle/>
          <a:p>
            <a:pPr defTabSz="685800">
              <a:buClrTx/>
            </a:pPr>
            <a:r>
              <a:rPr lang="en-US" sz="1300" b="1">
                <a:latin typeface="Century Gothic" panose="020B0502020202020204" pitchFamily="34" charset="0"/>
              </a:rPr>
              <a:t>From 2020 to 2024, Kenya’s outward transactions steadily increased across East African countries</a:t>
            </a:r>
            <a:br>
              <a:rPr lang="en-US" sz="1300">
                <a:latin typeface="Century Gothic" panose="020B0502020202020204" pitchFamily="34" charset="0"/>
              </a:rPr>
            </a:br>
            <a:r>
              <a:rPr lang="en-US" sz="1300">
                <a:latin typeface="Century Gothic" panose="020B0502020202020204" pitchFamily="34" charset="0"/>
              </a:rPr>
              <a:t>Rwanda (RWF) and Uganda (UGX) rose steadily. However, in 2023, Uganda experienced a rapid decline, possibly indicating shifting trends in the adoption of local currencies for cross-border payments. Tanzania (TZS) saw a sharp increase in transactions in 2022, followed by a decline in 2024, likely linked to infrastructure changes and market normalization</a:t>
            </a:r>
          </a:p>
        </p:txBody>
      </p:sp>
      <p:graphicFrame>
        <p:nvGraphicFramePr>
          <p:cNvPr id="25" name="Object 24">
            <a:extLst>
              <a:ext uri="{FF2B5EF4-FFF2-40B4-BE49-F238E27FC236}">
                <a16:creationId xmlns:a16="http://schemas.microsoft.com/office/drawing/2014/main" id="{FDE9F2E2-68A0-A6E5-0A01-6B756598CA57}"/>
              </a:ext>
            </a:extLst>
          </p:cNvPr>
          <p:cNvGraphicFramePr>
            <a:graphicFrameLocks noChangeAspect="1"/>
          </p:cNvGraphicFramePr>
          <p:nvPr>
            <p:extLst>
              <p:ext uri="{D42A27DB-BD31-4B8C-83A1-F6EECF244321}">
                <p14:modId xmlns:p14="http://schemas.microsoft.com/office/powerpoint/2010/main" val="2000524509"/>
              </p:ext>
            </p:extLst>
          </p:nvPr>
        </p:nvGraphicFramePr>
        <p:xfrm>
          <a:off x="121195" y="1075132"/>
          <a:ext cx="4054508" cy="1213995"/>
        </p:xfrm>
        <a:graphic>
          <a:graphicData uri="http://schemas.openxmlformats.org/presentationml/2006/ole">
            <mc:AlternateContent xmlns:mc="http://schemas.openxmlformats.org/markup-compatibility/2006">
              <mc:Choice xmlns:v="urn:schemas-microsoft-com:vml" Requires="v">
                <p:oleObj name="Worksheet" r:id="rId4" imgW="4368935" imgH="1307965" progId="Excel.Sheet.12">
                  <p:embed/>
                </p:oleObj>
              </mc:Choice>
              <mc:Fallback>
                <p:oleObj name="Worksheet" r:id="rId4" imgW="4368935" imgH="1307965" progId="Excel.Sheet.12">
                  <p:embed/>
                  <p:pic>
                    <p:nvPicPr>
                      <p:cNvPr id="25" name="Object 24">
                        <a:extLst>
                          <a:ext uri="{FF2B5EF4-FFF2-40B4-BE49-F238E27FC236}">
                            <a16:creationId xmlns:a16="http://schemas.microsoft.com/office/drawing/2014/main" id="{FDE9F2E2-68A0-A6E5-0A01-6B756598CA57}"/>
                          </a:ext>
                        </a:extLst>
                      </p:cNvPr>
                      <p:cNvPicPr/>
                      <p:nvPr/>
                    </p:nvPicPr>
                    <p:blipFill>
                      <a:blip r:embed="rId5"/>
                      <a:stretch>
                        <a:fillRect/>
                      </a:stretch>
                    </p:blipFill>
                    <p:spPr>
                      <a:xfrm>
                        <a:off x="121195" y="1075132"/>
                        <a:ext cx="4054508" cy="1213995"/>
                      </a:xfrm>
                      <a:prstGeom prst="rect">
                        <a:avLst/>
                      </a:prstGeom>
                    </p:spPr>
                  </p:pic>
                </p:oleObj>
              </mc:Fallback>
            </mc:AlternateContent>
          </a:graphicData>
        </a:graphic>
      </p:graphicFrame>
      <p:graphicFrame>
        <p:nvGraphicFramePr>
          <p:cNvPr id="26" name="Object 25">
            <a:extLst>
              <a:ext uri="{FF2B5EF4-FFF2-40B4-BE49-F238E27FC236}">
                <a16:creationId xmlns:a16="http://schemas.microsoft.com/office/drawing/2014/main" id="{6F5A7FC1-7762-D3D2-B419-2E50A90E4DCD}"/>
              </a:ext>
            </a:extLst>
          </p:cNvPr>
          <p:cNvGraphicFramePr>
            <a:graphicFrameLocks noChangeAspect="1"/>
          </p:cNvGraphicFramePr>
          <p:nvPr>
            <p:extLst>
              <p:ext uri="{D42A27DB-BD31-4B8C-83A1-F6EECF244321}">
                <p14:modId xmlns:p14="http://schemas.microsoft.com/office/powerpoint/2010/main" val="2903005056"/>
              </p:ext>
            </p:extLst>
          </p:nvPr>
        </p:nvGraphicFramePr>
        <p:xfrm>
          <a:off x="4791911" y="1075132"/>
          <a:ext cx="4108450" cy="1295400"/>
        </p:xfrm>
        <a:graphic>
          <a:graphicData uri="http://schemas.openxmlformats.org/presentationml/2006/ole">
            <mc:AlternateContent xmlns:mc="http://schemas.openxmlformats.org/markup-compatibility/2006">
              <mc:Choice xmlns:v="urn:schemas-microsoft-com:vml" Requires="v">
                <p:oleObj name="Worksheet" r:id="rId6" imgW="4108543" imgH="1295400" progId="Excel.Sheet.12">
                  <p:embed/>
                </p:oleObj>
              </mc:Choice>
              <mc:Fallback>
                <p:oleObj name="Worksheet" r:id="rId6" imgW="4108543" imgH="1295400" progId="Excel.Sheet.12">
                  <p:embed/>
                  <p:pic>
                    <p:nvPicPr>
                      <p:cNvPr id="26" name="Object 25">
                        <a:extLst>
                          <a:ext uri="{FF2B5EF4-FFF2-40B4-BE49-F238E27FC236}">
                            <a16:creationId xmlns:a16="http://schemas.microsoft.com/office/drawing/2014/main" id="{6F5A7FC1-7762-D3D2-B419-2E50A90E4DCD}"/>
                          </a:ext>
                        </a:extLst>
                      </p:cNvPr>
                      <p:cNvPicPr/>
                      <p:nvPr/>
                    </p:nvPicPr>
                    <p:blipFill>
                      <a:blip r:embed="rId7"/>
                      <a:stretch>
                        <a:fillRect/>
                      </a:stretch>
                    </p:blipFill>
                    <p:spPr>
                      <a:xfrm>
                        <a:off x="4791911" y="1075132"/>
                        <a:ext cx="4108450" cy="1295400"/>
                      </a:xfrm>
                      <a:prstGeom prst="rect">
                        <a:avLst/>
                      </a:prstGeom>
                    </p:spPr>
                  </p:pic>
                </p:oleObj>
              </mc:Fallback>
            </mc:AlternateContent>
          </a:graphicData>
        </a:graphic>
      </p:graphicFrame>
    </p:spTree>
    <p:extLst>
      <p:ext uri="{BB962C8B-B14F-4D97-AF65-F5344CB8AC3E}">
        <p14:creationId xmlns:p14="http://schemas.microsoft.com/office/powerpoint/2010/main" val="90981128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50000"/>
          </a:schemeClr>
        </a:solidFill>
        <a:effectLst/>
      </p:bgPr>
    </p:bg>
    <p:spTree>
      <p:nvGrpSpPr>
        <p:cNvPr id="1" name="">
          <a:extLst>
            <a:ext uri="{FF2B5EF4-FFF2-40B4-BE49-F238E27FC236}">
              <a16:creationId xmlns:a16="http://schemas.microsoft.com/office/drawing/2014/main" id="{9020C308-599C-F066-F548-35BC24D724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97B992-77BF-2245-F619-80A579C1294B}"/>
              </a:ext>
            </a:extLst>
          </p:cNvPr>
          <p:cNvSpPr>
            <a:spLocks noGrp="1"/>
          </p:cNvSpPr>
          <p:nvPr>
            <p:ph type="title"/>
          </p:nvPr>
        </p:nvSpPr>
        <p:spPr>
          <a:xfrm>
            <a:off x="1243966" y="1303"/>
            <a:ext cx="5530545" cy="318549"/>
          </a:xfrm>
        </p:spPr>
        <p:txBody>
          <a:bodyPr/>
          <a:lstStyle/>
          <a:p>
            <a:pPr marL="8637" algn="ctr">
              <a:spcBef>
                <a:spcPts val="68"/>
              </a:spcBef>
            </a:pPr>
            <a:r>
              <a:rPr lang="en-GB" sz="1800" dirty="0">
                <a:solidFill>
                  <a:schemeClr val="tx1"/>
                </a:solidFill>
                <a:latin typeface="Century Gothic" panose="020B0502020202020204" pitchFamily="34" charset="0"/>
              </a:rPr>
              <a:t>Efforts towards Cash Displacement</a:t>
            </a:r>
          </a:p>
        </p:txBody>
      </p:sp>
      <p:sp>
        <p:nvSpPr>
          <p:cNvPr id="5" name="Title 9">
            <a:extLst>
              <a:ext uri="{FF2B5EF4-FFF2-40B4-BE49-F238E27FC236}">
                <a16:creationId xmlns:a16="http://schemas.microsoft.com/office/drawing/2014/main" id="{A9F2B56A-F9D5-686D-A31F-FAFBC0B36636}"/>
              </a:ext>
            </a:extLst>
          </p:cNvPr>
          <p:cNvSpPr txBox="1">
            <a:spLocks/>
          </p:cNvSpPr>
          <p:nvPr/>
        </p:nvSpPr>
        <p:spPr>
          <a:xfrm>
            <a:off x="-27946" y="6575"/>
            <a:ext cx="634039" cy="3416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latin typeface="Century Gothic "/>
              </a:rPr>
              <a:t>28.</a:t>
            </a:r>
          </a:p>
        </p:txBody>
      </p:sp>
      <p:sp>
        <p:nvSpPr>
          <p:cNvPr id="9" name="TextBox 8">
            <a:extLst>
              <a:ext uri="{FF2B5EF4-FFF2-40B4-BE49-F238E27FC236}">
                <a16:creationId xmlns:a16="http://schemas.microsoft.com/office/drawing/2014/main" id="{E5A54427-C823-12D0-ABED-464FD20D4742}"/>
              </a:ext>
            </a:extLst>
          </p:cNvPr>
          <p:cNvSpPr txBox="1"/>
          <p:nvPr/>
        </p:nvSpPr>
        <p:spPr>
          <a:xfrm>
            <a:off x="2088205" y="761647"/>
            <a:ext cx="3871608" cy="307777"/>
          </a:xfrm>
          <a:prstGeom prst="rect">
            <a:avLst/>
          </a:prstGeom>
          <a:solidFill>
            <a:schemeClr val="tx1"/>
          </a:solidFill>
        </p:spPr>
        <p:txBody>
          <a:bodyPr wrap="square" rtlCol="0">
            <a:spAutoFit/>
          </a:bodyPr>
          <a:lstStyle/>
          <a:p>
            <a:pPr algn="ctr"/>
            <a:r>
              <a:rPr lang="en-US" b="1" dirty="0">
                <a:solidFill>
                  <a:schemeClr val="bg1"/>
                </a:solidFill>
                <a:latin typeface="Century Gothic" panose="020B0502020202020204" pitchFamily="34" charset="0"/>
              </a:rPr>
              <a:t>Currency in circulation %, 2011 to 2024</a:t>
            </a:r>
          </a:p>
        </p:txBody>
      </p:sp>
      <p:graphicFrame>
        <p:nvGraphicFramePr>
          <p:cNvPr id="6" name="Chart 5">
            <a:extLst>
              <a:ext uri="{FF2B5EF4-FFF2-40B4-BE49-F238E27FC236}">
                <a16:creationId xmlns:a16="http://schemas.microsoft.com/office/drawing/2014/main" id="{DEA4E256-A2B5-5352-5582-F0E6B6D9F84F}"/>
              </a:ext>
            </a:extLst>
          </p:cNvPr>
          <p:cNvGraphicFramePr>
            <a:graphicFrameLocks/>
          </p:cNvGraphicFramePr>
          <p:nvPr>
            <p:extLst>
              <p:ext uri="{D42A27DB-BD31-4B8C-83A1-F6EECF244321}">
                <p14:modId xmlns:p14="http://schemas.microsoft.com/office/powerpoint/2010/main" val="329661693"/>
              </p:ext>
            </p:extLst>
          </p:nvPr>
        </p:nvGraphicFramePr>
        <p:xfrm>
          <a:off x="714895" y="1436298"/>
          <a:ext cx="7930341" cy="304935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961A34BC-6EEC-B282-6D52-D1DEF307E5C7}"/>
              </a:ext>
            </a:extLst>
          </p:cNvPr>
          <p:cNvSpPr txBox="1"/>
          <p:nvPr/>
        </p:nvSpPr>
        <p:spPr>
          <a:xfrm>
            <a:off x="1342216" y="4485653"/>
            <a:ext cx="6459568" cy="219291"/>
          </a:xfrm>
          <a:prstGeom prst="rect">
            <a:avLst/>
          </a:prstGeom>
          <a:noFill/>
        </p:spPr>
        <p:txBody>
          <a:bodyPr wrap="square" rtlCol="0">
            <a:spAutoFit/>
          </a:bodyPr>
          <a:lstStyle/>
          <a:p>
            <a:r>
              <a:rPr lang="en-US" sz="825" i="1">
                <a:latin typeface="Century Gothic" panose="020B0502020202020204" pitchFamily="34" charset="0"/>
              </a:rPr>
              <a:t>Source Central Bank of Kenya,  2024 Nominal GDP is a CBK Projection, KNBS will release official statistics later in April 2025</a:t>
            </a:r>
          </a:p>
        </p:txBody>
      </p:sp>
      <p:pic>
        <p:nvPicPr>
          <p:cNvPr id="4" name="Picture 3">
            <a:extLst>
              <a:ext uri="{FF2B5EF4-FFF2-40B4-BE49-F238E27FC236}">
                <a16:creationId xmlns:a16="http://schemas.microsoft.com/office/drawing/2014/main" id="{25E83900-395B-1386-B621-D0BBDD90BDDE}"/>
              </a:ext>
            </a:extLst>
          </p:cNvPr>
          <p:cNvPicPr>
            <a:picLocks noChangeAspect="1"/>
          </p:cNvPicPr>
          <p:nvPr/>
        </p:nvPicPr>
        <p:blipFill>
          <a:blip r:embed="rId4"/>
          <a:stretch>
            <a:fillRect/>
          </a:stretch>
        </p:blipFill>
        <p:spPr>
          <a:xfrm>
            <a:off x="8585083" y="-103759"/>
            <a:ext cx="580394" cy="457618"/>
          </a:xfrm>
          <a:prstGeom prst="rect">
            <a:avLst/>
          </a:prstGeom>
        </p:spPr>
      </p:pic>
      <p:cxnSp>
        <p:nvCxnSpPr>
          <p:cNvPr id="8" name="Straight Connector 7">
            <a:extLst>
              <a:ext uri="{FF2B5EF4-FFF2-40B4-BE49-F238E27FC236}">
                <a16:creationId xmlns:a16="http://schemas.microsoft.com/office/drawing/2014/main" id="{A8D58C24-1F98-4B3F-EC2E-C85E98F465FB}"/>
              </a:ext>
            </a:extLst>
          </p:cNvPr>
          <p:cNvCxnSpPr>
            <a:cxnSpLocks/>
          </p:cNvCxnSpPr>
          <p:nvPr/>
        </p:nvCxnSpPr>
        <p:spPr>
          <a:xfrm>
            <a:off x="-15874" y="363994"/>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851452161"/>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a:extLst>
            <a:ext uri="{FF2B5EF4-FFF2-40B4-BE49-F238E27FC236}">
              <a16:creationId xmlns:a16="http://schemas.microsoft.com/office/drawing/2014/main" id="{AF868FAC-1CB6-BE4A-9C2D-1000867A0C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8BD6B7-E749-8252-B4BA-AFBDA105BCC4}"/>
              </a:ext>
            </a:extLst>
          </p:cNvPr>
          <p:cNvSpPr>
            <a:spLocks noGrp="1"/>
          </p:cNvSpPr>
          <p:nvPr>
            <p:ph type="title"/>
          </p:nvPr>
        </p:nvSpPr>
        <p:spPr>
          <a:xfrm>
            <a:off x="725756" y="-37658"/>
            <a:ext cx="7068300" cy="396300"/>
          </a:xfrm>
        </p:spPr>
        <p:txBody>
          <a:bodyPr/>
          <a:lstStyle/>
          <a:p>
            <a:pPr algn="ctr"/>
            <a:r>
              <a:rPr lang="en-GB" sz="2000" b="1">
                <a:solidFill>
                  <a:schemeClr val="tx1"/>
                </a:solidFill>
                <a:latin typeface="Century Gothic" panose="020B0502020202020204" pitchFamily="34" charset="0"/>
              </a:rPr>
              <a:t>National Payments Strategy 2022-2025</a:t>
            </a:r>
          </a:p>
        </p:txBody>
      </p:sp>
      <p:pic>
        <p:nvPicPr>
          <p:cNvPr id="10" name="Picture 9">
            <a:extLst>
              <a:ext uri="{FF2B5EF4-FFF2-40B4-BE49-F238E27FC236}">
                <a16:creationId xmlns:a16="http://schemas.microsoft.com/office/drawing/2014/main" id="{55E666F3-9BE4-9BA0-E86A-A48F047B1BD3}"/>
              </a:ext>
            </a:extLst>
          </p:cNvPr>
          <p:cNvPicPr>
            <a:picLocks noChangeAspect="1"/>
          </p:cNvPicPr>
          <p:nvPr/>
        </p:nvPicPr>
        <p:blipFill>
          <a:blip r:embed="rId3"/>
          <a:stretch>
            <a:fillRect/>
          </a:stretch>
        </p:blipFill>
        <p:spPr>
          <a:xfrm>
            <a:off x="8587525" y="-57113"/>
            <a:ext cx="525855" cy="461513"/>
          </a:xfrm>
          <a:prstGeom prst="rect">
            <a:avLst/>
          </a:prstGeom>
        </p:spPr>
      </p:pic>
      <p:sp>
        <p:nvSpPr>
          <p:cNvPr id="4" name="Title 10">
            <a:extLst>
              <a:ext uri="{FF2B5EF4-FFF2-40B4-BE49-F238E27FC236}">
                <a16:creationId xmlns:a16="http://schemas.microsoft.com/office/drawing/2014/main" id="{873F7D9F-451F-BAE9-AE4B-A73C502E5DC8}"/>
              </a:ext>
            </a:extLst>
          </p:cNvPr>
          <p:cNvSpPr txBox="1">
            <a:spLocks/>
          </p:cNvSpPr>
          <p:nvPr/>
        </p:nvSpPr>
        <p:spPr>
          <a:xfrm>
            <a:off x="-1" y="21568"/>
            <a:ext cx="565265" cy="33707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000" b="1" dirty="0">
                <a:solidFill>
                  <a:schemeClr val="tx1"/>
                </a:solidFill>
                <a:latin typeface="Century Gothic" panose="020B0502020202020204" pitchFamily="34" charset="0"/>
              </a:rPr>
              <a:t>2</a:t>
            </a:r>
            <a:r>
              <a:rPr lang="en-US" sz="1800" b="1" dirty="0">
                <a:solidFill>
                  <a:schemeClr val="tx1"/>
                </a:solidFill>
                <a:latin typeface="Century Gothic" panose="020B0502020202020204" pitchFamily="34" charset="0"/>
              </a:rPr>
              <a:t>.</a:t>
            </a:r>
          </a:p>
        </p:txBody>
      </p:sp>
      <p:pic>
        <p:nvPicPr>
          <p:cNvPr id="12" name="Picture 11">
            <a:extLst>
              <a:ext uri="{FF2B5EF4-FFF2-40B4-BE49-F238E27FC236}">
                <a16:creationId xmlns:a16="http://schemas.microsoft.com/office/drawing/2014/main" id="{635BE341-8266-E35F-B1DE-8A4D7A96192B}"/>
              </a:ext>
            </a:extLst>
          </p:cNvPr>
          <p:cNvPicPr>
            <a:picLocks noChangeAspect="1"/>
          </p:cNvPicPr>
          <p:nvPr/>
        </p:nvPicPr>
        <p:blipFill>
          <a:blip r:embed="rId4"/>
          <a:stretch>
            <a:fillRect/>
          </a:stretch>
        </p:blipFill>
        <p:spPr>
          <a:xfrm>
            <a:off x="4522122" y="646031"/>
            <a:ext cx="4065403" cy="4184223"/>
          </a:xfrm>
          <a:prstGeom prst="round2DiagRect">
            <a:avLst>
              <a:gd name="adj1" fmla="val 16667"/>
              <a:gd name="adj2" fmla="val 0"/>
            </a:avLst>
          </a:prstGeom>
          <a:ln w="88900" cap="sq">
            <a:solidFill>
              <a:schemeClr val="accent6">
                <a:lumMod val="60000"/>
                <a:lumOff val="40000"/>
              </a:schemeClr>
            </a:solidFill>
            <a:miter lim="800000"/>
          </a:ln>
          <a:effectLst>
            <a:outerShdw blurRad="254000" algn="tl" rotWithShape="0">
              <a:srgbClr val="000000">
                <a:alpha val="43000"/>
              </a:srgbClr>
            </a:outerShdw>
          </a:effectLst>
        </p:spPr>
      </p:pic>
      <p:sp>
        <p:nvSpPr>
          <p:cNvPr id="14" name="Flowchart: Sort 13">
            <a:extLst>
              <a:ext uri="{FF2B5EF4-FFF2-40B4-BE49-F238E27FC236}">
                <a16:creationId xmlns:a16="http://schemas.microsoft.com/office/drawing/2014/main" id="{66769BBE-5908-0D58-43E6-262E42F0B9F8}"/>
              </a:ext>
            </a:extLst>
          </p:cNvPr>
          <p:cNvSpPr/>
          <p:nvPr/>
        </p:nvSpPr>
        <p:spPr>
          <a:xfrm>
            <a:off x="0" y="541502"/>
            <a:ext cx="4422371" cy="4288752"/>
          </a:xfrm>
          <a:prstGeom prst="flowChartSor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C6EEB478-BDE0-A7B2-C3FD-E1444FBFD4EF}"/>
              </a:ext>
            </a:extLst>
          </p:cNvPr>
          <p:cNvSpPr txBox="1"/>
          <p:nvPr/>
        </p:nvSpPr>
        <p:spPr>
          <a:xfrm>
            <a:off x="1850769" y="1162945"/>
            <a:ext cx="892835" cy="369332"/>
          </a:xfrm>
          <a:prstGeom prst="rect">
            <a:avLst/>
          </a:prstGeom>
          <a:noFill/>
        </p:spPr>
        <p:txBody>
          <a:bodyPr wrap="square" rtlCol="0">
            <a:spAutoFit/>
          </a:bodyPr>
          <a:lstStyle/>
          <a:p>
            <a:r>
              <a:rPr lang="en-US" sz="1800" b="1">
                <a:solidFill>
                  <a:schemeClr val="tx1"/>
                </a:solidFill>
                <a:latin typeface="Century Gothic" panose="020B0502020202020204" pitchFamily="34" charset="0"/>
              </a:rPr>
              <a:t>Vision</a:t>
            </a:r>
          </a:p>
        </p:txBody>
      </p:sp>
      <p:sp>
        <p:nvSpPr>
          <p:cNvPr id="16" name="TextBox 15">
            <a:extLst>
              <a:ext uri="{FF2B5EF4-FFF2-40B4-BE49-F238E27FC236}">
                <a16:creationId xmlns:a16="http://schemas.microsoft.com/office/drawing/2014/main" id="{CA59A061-389F-ACE0-B10C-795461170292}"/>
              </a:ext>
            </a:extLst>
          </p:cNvPr>
          <p:cNvSpPr txBox="1"/>
          <p:nvPr/>
        </p:nvSpPr>
        <p:spPr>
          <a:xfrm>
            <a:off x="1030671" y="1556087"/>
            <a:ext cx="2533029" cy="1015663"/>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algn="ctr"/>
            <a:r>
              <a:rPr lang="en-US" sz="1200" b="1">
                <a:solidFill>
                  <a:schemeClr val="tx2">
                    <a:lumMod val="50000"/>
                  </a:schemeClr>
                </a:solidFill>
                <a:latin typeface="Century Gothic" panose="020B0502020202020204" pitchFamily="34" charset="0"/>
              </a:rPr>
              <a:t>A secure, fast, efficient and collaborative payments system that supports financial inclusion and innovations that benefit Kenyans</a:t>
            </a:r>
          </a:p>
        </p:txBody>
      </p:sp>
      <p:sp>
        <p:nvSpPr>
          <p:cNvPr id="17" name="TextBox 16">
            <a:extLst>
              <a:ext uri="{FF2B5EF4-FFF2-40B4-BE49-F238E27FC236}">
                <a16:creationId xmlns:a16="http://schemas.microsoft.com/office/drawing/2014/main" id="{4BF001D6-16C3-EBC9-5296-83036CA03216}"/>
              </a:ext>
            </a:extLst>
          </p:cNvPr>
          <p:cNvSpPr txBox="1"/>
          <p:nvPr/>
        </p:nvSpPr>
        <p:spPr>
          <a:xfrm>
            <a:off x="1518666" y="2738142"/>
            <a:ext cx="1557043" cy="1446550"/>
          </a:xfrm>
          <a:prstGeom prst="rect">
            <a:avLst/>
          </a:prstGeom>
          <a:noFill/>
        </p:spPr>
        <p:txBody>
          <a:bodyPr wrap="square" rtlCol="0">
            <a:spAutoFit/>
          </a:bodyPr>
          <a:lstStyle/>
          <a:p>
            <a:r>
              <a:rPr lang="en-US" sz="1800" b="1">
                <a:solidFill>
                  <a:schemeClr val="tx1"/>
                </a:solidFill>
                <a:latin typeface="Century Gothic" panose="020B0502020202020204" pitchFamily="34" charset="0"/>
              </a:rPr>
              <a:t>Principles</a:t>
            </a:r>
            <a:endParaRPr lang="en-GB" sz="1800" b="1" i="1">
              <a:solidFill>
                <a:schemeClr val="tx1"/>
              </a:solidFill>
              <a:latin typeface="Century Gothic" panose="020B0502020202020204" pitchFamily="34" charset="0"/>
            </a:endParaRPr>
          </a:p>
          <a:p>
            <a:pPr marL="285750" indent="-285750">
              <a:buFont typeface="Arial" panose="020B0604020202020204" pitchFamily="34" charset="0"/>
              <a:buChar char="•"/>
            </a:pPr>
            <a:r>
              <a:rPr lang="en-GB" b="1">
                <a:solidFill>
                  <a:schemeClr val="tx2">
                    <a:lumMod val="50000"/>
                  </a:schemeClr>
                </a:solidFill>
                <a:latin typeface="Century Gothic" panose="020B0502020202020204" pitchFamily="34" charset="0"/>
              </a:rPr>
              <a:t>Trust</a:t>
            </a:r>
          </a:p>
          <a:p>
            <a:pPr marL="285750" indent="-285750">
              <a:buFont typeface="Arial" panose="020B0604020202020204" pitchFamily="34" charset="0"/>
              <a:buChar char="•"/>
            </a:pPr>
            <a:r>
              <a:rPr lang="en-GB" b="1">
                <a:solidFill>
                  <a:schemeClr val="tx2">
                    <a:lumMod val="50000"/>
                  </a:schemeClr>
                </a:solidFill>
                <a:latin typeface="Century Gothic" panose="020B0502020202020204" pitchFamily="34" charset="0"/>
              </a:rPr>
              <a:t>Security</a:t>
            </a:r>
          </a:p>
          <a:p>
            <a:pPr marL="285750" indent="-285750">
              <a:buFont typeface="Arial" panose="020B0604020202020204" pitchFamily="34" charset="0"/>
              <a:buChar char="•"/>
            </a:pPr>
            <a:r>
              <a:rPr lang="en-GB" b="1">
                <a:solidFill>
                  <a:schemeClr val="tx2">
                    <a:lumMod val="50000"/>
                  </a:schemeClr>
                </a:solidFill>
                <a:latin typeface="Century Gothic" panose="020B0502020202020204" pitchFamily="34" charset="0"/>
              </a:rPr>
              <a:t>Usefulness</a:t>
            </a:r>
          </a:p>
          <a:p>
            <a:pPr marL="285750" indent="-285750">
              <a:buFont typeface="Arial" panose="020B0604020202020204" pitchFamily="34" charset="0"/>
              <a:buChar char="•"/>
            </a:pPr>
            <a:r>
              <a:rPr lang="en-GB" b="1">
                <a:solidFill>
                  <a:schemeClr val="tx2">
                    <a:lumMod val="50000"/>
                  </a:schemeClr>
                </a:solidFill>
                <a:latin typeface="Century Gothic" panose="020B0502020202020204" pitchFamily="34" charset="0"/>
              </a:rPr>
              <a:t>Choice</a:t>
            </a:r>
          </a:p>
          <a:p>
            <a:pPr marL="285750" indent="-285750">
              <a:buFont typeface="Arial" panose="020B0604020202020204" pitchFamily="34" charset="0"/>
              <a:buChar char="•"/>
            </a:pPr>
            <a:r>
              <a:rPr lang="en-GB" b="1">
                <a:solidFill>
                  <a:schemeClr val="tx2">
                    <a:lumMod val="50000"/>
                  </a:schemeClr>
                </a:solidFill>
                <a:latin typeface="Century Gothic" panose="020B0502020202020204" pitchFamily="34" charset="0"/>
              </a:rPr>
              <a:t>Innovation</a:t>
            </a:r>
            <a:endParaRPr lang="en-US" b="1">
              <a:solidFill>
                <a:schemeClr val="tx2">
                  <a:lumMod val="50000"/>
                </a:schemeClr>
              </a:solidFill>
              <a:latin typeface="Century Gothic" panose="020B0502020202020204" pitchFamily="34" charset="0"/>
            </a:endParaRPr>
          </a:p>
        </p:txBody>
      </p:sp>
      <p:cxnSp>
        <p:nvCxnSpPr>
          <p:cNvPr id="7" name="Straight Connector 6">
            <a:extLst>
              <a:ext uri="{FF2B5EF4-FFF2-40B4-BE49-F238E27FC236}">
                <a16:creationId xmlns:a16="http://schemas.microsoft.com/office/drawing/2014/main" id="{8AD5607C-2E9C-1149-4E9C-EBD85F7A7065}"/>
              </a:ext>
            </a:extLst>
          </p:cNvPr>
          <p:cNvCxnSpPr>
            <a:cxnSpLocks/>
          </p:cNvCxnSpPr>
          <p:nvPr/>
        </p:nvCxnSpPr>
        <p:spPr>
          <a:xfrm>
            <a:off x="30620" y="422547"/>
            <a:ext cx="911338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4538208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50000"/>
          </a:schemeClr>
        </a:solidFill>
        <a:effectLst/>
      </p:bgPr>
    </p:bg>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57A1D71-3BC9-404C-9AC0-99544400E972}"/>
              </a:ext>
            </a:extLst>
          </p:cNvPr>
          <p:cNvSpPr txBox="1"/>
          <p:nvPr/>
        </p:nvSpPr>
        <p:spPr>
          <a:xfrm>
            <a:off x="486383" y="15081"/>
            <a:ext cx="8210145" cy="316498"/>
          </a:xfrm>
          <a:prstGeom prst="rect">
            <a:avLst/>
          </a:prstGeom>
        </p:spPr>
        <p:txBody>
          <a:bodyPr vert="horz" wrap="square" lIns="0" tIns="8637" rIns="0" bIns="0" rtlCol="0">
            <a:spAutoFit/>
          </a:bodyPr>
          <a:lstStyle/>
          <a:p>
            <a:pPr marL="8637" algn="ctr">
              <a:spcBef>
                <a:spcPts val="68"/>
              </a:spcBef>
            </a:pPr>
            <a:r>
              <a:rPr lang="en-US" sz="2000" b="1" dirty="0">
                <a:solidFill>
                  <a:schemeClr val="tx1"/>
                </a:solidFill>
                <a:latin typeface="Century Gothic" panose="020B0502020202020204" pitchFamily="34" charset="0"/>
                <a:cs typeface="Century Gothic"/>
              </a:rPr>
              <a:t>(a) Measure of the extent of how, Kenyan economy is digitized</a:t>
            </a:r>
          </a:p>
        </p:txBody>
      </p:sp>
      <p:sp>
        <p:nvSpPr>
          <p:cNvPr id="7" name="TextBox 6">
            <a:extLst>
              <a:ext uri="{FF2B5EF4-FFF2-40B4-BE49-F238E27FC236}">
                <a16:creationId xmlns:a16="http://schemas.microsoft.com/office/drawing/2014/main" id="{E1CDFF29-08AF-458C-ABD1-759149DAC4FB}"/>
              </a:ext>
            </a:extLst>
          </p:cNvPr>
          <p:cNvSpPr txBox="1"/>
          <p:nvPr/>
        </p:nvSpPr>
        <p:spPr>
          <a:xfrm>
            <a:off x="5212525" y="4591725"/>
            <a:ext cx="4006735" cy="280718"/>
          </a:xfrm>
          <a:prstGeom prst="rect">
            <a:avLst/>
          </a:prstGeom>
          <a:noFill/>
        </p:spPr>
        <p:txBody>
          <a:bodyPr wrap="square">
            <a:spAutoFit/>
          </a:bodyPr>
          <a:lstStyle/>
          <a:p>
            <a:r>
              <a:rPr lang="en-US" sz="952" i="1">
                <a:latin typeface="Abadi" panose="020B0604020104020204" pitchFamily="34" charset="0"/>
              </a:rPr>
              <a:t>Source: </a:t>
            </a:r>
            <a:r>
              <a:rPr lang="en-US" sz="952" i="1">
                <a:latin typeface="Abadi" panose="020B0604020104020204" pitchFamily="34" charset="0"/>
                <a:ea typeface="Calibri" panose="020F0502020204030204" pitchFamily="34" charset="0"/>
              </a:rPr>
              <a:t>IMF statistics</a:t>
            </a:r>
            <a:r>
              <a:rPr lang="en-US" sz="1224">
                <a:latin typeface="Calibri" panose="020F0502020204030204" pitchFamily="34" charset="0"/>
                <a:ea typeface="Calibri" panose="020F0502020204030204" pitchFamily="34" charset="0"/>
              </a:rPr>
              <a:t>.</a:t>
            </a:r>
            <a:endParaRPr lang="en-US" sz="952"/>
          </a:p>
        </p:txBody>
      </p:sp>
      <p:pic>
        <p:nvPicPr>
          <p:cNvPr id="2" name="Picture 1">
            <a:extLst>
              <a:ext uri="{FF2B5EF4-FFF2-40B4-BE49-F238E27FC236}">
                <a16:creationId xmlns:a16="http://schemas.microsoft.com/office/drawing/2014/main" id="{5950357B-5052-E79A-AEB8-F4565EFF3ACD}"/>
              </a:ext>
            </a:extLst>
          </p:cNvPr>
          <p:cNvPicPr>
            <a:picLocks noChangeAspect="1"/>
          </p:cNvPicPr>
          <p:nvPr/>
        </p:nvPicPr>
        <p:blipFill>
          <a:blip r:embed="rId3"/>
          <a:stretch>
            <a:fillRect/>
          </a:stretch>
        </p:blipFill>
        <p:spPr>
          <a:xfrm>
            <a:off x="8651132" y="-55458"/>
            <a:ext cx="489395" cy="387822"/>
          </a:xfrm>
          <a:prstGeom prst="rect">
            <a:avLst/>
          </a:prstGeom>
        </p:spPr>
      </p:pic>
      <p:sp>
        <p:nvSpPr>
          <p:cNvPr id="4" name="Title 10">
            <a:extLst>
              <a:ext uri="{FF2B5EF4-FFF2-40B4-BE49-F238E27FC236}">
                <a16:creationId xmlns:a16="http://schemas.microsoft.com/office/drawing/2014/main" id="{2DAB5216-5BD7-B848-51B3-67FB2DE402C8}"/>
              </a:ext>
            </a:extLst>
          </p:cNvPr>
          <p:cNvSpPr txBox="1">
            <a:spLocks/>
          </p:cNvSpPr>
          <p:nvPr/>
        </p:nvSpPr>
        <p:spPr>
          <a:xfrm>
            <a:off x="9957" y="-3032"/>
            <a:ext cx="60035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904" b="1" dirty="0">
                <a:solidFill>
                  <a:schemeClr val="tx1"/>
                </a:solidFill>
                <a:latin typeface="Century Gothic" panose="020B0502020202020204" pitchFamily="34" charset="0"/>
              </a:rPr>
              <a:t>29.</a:t>
            </a:r>
          </a:p>
        </p:txBody>
      </p:sp>
      <p:graphicFrame>
        <p:nvGraphicFramePr>
          <p:cNvPr id="9" name="Chart 8">
            <a:extLst>
              <a:ext uri="{FF2B5EF4-FFF2-40B4-BE49-F238E27FC236}">
                <a16:creationId xmlns:a16="http://schemas.microsoft.com/office/drawing/2014/main" id="{C5AC269E-E3BB-3F7B-B80C-E7A3FCE33B81}"/>
              </a:ext>
            </a:extLst>
          </p:cNvPr>
          <p:cNvGraphicFramePr>
            <a:graphicFrameLocks/>
          </p:cNvGraphicFramePr>
          <p:nvPr>
            <p:extLst>
              <p:ext uri="{D42A27DB-BD31-4B8C-83A1-F6EECF244321}">
                <p14:modId xmlns:p14="http://schemas.microsoft.com/office/powerpoint/2010/main" val="4273974023"/>
              </p:ext>
            </p:extLst>
          </p:nvPr>
        </p:nvGraphicFramePr>
        <p:xfrm>
          <a:off x="51747" y="852493"/>
          <a:ext cx="4637809" cy="3458988"/>
        </p:xfrm>
        <a:graphic>
          <a:graphicData uri="http://schemas.openxmlformats.org/drawingml/2006/chart">
            <c:chart xmlns:c="http://schemas.openxmlformats.org/drawingml/2006/chart" xmlns:r="http://schemas.openxmlformats.org/officeDocument/2006/relationships" r:id="rId4"/>
          </a:graphicData>
        </a:graphic>
      </p:graphicFrame>
      <p:sp>
        <p:nvSpPr>
          <p:cNvPr id="12" name="Callout: Line 11">
            <a:extLst>
              <a:ext uri="{FF2B5EF4-FFF2-40B4-BE49-F238E27FC236}">
                <a16:creationId xmlns:a16="http://schemas.microsoft.com/office/drawing/2014/main" id="{7A72A236-BDFC-4BAA-7789-A09C39960634}"/>
              </a:ext>
            </a:extLst>
          </p:cNvPr>
          <p:cNvSpPr/>
          <p:nvPr/>
        </p:nvSpPr>
        <p:spPr>
          <a:xfrm>
            <a:off x="2158982" y="1431173"/>
            <a:ext cx="1113906" cy="383773"/>
          </a:xfrm>
          <a:prstGeom prst="borderCallout1">
            <a:avLst>
              <a:gd name="adj1" fmla="val 18750"/>
              <a:gd name="adj2" fmla="val -8333"/>
              <a:gd name="adj3" fmla="val 42325"/>
              <a:gd name="adj4" fmla="val -44529"/>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i="1">
                <a:solidFill>
                  <a:schemeClr val="tx1"/>
                </a:solidFill>
              </a:rPr>
              <a:t>Currency outside banks 1.8%</a:t>
            </a:r>
          </a:p>
        </p:txBody>
      </p:sp>
      <p:graphicFrame>
        <p:nvGraphicFramePr>
          <p:cNvPr id="8" name="Chart 7">
            <a:extLst>
              <a:ext uri="{FF2B5EF4-FFF2-40B4-BE49-F238E27FC236}">
                <a16:creationId xmlns:a16="http://schemas.microsoft.com/office/drawing/2014/main" id="{4CCC1585-DD47-01F6-830B-8304ABD46664}"/>
              </a:ext>
            </a:extLst>
          </p:cNvPr>
          <p:cNvGraphicFramePr>
            <a:graphicFrameLocks/>
          </p:cNvGraphicFramePr>
          <p:nvPr>
            <p:extLst>
              <p:ext uri="{D42A27DB-BD31-4B8C-83A1-F6EECF244321}">
                <p14:modId xmlns:p14="http://schemas.microsoft.com/office/powerpoint/2010/main" val="3214770240"/>
              </p:ext>
            </p:extLst>
          </p:nvPr>
        </p:nvGraphicFramePr>
        <p:xfrm>
          <a:off x="4856018" y="852493"/>
          <a:ext cx="4206690" cy="3458988"/>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91633CEB-9481-AE51-DDD9-09613597BA8F}"/>
              </a:ext>
            </a:extLst>
          </p:cNvPr>
          <p:cNvSpPr txBox="1"/>
          <p:nvPr/>
        </p:nvSpPr>
        <p:spPr>
          <a:xfrm>
            <a:off x="155615" y="4591725"/>
            <a:ext cx="4006735" cy="280718"/>
          </a:xfrm>
          <a:prstGeom prst="rect">
            <a:avLst/>
          </a:prstGeom>
          <a:noFill/>
        </p:spPr>
        <p:txBody>
          <a:bodyPr wrap="square">
            <a:spAutoFit/>
          </a:bodyPr>
          <a:lstStyle/>
          <a:p>
            <a:r>
              <a:rPr lang="en-US" sz="952" i="1">
                <a:latin typeface="Abadi" panose="020B0604020104020204" pitchFamily="34" charset="0"/>
              </a:rPr>
              <a:t>Source: </a:t>
            </a:r>
            <a:r>
              <a:rPr lang="en-US" sz="952" i="1">
                <a:latin typeface="Abadi" panose="020B0604020104020204" pitchFamily="34" charset="0"/>
                <a:ea typeface="Calibri" panose="020F0502020204030204" pitchFamily="34" charset="0"/>
              </a:rPr>
              <a:t>IMF statistics</a:t>
            </a:r>
            <a:r>
              <a:rPr lang="en-US" sz="1224">
                <a:latin typeface="Calibri" panose="020F0502020204030204" pitchFamily="34" charset="0"/>
                <a:ea typeface="Calibri" panose="020F0502020204030204" pitchFamily="34" charset="0"/>
              </a:rPr>
              <a:t>.</a:t>
            </a:r>
            <a:endParaRPr lang="en-US" sz="952"/>
          </a:p>
        </p:txBody>
      </p:sp>
      <p:cxnSp>
        <p:nvCxnSpPr>
          <p:cNvPr id="3" name="Straight Connector 2">
            <a:extLst>
              <a:ext uri="{FF2B5EF4-FFF2-40B4-BE49-F238E27FC236}">
                <a16:creationId xmlns:a16="http://schemas.microsoft.com/office/drawing/2014/main" id="{6ED9D9C1-E34F-D2FE-D3E2-54C00E877F22}"/>
              </a:ext>
            </a:extLst>
          </p:cNvPr>
          <p:cNvCxnSpPr>
            <a:cxnSpLocks/>
          </p:cNvCxnSpPr>
          <p:nvPr/>
        </p:nvCxnSpPr>
        <p:spPr>
          <a:xfrm>
            <a:off x="15903" y="365635"/>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128357916"/>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alpha val="50000"/>
          </a:schemeClr>
        </a:solidFill>
        <a:effectLst/>
      </p:bgPr>
    </p:bg>
    <p:spTree>
      <p:nvGrpSpPr>
        <p:cNvPr id="1" name="">
          <a:extLst>
            <a:ext uri="{FF2B5EF4-FFF2-40B4-BE49-F238E27FC236}">
              <a16:creationId xmlns:a16="http://schemas.microsoft.com/office/drawing/2014/main" id="{28E96482-E41E-4022-114B-FC30479C498F}"/>
            </a:ext>
          </a:extLst>
        </p:cNvPr>
        <p:cNvGrpSpPr/>
        <p:nvPr/>
      </p:nvGrpSpPr>
      <p:grpSpPr>
        <a:xfrm>
          <a:off x="0" y="0"/>
          <a:ext cx="0" cy="0"/>
          <a:chOff x="0" y="0"/>
          <a:chExt cx="0" cy="0"/>
        </a:xfrm>
      </p:grpSpPr>
      <p:sp>
        <p:nvSpPr>
          <p:cNvPr id="6" name="object 2">
            <a:extLst>
              <a:ext uri="{FF2B5EF4-FFF2-40B4-BE49-F238E27FC236}">
                <a16:creationId xmlns:a16="http://schemas.microsoft.com/office/drawing/2014/main" id="{FD51D98E-AE71-D128-A1B9-ADA8F4EC69ED}"/>
              </a:ext>
            </a:extLst>
          </p:cNvPr>
          <p:cNvSpPr txBox="1"/>
          <p:nvPr/>
        </p:nvSpPr>
        <p:spPr>
          <a:xfrm>
            <a:off x="561578" y="9048"/>
            <a:ext cx="7720225" cy="316498"/>
          </a:xfrm>
          <a:prstGeom prst="rect">
            <a:avLst/>
          </a:prstGeom>
        </p:spPr>
        <p:txBody>
          <a:bodyPr vert="horz" wrap="square" lIns="0" tIns="8637" rIns="0" bIns="0" rtlCol="0">
            <a:spAutoFit/>
          </a:bodyPr>
          <a:lstStyle/>
          <a:p>
            <a:pPr marL="8637">
              <a:spcBef>
                <a:spcPts val="68"/>
              </a:spcBef>
            </a:pPr>
            <a:r>
              <a:rPr lang="en-US" sz="2000" b="1" dirty="0">
                <a:solidFill>
                  <a:schemeClr val="tx1"/>
                </a:solidFill>
                <a:latin typeface="Century Gothic" panose="020B0502020202020204" pitchFamily="34" charset="0"/>
                <a:cs typeface="Century Gothic"/>
              </a:rPr>
              <a:t>(b) Measure of the extent of how, Kenyan economy is digitized</a:t>
            </a:r>
          </a:p>
        </p:txBody>
      </p:sp>
      <p:sp>
        <p:nvSpPr>
          <p:cNvPr id="7" name="TextBox 6">
            <a:extLst>
              <a:ext uri="{FF2B5EF4-FFF2-40B4-BE49-F238E27FC236}">
                <a16:creationId xmlns:a16="http://schemas.microsoft.com/office/drawing/2014/main" id="{0F4A39DC-0ACC-6CF2-EB8F-A3177A357E44}"/>
              </a:ext>
            </a:extLst>
          </p:cNvPr>
          <p:cNvSpPr txBox="1"/>
          <p:nvPr/>
        </p:nvSpPr>
        <p:spPr>
          <a:xfrm>
            <a:off x="5212525" y="4591725"/>
            <a:ext cx="4006735" cy="280718"/>
          </a:xfrm>
          <a:prstGeom prst="rect">
            <a:avLst/>
          </a:prstGeom>
          <a:noFill/>
        </p:spPr>
        <p:txBody>
          <a:bodyPr wrap="square">
            <a:spAutoFit/>
          </a:bodyPr>
          <a:lstStyle/>
          <a:p>
            <a:r>
              <a:rPr lang="en-US" sz="952" i="1">
                <a:latin typeface="Abadi" panose="020B0604020104020204" pitchFamily="34" charset="0"/>
              </a:rPr>
              <a:t>Source: </a:t>
            </a:r>
            <a:r>
              <a:rPr lang="en-US" sz="952" i="1">
                <a:latin typeface="Abadi" panose="020B0604020104020204" pitchFamily="34" charset="0"/>
                <a:ea typeface="Calibri" panose="020F0502020204030204" pitchFamily="34" charset="0"/>
              </a:rPr>
              <a:t>IMF statistics</a:t>
            </a:r>
            <a:r>
              <a:rPr lang="en-US" sz="1224">
                <a:latin typeface="Calibri" panose="020F0502020204030204" pitchFamily="34" charset="0"/>
                <a:ea typeface="Calibri" panose="020F0502020204030204" pitchFamily="34" charset="0"/>
              </a:rPr>
              <a:t>.</a:t>
            </a:r>
            <a:endParaRPr lang="en-US" sz="952"/>
          </a:p>
        </p:txBody>
      </p:sp>
      <p:pic>
        <p:nvPicPr>
          <p:cNvPr id="2" name="Picture 1">
            <a:extLst>
              <a:ext uri="{FF2B5EF4-FFF2-40B4-BE49-F238E27FC236}">
                <a16:creationId xmlns:a16="http://schemas.microsoft.com/office/drawing/2014/main" id="{5C9A9ACF-085C-4826-E0D9-9536D585B9F8}"/>
              </a:ext>
            </a:extLst>
          </p:cNvPr>
          <p:cNvPicPr>
            <a:picLocks noChangeAspect="1"/>
          </p:cNvPicPr>
          <p:nvPr/>
        </p:nvPicPr>
        <p:blipFill>
          <a:blip r:embed="rId3"/>
          <a:stretch>
            <a:fillRect/>
          </a:stretch>
        </p:blipFill>
        <p:spPr>
          <a:xfrm>
            <a:off x="8658248" y="-42489"/>
            <a:ext cx="482280" cy="382184"/>
          </a:xfrm>
          <a:prstGeom prst="rect">
            <a:avLst/>
          </a:prstGeom>
        </p:spPr>
      </p:pic>
      <p:sp>
        <p:nvSpPr>
          <p:cNvPr id="4" name="Title 10">
            <a:extLst>
              <a:ext uri="{FF2B5EF4-FFF2-40B4-BE49-F238E27FC236}">
                <a16:creationId xmlns:a16="http://schemas.microsoft.com/office/drawing/2014/main" id="{4EA3F300-C523-7261-3652-527B9ECE4488}"/>
              </a:ext>
            </a:extLst>
          </p:cNvPr>
          <p:cNvSpPr txBox="1">
            <a:spLocks/>
          </p:cNvSpPr>
          <p:nvPr/>
        </p:nvSpPr>
        <p:spPr>
          <a:xfrm>
            <a:off x="-3013" y="-9517"/>
            <a:ext cx="60035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904" b="1" dirty="0">
                <a:solidFill>
                  <a:schemeClr val="tx1"/>
                </a:solidFill>
                <a:latin typeface="Century Gothic" panose="020B0502020202020204" pitchFamily="34" charset="0"/>
              </a:rPr>
              <a:t>30.</a:t>
            </a:r>
          </a:p>
        </p:txBody>
      </p:sp>
      <p:sp>
        <p:nvSpPr>
          <p:cNvPr id="10" name="TextBox 9">
            <a:extLst>
              <a:ext uri="{FF2B5EF4-FFF2-40B4-BE49-F238E27FC236}">
                <a16:creationId xmlns:a16="http://schemas.microsoft.com/office/drawing/2014/main" id="{6313EFB4-9ACC-3C5B-AAD0-5290520A1A72}"/>
              </a:ext>
            </a:extLst>
          </p:cNvPr>
          <p:cNvSpPr txBox="1"/>
          <p:nvPr/>
        </p:nvSpPr>
        <p:spPr>
          <a:xfrm>
            <a:off x="155615" y="4591725"/>
            <a:ext cx="4006735" cy="280718"/>
          </a:xfrm>
          <a:prstGeom prst="rect">
            <a:avLst/>
          </a:prstGeom>
          <a:noFill/>
        </p:spPr>
        <p:txBody>
          <a:bodyPr wrap="square">
            <a:spAutoFit/>
          </a:bodyPr>
          <a:lstStyle/>
          <a:p>
            <a:r>
              <a:rPr lang="en-US" sz="952" i="1">
                <a:latin typeface="Abadi" panose="020B0604020104020204" pitchFamily="34" charset="0"/>
              </a:rPr>
              <a:t>Source: </a:t>
            </a:r>
            <a:r>
              <a:rPr lang="en-US" sz="952" i="1">
                <a:latin typeface="Abadi" panose="020B0604020104020204" pitchFamily="34" charset="0"/>
                <a:ea typeface="Calibri" panose="020F0502020204030204" pitchFamily="34" charset="0"/>
              </a:rPr>
              <a:t>IMF statistics</a:t>
            </a:r>
            <a:r>
              <a:rPr lang="en-US" sz="1224">
                <a:latin typeface="Calibri" panose="020F0502020204030204" pitchFamily="34" charset="0"/>
                <a:ea typeface="Calibri" panose="020F0502020204030204" pitchFamily="34" charset="0"/>
              </a:rPr>
              <a:t>.</a:t>
            </a:r>
            <a:endParaRPr lang="en-US" sz="952"/>
          </a:p>
        </p:txBody>
      </p:sp>
      <p:pic>
        <p:nvPicPr>
          <p:cNvPr id="14" name="Picture 13">
            <a:extLst>
              <a:ext uri="{FF2B5EF4-FFF2-40B4-BE49-F238E27FC236}">
                <a16:creationId xmlns:a16="http://schemas.microsoft.com/office/drawing/2014/main" id="{F918FEFC-B765-3FDA-D453-C897451064C6}"/>
              </a:ext>
            </a:extLst>
          </p:cNvPr>
          <p:cNvPicPr>
            <a:picLocks noChangeAspect="1"/>
          </p:cNvPicPr>
          <p:nvPr/>
        </p:nvPicPr>
        <p:blipFill>
          <a:blip r:embed="rId4"/>
          <a:stretch>
            <a:fillRect/>
          </a:stretch>
        </p:blipFill>
        <p:spPr>
          <a:xfrm>
            <a:off x="81292" y="2511859"/>
            <a:ext cx="8912498" cy="1859790"/>
          </a:xfrm>
          <a:prstGeom prst="rect">
            <a:avLst/>
          </a:prstGeom>
        </p:spPr>
      </p:pic>
      <p:sp>
        <p:nvSpPr>
          <p:cNvPr id="3" name="TextBox 2">
            <a:extLst>
              <a:ext uri="{FF2B5EF4-FFF2-40B4-BE49-F238E27FC236}">
                <a16:creationId xmlns:a16="http://schemas.microsoft.com/office/drawing/2014/main" id="{EAF9FB9B-BC67-C16F-B3C4-88D656B35E5B}"/>
              </a:ext>
            </a:extLst>
          </p:cNvPr>
          <p:cNvSpPr txBox="1"/>
          <p:nvPr/>
        </p:nvSpPr>
        <p:spPr>
          <a:xfrm>
            <a:off x="81292" y="900093"/>
            <a:ext cx="4205950" cy="1492716"/>
          </a:xfrm>
          <a:prstGeom prst="rect">
            <a:avLst/>
          </a:prstGeom>
          <a:solidFill>
            <a:schemeClr val="bg1"/>
          </a:solidFill>
        </p:spPr>
        <p:txBody>
          <a:bodyPr wrap="square" rtlCol="0">
            <a:spAutoFit/>
          </a:bodyPr>
          <a:lstStyle/>
          <a:p>
            <a:r>
              <a:rPr lang="en-US" sz="1300"/>
              <a:t>Kenya's currency in circulation is low and stable at about 3% of GDP, indicating strong digital transformation. Compared to East African Community (EAC) countries e.g., Uganda and Tanzania Kenya's decline reflects reduced dependence on cash, largely due to widespread use of mobile money (e.g., M-Pesa).</a:t>
            </a:r>
          </a:p>
        </p:txBody>
      </p:sp>
      <p:sp>
        <p:nvSpPr>
          <p:cNvPr id="12" name="TextBox 11">
            <a:extLst>
              <a:ext uri="{FF2B5EF4-FFF2-40B4-BE49-F238E27FC236}">
                <a16:creationId xmlns:a16="http://schemas.microsoft.com/office/drawing/2014/main" id="{B69F687A-3659-B235-B3A1-C72C82E50B4C}"/>
              </a:ext>
            </a:extLst>
          </p:cNvPr>
          <p:cNvSpPr txBox="1"/>
          <p:nvPr/>
        </p:nvSpPr>
        <p:spPr>
          <a:xfrm>
            <a:off x="977212" y="558358"/>
            <a:ext cx="1371133" cy="307777"/>
          </a:xfrm>
          <a:prstGeom prst="rect">
            <a:avLst/>
          </a:prstGeom>
          <a:solidFill>
            <a:schemeClr val="accent6">
              <a:lumMod val="40000"/>
              <a:lumOff val="60000"/>
            </a:schemeClr>
          </a:solidFill>
        </p:spPr>
        <p:txBody>
          <a:bodyPr wrap="square" rtlCol="0">
            <a:spAutoFit/>
          </a:bodyPr>
          <a:lstStyle/>
          <a:p>
            <a:r>
              <a:rPr lang="en-US" dirty="0"/>
              <a:t> </a:t>
            </a:r>
            <a:r>
              <a:rPr lang="en-US" b="1" dirty="0">
                <a:solidFill>
                  <a:schemeClr val="bg1"/>
                </a:solidFill>
                <a:latin typeface="Century Gothic" panose="020B0502020202020204" pitchFamily="34" charset="0"/>
              </a:rPr>
              <a:t>EAST AFRICA</a:t>
            </a:r>
          </a:p>
        </p:txBody>
      </p:sp>
      <p:sp>
        <p:nvSpPr>
          <p:cNvPr id="13" name="TextBox 12">
            <a:extLst>
              <a:ext uri="{FF2B5EF4-FFF2-40B4-BE49-F238E27FC236}">
                <a16:creationId xmlns:a16="http://schemas.microsoft.com/office/drawing/2014/main" id="{060976C9-74EC-E9DC-49EF-F8DDAC8A22BD}"/>
              </a:ext>
            </a:extLst>
          </p:cNvPr>
          <p:cNvSpPr txBox="1"/>
          <p:nvPr/>
        </p:nvSpPr>
        <p:spPr>
          <a:xfrm>
            <a:off x="5956273" y="620254"/>
            <a:ext cx="1164963" cy="307777"/>
          </a:xfrm>
          <a:prstGeom prst="rect">
            <a:avLst/>
          </a:prstGeom>
          <a:solidFill>
            <a:schemeClr val="accent6">
              <a:lumMod val="40000"/>
              <a:lumOff val="60000"/>
            </a:schemeClr>
          </a:solidFill>
        </p:spPr>
        <p:txBody>
          <a:bodyPr wrap="square" rtlCol="0">
            <a:spAutoFit/>
          </a:bodyPr>
          <a:lstStyle/>
          <a:p>
            <a:r>
              <a:rPr lang="en-US" dirty="0">
                <a:solidFill>
                  <a:schemeClr val="bg1"/>
                </a:solidFill>
              </a:rPr>
              <a:t> </a:t>
            </a:r>
            <a:r>
              <a:rPr lang="en-US" b="1" dirty="0">
                <a:solidFill>
                  <a:schemeClr val="bg1"/>
                </a:solidFill>
                <a:latin typeface="Century Gothic" panose="020B0502020202020204" pitchFamily="34" charset="0"/>
              </a:rPr>
              <a:t>GLOBALLY</a:t>
            </a:r>
          </a:p>
        </p:txBody>
      </p:sp>
      <p:sp>
        <p:nvSpPr>
          <p:cNvPr id="17" name="TextBox 16">
            <a:extLst>
              <a:ext uri="{FF2B5EF4-FFF2-40B4-BE49-F238E27FC236}">
                <a16:creationId xmlns:a16="http://schemas.microsoft.com/office/drawing/2014/main" id="{7665A7BC-7DD3-08A8-6B14-73909D78257C}"/>
              </a:ext>
            </a:extLst>
          </p:cNvPr>
          <p:cNvSpPr txBox="1"/>
          <p:nvPr/>
        </p:nvSpPr>
        <p:spPr>
          <a:xfrm>
            <a:off x="4530791" y="953954"/>
            <a:ext cx="4500536" cy="1384995"/>
          </a:xfrm>
          <a:prstGeom prst="rect">
            <a:avLst/>
          </a:prstGeom>
          <a:solidFill>
            <a:schemeClr val="bg1"/>
          </a:solidFill>
        </p:spPr>
        <p:txBody>
          <a:bodyPr wrap="square">
            <a:spAutoFit/>
          </a:bodyPr>
          <a:lstStyle/>
          <a:p>
            <a:r>
              <a:rPr lang="en-US"/>
              <a:t>Kenya is notable globally for its highly digitized monetary system, despite being an emerging market. Compared to China, India, and the U.S., which still have higher currency-to-GDP ratios due to size and cultural factors, Kenya’s shift is uniquely mobile-driven and grassroots</a:t>
            </a:r>
            <a:r>
              <a:rPr lang="en-US" sz="1200"/>
              <a:t>. </a:t>
            </a:r>
          </a:p>
        </p:txBody>
      </p:sp>
      <p:cxnSp>
        <p:nvCxnSpPr>
          <p:cNvPr id="8" name="Straight Connector 7">
            <a:extLst>
              <a:ext uri="{FF2B5EF4-FFF2-40B4-BE49-F238E27FC236}">
                <a16:creationId xmlns:a16="http://schemas.microsoft.com/office/drawing/2014/main" id="{D9006615-1A67-A7F9-835D-15E5F359FE83}"/>
              </a:ext>
            </a:extLst>
          </p:cNvPr>
          <p:cNvCxnSpPr>
            <a:cxnSpLocks/>
          </p:cNvCxnSpPr>
          <p:nvPr/>
        </p:nvCxnSpPr>
        <p:spPr>
          <a:xfrm>
            <a:off x="15903" y="346180"/>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134146998"/>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16649-EA04-4E16-A1F0-CEB1297B5B05}"/>
              </a:ext>
            </a:extLst>
          </p:cNvPr>
          <p:cNvSpPr>
            <a:spLocks noGrp="1"/>
          </p:cNvSpPr>
          <p:nvPr>
            <p:ph type="title"/>
          </p:nvPr>
        </p:nvSpPr>
        <p:spPr>
          <a:xfrm>
            <a:off x="845722" y="43678"/>
            <a:ext cx="7191373" cy="334911"/>
          </a:xfrm>
        </p:spPr>
        <p:txBody>
          <a:bodyPr/>
          <a:lstStyle/>
          <a:p>
            <a:pPr algn="ctr"/>
            <a:r>
              <a:rPr lang="en-US" sz="2400" dirty="0">
                <a:solidFill>
                  <a:schemeClr val="tx1"/>
                </a:solidFill>
                <a:latin typeface="Century Gothic" panose="020B0502020202020204" pitchFamily="34" charset="0"/>
              </a:rPr>
              <a:t>Government </a:t>
            </a:r>
            <a:r>
              <a:rPr lang="en-US" sz="2800" dirty="0">
                <a:solidFill>
                  <a:schemeClr val="tx1"/>
                </a:solidFill>
                <a:latin typeface="Century Gothic" panose="020B0502020202020204" pitchFamily="34" charset="0"/>
              </a:rPr>
              <a:t>Payments</a:t>
            </a:r>
            <a:r>
              <a:rPr lang="en-US" sz="2400" dirty="0">
                <a:solidFill>
                  <a:schemeClr val="tx1"/>
                </a:solidFill>
                <a:latin typeface="Century Gothic" panose="020B0502020202020204" pitchFamily="34" charset="0"/>
              </a:rPr>
              <a:t> and Remittances</a:t>
            </a:r>
          </a:p>
        </p:txBody>
      </p:sp>
      <p:sp>
        <p:nvSpPr>
          <p:cNvPr id="6" name="Rectangle: Diagonal Corners Rounded 5">
            <a:extLst>
              <a:ext uri="{FF2B5EF4-FFF2-40B4-BE49-F238E27FC236}">
                <a16:creationId xmlns:a16="http://schemas.microsoft.com/office/drawing/2014/main" id="{2E3CD8D6-C80A-4241-9F01-564CE708B8D6}"/>
              </a:ext>
            </a:extLst>
          </p:cNvPr>
          <p:cNvSpPr/>
          <p:nvPr/>
        </p:nvSpPr>
        <p:spPr>
          <a:xfrm>
            <a:off x="1101245" y="1206950"/>
            <a:ext cx="3178814" cy="1423258"/>
          </a:xfrm>
          <a:prstGeom prst="round2DiagRect">
            <a:avLst>
              <a:gd name="adj1" fmla="val 41554"/>
              <a:gd name="adj2" fmla="val 0"/>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2800" b="1">
                <a:latin typeface="Century Gothic" panose="020B0502020202020204" pitchFamily="34" charset="0"/>
                <a:ea typeface="Source Sans Pro Light" panose="020B0403030403020204" pitchFamily="34" charset="0"/>
              </a:rPr>
              <a:t>Ksh.</a:t>
            </a:r>
            <a:r>
              <a:rPr lang="en-US" sz="2800" b="1">
                <a:solidFill>
                  <a:schemeClr val="bg1"/>
                </a:solidFill>
                <a:latin typeface="Century Gothic" panose="020B0502020202020204" pitchFamily="34" charset="0"/>
                <a:ea typeface="Source Sans Pro Light" panose="020B0403030403020204" pitchFamily="34" charset="0"/>
              </a:rPr>
              <a:t>2.50</a:t>
            </a:r>
            <a:r>
              <a:rPr lang="en-US" sz="2800" b="1">
                <a:latin typeface="Century Gothic" panose="020B0502020202020204" pitchFamily="34" charset="0"/>
                <a:ea typeface="Source Sans Pro Light" panose="020B0403030403020204" pitchFamily="34" charset="0"/>
              </a:rPr>
              <a:t> Tn</a:t>
            </a:r>
          </a:p>
        </p:txBody>
      </p:sp>
      <p:sp>
        <p:nvSpPr>
          <p:cNvPr id="7" name="Rectangle: Diagonal Corners Rounded 6">
            <a:extLst>
              <a:ext uri="{FF2B5EF4-FFF2-40B4-BE49-F238E27FC236}">
                <a16:creationId xmlns:a16="http://schemas.microsoft.com/office/drawing/2014/main" id="{376B28EB-F345-4AB9-AE65-431805977499}"/>
              </a:ext>
            </a:extLst>
          </p:cNvPr>
          <p:cNvSpPr/>
          <p:nvPr/>
        </p:nvSpPr>
        <p:spPr>
          <a:xfrm>
            <a:off x="4668703" y="1082114"/>
            <a:ext cx="3374052" cy="1548094"/>
          </a:xfrm>
          <a:prstGeom prst="round2DiagRect">
            <a:avLst>
              <a:gd name="adj1" fmla="val 41554"/>
              <a:gd name="adj2" fmla="val 0"/>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latin typeface="Century Gothic" panose="020B0502020202020204" pitchFamily="34" charset="0"/>
                <a:ea typeface="Source Sans Pro Light" panose="020B0403030403020204" pitchFamily="34" charset="0"/>
              </a:rPr>
              <a:t>U.S.$4.95 Bn</a:t>
            </a:r>
          </a:p>
        </p:txBody>
      </p:sp>
      <p:sp>
        <p:nvSpPr>
          <p:cNvPr id="8" name="TextBox 7">
            <a:extLst>
              <a:ext uri="{FF2B5EF4-FFF2-40B4-BE49-F238E27FC236}">
                <a16:creationId xmlns:a16="http://schemas.microsoft.com/office/drawing/2014/main" id="{DB2EE6CA-91C1-4B86-98A6-35C093AD7257}"/>
              </a:ext>
            </a:extLst>
          </p:cNvPr>
          <p:cNvSpPr txBox="1"/>
          <p:nvPr/>
        </p:nvSpPr>
        <p:spPr>
          <a:xfrm>
            <a:off x="1164023" y="3109421"/>
            <a:ext cx="3045212" cy="1138773"/>
          </a:xfrm>
          <a:prstGeom prst="rect">
            <a:avLst/>
          </a:prstGeom>
          <a:noFill/>
        </p:spPr>
        <p:txBody>
          <a:bodyPr wrap="square" rtlCol="0">
            <a:spAutoFit/>
          </a:bodyPr>
          <a:lstStyle/>
          <a:p>
            <a:r>
              <a:rPr lang="en-US" sz="1496">
                <a:solidFill>
                  <a:schemeClr val="bg1"/>
                </a:solidFill>
                <a:latin typeface="Century Gothic" panose="020B0502020202020204" pitchFamily="34" charset="0"/>
              </a:rPr>
              <a:t>Gov’t </a:t>
            </a:r>
            <a:r>
              <a:rPr lang="en-US" sz="1800" b="1">
                <a:solidFill>
                  <a:schemeClr val="tx1"/>
                </a:solidFill>
                <a:latin typeface="Century Gothic" panose="020B0502020202020204" pitchFamily="34" charset="0"/>
              </a:rPr>
              <a:t>Payments to commercial banks, 2024</a:t>
            </a:r>
          </a:p>
          <a:p>
            <a:endParaRPr lang="en-US" sz="1800" b="1">
              <a:solidFill>
                <a:schemeClr val="tx1"/>
              </a:solidFill>
              <a:latin typeface="Century Gothic" panose="020B0502020202020204" pitchFamily="34" charset="0"/>
            </a:endParaRPr>
          </a:p>
          <a:p>
            <a:r>
              <a:rPr lang="en-US" b="1" i="1">
                <a:solidFill>
                  <a:schemeClr val="tx1"/>
                </a:solidFill>
                <a:latin typeface="Century Gothic" panose="020B0502020202020204" pitchFamily="34" charset="0"/>
              </a:rPr>
              <a:t>(Source: Central Bank of Kenya</a:t>
            </a:r>
            <a:r>
              <a:rPr lang="en-US" i="1">
                <a:solidFill>
                  <a:schemeClr val="tx1"/>
                </a:solidFill>
                <a:latin typeface="Century Gothic" panose="020B0502020202020204" pitchFamily="34" charset="0"/>
              </a:rPr>
              <a:t>)</a:t>
            </a:r>
          </a:p>
        </p:txBody>
      </p:sp>
      <p:sp>
        <p:nvSpPr>
          <p:cNvPr id="9" name="TextBox 8">
            <a:extLst>
              <a:ext uri="{FF2B5EF4-FFF2-40B4-BE49-F238E27FC236}">
                <a16:creationId xmlns:a16="http://schemas.microsoft.com/office/drawing/2014/main" id="{AC6784F6-6AFD-4575-9F6D-C3410AB83AE4}"/>
              </a:ext>
            </a:extLst>
          </p:cNvPr>
          <p:cNvSpPr txBox="1"/>
          <p:nvPr/>
        </p:nvSpPr>
        <p:spPr>
          <a:xfrm>
            <a:off x="4722773" y="3025693"/>
            <a:ext cx="3111972" cy="1138773"/>
          </a:xfrm>
          <a:prstGeom prst="rect">
            <a:avLst/>
          </a:prstGeom>
          <a:noFill/>
        </p:spPr>
        <p:txBody>
          <a:bodyPr wrap="square" rtlCol="0">
            <a:spAutoFit/>
          </a:bodyPr>
          <a:lstStyle/>
          <a:p>
            <a:r>
              <a:rPr lang="en-US" sz="1800" b="1">
                <a:solidFill>
                  <a:schemeClr val="tx1"/>
                </a:solidFill>
                <a:latin typeface="Century Gothic" panose="020B0502020202020204" pitchFamily="34" charset="0"/>
              </a:rPr>
              <a:t>Diaspora receipts, 2024</a:t>
            </a:r>
          </a:p>
          <a:p>
            <a:endParaRPr lang="en-US" sz="1800" b="1">
              <a:solidFill>
                <a:schemeClr val="tx1"/>
              </a:solidFill>
              <a:latin typeface="Century Gothic" panose="020B0502020202020204" pitchFamily="34" charset="0"/>
            </a:endParaRPr>
          </a:p>
          <a:p>
            <a:endParaRPr lang="en-US" sz="1800" b="1">
              <a:solidFill>
                <a:schemeClr val="tx1"/>
              </a:solidFill>
              <a:latin typeface="Century Gothic" panose="020B0502020202020204" pitchFamily="34" charset="0"/>
            </a:endParaRPr>
          </a:p>
          <a:p>
            <a:r>
              <a:rPr lang="en-US" b="1" i="1">
                <a:solidFill>
                  <a:schemeClr val="tx1"/>
                </a:solidFill>
                <a:latin typeface="Century Gothic" panose="020B0502020202020204" pitchFamily="34" charset="0"/>
              </a:rPr>
              <a:t>(Source: Central Bank of Kenya)</a:t>
            </a:r>
            <a:endParaRPr lang="en-US" sz="1100" b="1" i="1">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DBA2F350-3B9C-61FC-46E3-E4D470B7C9F2}"/>
              </a:ext>
            </a:extLst>
          </p:cNvPr>
          <p:cNvPicPr>
            <a:picLocks noChangeAspect="1"/>
          </p:cNvPicPr>
          <p:nvPr/>
        </p:nvPicPr>
        <p:blipFill>
          <a:blip r:embed="rId3"/>
          <a:stretch>
            <a:fillRect/>
          </a:stretch>
        </p:blipFill>
        <p:spPr>
          <a:xfrm>
            <a:off x="8573311" y="-28638"/>
            <a:ext cx="560858" cy="444453"/>
          </a:xfrm>
          <a:prstGeom prst="rect">
            <a:avLst/>
          </a:prstGeom>
        </p:spPr>
      </p:pic>
      <p:sp>
        <p:nvSpPr>
          <p:cNvPr id="4" name="Title 10">
            <a:extLst>
              <a:ext uri="{FF2B5EF4-FFF2-40B4-BE49-F238E27FC236}">
                <a16:creationId xmlns:a16="http://schemas.microsoft.com/office/drawing/2014/main" id="{43A3026B-3AC6-5A7B-0C48-9556CE544EB1}"/>
              </a:ext>
            </a:extLst>
          </p:cNvPr>
          <p:cNvSpPr txBox="1">
            <a:spLocks/>
          </p:cNvSpPr>
          <p:nvPr/>
        </p:nvSpPr>
        <p:spPr>
          <a:xfrm>
            <a:off x="-34207" y="4763"/>
            <a:ext cx="665198"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31</a:t>
            </a:r>
            <a:r>
              <a:rPr lang="en-US" sz="1904" b="1" dirty="0">
                <a:solidFill>
                  <a:schemeClr val="tx1"/>
                </a:solidFill>
                <a:latin typeface="Century Gothic" panose="020B0502020202020204" pitchFamily="34" charset="0"/>
              </a:rPr>
              <a:t>.</a:t>
            </a:r>
          </a:p>
        </p:txBody>
      </p:sp>
      <p:cxnSp>
        <p:nvCxnSpPr>
          <p:cNvPr id="5" name="Straight Connector 4">
            <a:extLst>
              <a:ext uri="{FF2B5EF4-FFF2-40B4-BE49-F238E27FC236}">
                <a16:creationId xmlns:a16="http://schemas.microsoft.com/office/drawing/2014/main" id="{5350CF4B-F0E3-E6CB-DBC5-2DC7A372240B}"/>
              </a:ext>
            </a:extLst>
          </p:cNvPr>
          <p:cNvCxnSpPr>
            <a:cxnSpLocks/>
          </p:cNvCxnSpPr>
          <p:nvPr/>
        </p:nvCxnSpPr>
        <p:spPr>
          <a:xfrm>
            <a:off x="0" y="368860"/>
            <a:ext cx="9134169" cy="5502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2027460435"/>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9E742-5770-1C68-E4F5-4AC55451059E}"/>
              </a:ext>
            </a:extLst>
          </p:cNvPr>
          <p:cNvSpPr>
            <a:spLocks noGrp="1"/>
          </p:cNvSpPr>
          <p:nvPr>
            <p:ph type="title"/>
          </p:nvPr>
        </p:nvSpPr>
        <p:spPr>
          <a:xfrm>
            <a:off x="519545" y="50527"/>
            <a:ext cx="7937034" cy="313810"/>
          </a:xfrm>
          <a:solidFill>
            <a:srgbClr val="00B0F0"/>
          </a:solidFill>
        </p:spPr>
        <p:style>
          <a:lnRef idx="1">
            <a:schemeClr val="accent4"/>
          </a:lnRef>
          <a:fillRef idx="3">
            <a:schemeClr val="accent4"/>
          </a:fillRef>
          <a:effectRef idx="2">
            <a:schemeClr val="accent4"/>
          </a:effectRef>
          <a:fontRef idx="minor">
            <a:schemeClr val="lt1"/>
          </a:fontRef>
        </p:style>
        <p:txBody>
          <a:bodyPr anchor="b">
            <a:noAutofit/>
          </a:bodyPr>
          <a:lstStyle/>
          <a:p>
            <a:r>
              <a:rPr lang="en-US" sz="1900" dirty="0">
                <a:latin typeface="Century Gothic" panose="020B0502020202020204" pitchFamily="34" charset="0"/>
                <a:ea typeface="Calibri" panose="020F0502020204030204" pitchFamily="34" charset="0"/>
              </a:rPr>
              <a:t>Remittance inflows have remained resilient, growing by 18% in 2024</a:t>
            </a:r>
            <a:endParaRPr lang="en-GB" sz="1900" dirty="0">
              <a:latin typeface="Century Gothic" panose="020B0502020202020204" pitchFamily="34" charset="0"/>
            </a:endParaRPr>
          </a:p>
        </p:txBody>
      </p:sp>
      <p:graphicFrame>
        <p:nvGraphicFramePr>
          <p:cNvPr id="4" name="Content Placeholder 3">
            <a:extLst>
              <a:ext uri="{FF2B5EF4-FFF2-40B4-BE49-F238E27FC236}">
                <a16:creationId xmlns:a16="http://schemas.microsoft.com/office/drawing/2014/main" id="{1043B94E-1FE8-C1D3-51AB-5CE5343B61B0}"/>
              </a:ext>
            </a:extLst>
          </p:cNvPr>
          <p:cNvGraphicFramePr>
            <a:graphicFrameLocks noGrp="1"/>
          </p:cNvGraphicFramePr>
          <p:nvPr>
            <p:ph idx="1"/>
            <p:extLst>
              <p:ext uri="{D42A27DB-BD31-4B8C-83A1-F6EECF244321}">
                <p14:modId xmlns:p14="http://schemas.microsoft.com/office/powerpoint/2010/main" val="1578522744"/>
              </p:ext>
            </p:extLst>
          </p:nvPr>
        </p:nvGraphicFramePr>
        <p:xfrm>
          <a:off x="159327" y="1072774"/>
          <a:ext cx="7245085" cy="35614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9E161170-3059-CA05-1059-FB8301F6A1C4}"/>
              </a:ext>
            </a:extLst>
          </p:cNvPr>
          <p:cNvSpPr txBox="1"/>
          <p:nvPr/>
        </p:nvSpPr>
        <p:spPr>
          <a:xfrm>
            <a:off x="123290" y="4912667"/>
            <a:ext cx="1579278" cy="253916"/>
          </a:xfrm>
          <a:prstGeom prst="rect">
            <a:avLst/>
          </a:prstGeom>
          <a:noFill/>
        </p:spPr>
        <p:txBody>
          <a:bodyPr wrap="none" rtlCol="0">
            <a:spAutoFit/>
          </a:bodyPr>
          <a:lstStyle/>
          <a:p>
            <a:r>
              <a:rPr lang="en-US" sz="1050"/>
              <a:t>Source: CBK Database</a:t>
            </a:r>
            <a:endParaRPr lang="en-GB" sz="1050"/>
          </a:p>
        </p:txBody>
      </p:sp>
      <p:sp>
        <p:nvSpPr>
          <p:cNvPr id="3" name="Title 10">
            <a:extLst>
              <a:ext uri="{FF2B5EF4-FFF2-40B4-BE49-F238E27FC236}">
                <a16:creationId xmlns:a16="http://schemas.microsoft.com/office/drawing/2014/main" id="{68BEBBF6-CB3E-E108-D9FA-E7E360B691EA}"/>
              </a:ext>
            </a:extLst>
          </p:cNvPr>
          <p:cNvSpPr txBox="1">
            <a:spLocks/>
          </p:cNvSpPr>
          <p:nvPr/>
        </p:nvSpPr>
        <p:spPr>
          <a:xfrm>
            <a:off x="-19455" y="7549"/>
            <a:ext cx="665198"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32</a:t>
            </a:r>
            <a:r>
              <a:rPr lang="en-US" sz="1904" b="1" dirty="0">
                <a:solidFill>
                  <a:schemeClr val="tx1"/>
                </a:solidFill>
                <a:latin typeface="Century Gothic" panose="020B0502020202020204" pitchFamily="34" charset="0"/>
              </a:rPr>
              <a:t>.</a:t>
            </a:r>
          </a:p>
        </p:txBody>
      </p:sp>
      <p:sp>
        <p:nvSpPr>
          <p:cNvPr id="6" name="TextBox 1">
            <a:extLst>
              <a:ext uri="{FF2B5EF4-FFF2-40B4-BE49-F238E27FC236}">
                <a16:creationId xmlns:a16="http://schemas.microsoft.com/office/drawing/2014/main" id="{23C3BCA6-A258-8E68-BA3F-76F510BF425C}"/>
              </a:ext>
            </a:extLst>
          </p:cNvPr>
          <p:cNvSpPr txBox="1"/>
          <p:nvPr/>
        </p:nvSpPr>
        <p:spPr>
          <a:xfrm>
            <a:off x="7543800" y="1072773"/>
            <a:ext cx="1508760" cy="3561463"/>
          </a:xfrm>
          <a:prstGeom prst="rect">
            <a:avLst/>
          </a:prstGeom>
          <a:solidFill>
            <a:schemeClr val="bg1">
              <a:lumMod val="85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100" kern="1200" dirty="0">
                <a:solidFill>
                  <a:schemeClr val="tx1"/>
                </a:solidFill>
                <a:latin typeface="Century Gothic" panose="020B0502020202020204" pitchFamily="34" charset="0"/>
              </a:rPr>
              <a:t>Global average cost of sending </a:t>
            </a:r>
            <a:r>
              <a:rPr lang="en-US" sz="1100" b="1" kern="1200" dirty="0">
                <a:solidFill>
                  <a:schemeClr val="tx1"/>
                </a:solidFill>
                <a:latin typeface="Century Gothic" panose="020B0502020202020204" pitchFamily="34" charset="0"/>
              </a:rPr>
              <a:t>$200 was </a:t>
            </a:r>
            <a:r>
              <a:rPr lang="en-US" b="1" kern="1200" dirty="0">
                <a:solidFill>
                  <a:schemeClr val="tx1"/>
                </a:solidFill>
                <a:latin typeface="Century Gothic" panose="020B0502020202020204" pitchFamily="34" charset="0"/>
              </a:rPr>
              <a:t>6.39% in Dec 2023 from 9.1% in 2013</a:t>
            </a:r>
            <a:r>
              <a:rPr lang="en-US" kern="1200" dirty="0">
                <a:solidFill>
                  <a:schemeClr val="tx1"/>
                </a:solidFill>
                <a:latin typeface="Century Gothic" panose="020B0502020202020204" pitchFamily="34" charset="0"/>
              </a:rPr>
              <a:t>. These current costs are still more than twice the SDG 10.c target of 3%</a:t>
            </a:r>
          </a:p>
          <a:p>
            <a:pPr algn="l"/>
            <a:endParaRPr lang="en-US" sz="1100" kern="1200" dirty="0">
              <a:solidFill>
                <a:schemeClr val="tx1"/>
              </a:solidFill>
              <a:latin typeface="Century Gothic" panose="020B0502020202020204" pitchFamily="34" charset="0"/>
            </a:endParaRPr>
          </a:p>
          <a:p>
            <a:r>
              <a:rPr lang="en-US" b="1" kern="1200" dirty="0">
                <a:solidFill>
                  <a:schemeClr val="tx1"/>
                </a:solidFill>
                <a:latin typeface="Century Gothic" panose="020B0502020202020204" pitchFamily="34" charset="0"/>
              </a:rPr>
              <a:t>Africa</a:t>
            </a:r>
            <a:r>
              <a:rPr lang="en-US" kern="1200" dirty="0">
                <a:solidFill>
                  <a:schemeClr val="tx1"/>
                </a:solidFill>
                <a:latin typeface="Century Gothic" panose="020B0502020202020204" pitchFamily="34" charset="0"/>
              </a:rPr>
              <a:t> remains the most expensive region in the world for sending remittances. The continental average for remittance costs is </a:t>
            </a:r>
            <a:r>
              <a:rPr lang="en-US" b="1" kern="1200" dirty="0">
                <a:solidFill>
                  <a:schemeClr val="tx1"/>
                </a:solidFill>
                <a:latin typeface="Century Gothic" panose="020B0502020202020204" pitchFamily="34" charset="0"/>
              </a:rPr>
              <a:t>7.9%</a:t>
            </a:r>
            <a:r>
              <a:rPr lang="en-US" kern="1200" dirty="0">
                <a:solidFill>
                  <a:schemeClr val="tx1"/>
                </a:solidFill>
                <a:latin typeface="Century Gothic" panose="020B0502020202020204" pitchFamily="34" charset="0"/>
              </a:rPr>
              <a:t>.</a:t>
            </a:r>
          </a:p>
          <a:p>
            <a:endParaRPr lang="en-US" kern="1200" dirty="0">
              <a:solidFill>
                <a:schemeClr val="tx1"/>
              </a:solidFill>
              <a:latin typeface="Century Gothic" panose="020B0502020202020204" pitchFamily="34" charset="0"/>
            </a:endParaRPr>
          </a:p>
          <a:p>
            <a:r>
              <a:rPr lang="en-US" sz="800" b="1" i="1" kern="1200" dirty="0">
                <a:solidFill>
                  <a:schemeClr val="tx1"/>
                </a:solidFill>
                <a:latin typeface="Century Gothic" panose="020B0502020202020204" pitchFamily="34" charset="0"/>
              </a:rPr>
              <a:t>Source: World Bank, GSMA</a:t>
            </a:r>
          </a:p>
        </p:txBody>
      </p:sp>
      <p:pic>
        <p:nvPicPr>
          <p:cNvPr id="7" name="Picture 6">
            <a:extLst>
              <a:ext uri="{FF2B5EF4-FFF2-40B4-BE49-F238E27FC236}">
                <a16:creationId xmlns:a16="http://schemas.microsoft.com/office/drawing/2014/main" id="{2011877B-3390-3968-2FE7-DA6BE86F68B6}"/>
              </a:ext>
            </a:extLst>
          </p:cNvPr>
          <p:cNvPicPr>
            <a:picLocks noChangeAspect="1"/>
          </p:cNvPicPr>
          <p:nvPr/>
        </p:nvPicPr>
        <p:blipFill>
          <a:blip r:embed="rId4"/>
          <a:stretch>
            <a:fillRect/>
          </a:stretch>
        </p:blipFill>
        <p:spPr>
          <a:xfrm>
            <a:off x="8587017" y="-34547"/>
            <a:ext cx="560881" cy="445047"/>
          </a:xfrm>
          <a:prstGeom prst="rect">
            <a:avLst/>
          </a:prstGeom>
        </p:spPr>
      </p:pic>
    </p:spTree>
    <p:extLst>
      <p:ext uri="{BB962C8B-B14F-4D97-AF65-F5344CB8AC3E}">
        <p14:creationId xmlns:p14="http://schemas.microsoft.com/office/powerpoint/2010/main" val="189643272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F74AD-98A3-BE8F-A727-44FCF3503297}"/>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EE3F90A3-11BD-83C8-EE55-5701F5BE24CD}"/>
              </a:ext>
            </a:extLst>
          </p:cNvPr>
          <p:cNvGrpSpPr/>
          <p:nvPr/>
        </p:nvGrpSpPr>
        <p:grpSpPr>
          <a:xfrm>
            <a:off x="14224" y="-38910"/>
            <a:ext cx="9117906" cy="3176217"/>
            <a:chOff x="-20610" y="-38910"/>
            <a:chExt cx="9117906" cy="3176217"/>
          </a:xfrm>
        </p:grpSpPr>
        <p:grpSp>
          <p:nvGrpSpPr>
            <p:cNvPr id="32" name="Group 31">
              <a:extLst>
                <a:ext uri="{FF2B5EF4-FFF2-40B4-BE49-F238E27FC236}">
                  <a16:creationId xmlns:a16="http://schemas.microsoft.com/office/drawing/2014/main" id="{32A6CE6C-F789-6023-C068-7E9D5B1B564C}"/>
                </a:ext>
              </a:extLst>
            </p:cNvPr>
            <p:cNvGrpSpPr/>
            <p:nvPr/>
          </p:nvGrpSpPr>
          <p:grpSpPr>
            <a:xfrm>
              <a:off x="685265" y="1676204"/>
              <a:ext cx="1435598" cy="1461103"/>
              <a:chOff x="1386295" y="2060457"/>
              <a:chExt cx="1498691" cy="1119037"/>
            </a:xfrm>
            <a:effectLst>
              <a:outerShdw blurRad="50800" dist="38100" algn="l" rotWithShape="0">
                <a:prstClr val="black">
                  <a:alpha val="40000"/>
                </a:prstClr>
              </a:outerShdw>
            </a:effectLst>
            <a:scene3d>
              <a:camera prst="orthographicFront">
                <a:rot lat="0" lon="0" rev="0"/>
              </a:camera>
              <a:lightRig rig="glow" dir="t">
                <a:rot lat="0" lon="0" rev="4800000"/>
              </a:lightRig>
            </a:scene3d>
          </p:grpSpPr>
          <p:sp>
            <p:nvSpPr>
              <p:cNvPr id="14" name="TextBox 13">
                <a:extLst>
                  <a:ext uri="{FF2B5EF4-FFF2-40B4-BE49-F238E27FC236}">
                    <a16:creationId xmlns:a16="http://schemas.microsoft.com/office/drawing/2014/main" id="{37CF4FD2-95A7-A3F4-3382-92104CF96434}"/>
                  </a:ext>
                </a:extLst>
              </p:cNvPr>
              <p:cNvSpPr txBox="1"/>
              <p:nvPr/>
            </p:nvSpPr>
            <p:spPr>
              <a:xfrm>
                <a:off x="1386295" y="2060457"/>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sp>
            <p:nvSpPr>
              <p:cNvPr id="23" name="TextBox 22">
                <a:extLst>
                  <a:ext uri="{FF2B5EF4-FFF2-40B4-BE49-F238E27FC236}">
                    <a16:creationId xmlns:a16="http://schemas.microsoft.com/office/drawing/2014/main" id="{C243B677-AEE2-FAF8-120A-E7454BC18AFC}"/>
                  </a:ext>
                </a:extLst>
              </p:cNvPr>
              <p:cNvSpPr txBox="1"/>
              <p:nvPr/>
            </p:nvSpPr>
            <p:spPr>
              <a:xfrm>
                <a:off x="1448072" y="2960065"/>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grpSp>
        <p:sp>
          <p:nvSpPr>
            <p:cNvPr id="31" name="TextBox 30">
              <a:extLst>
                <a:ext uri="{FF2B5EF4-FFF2-40B4-BE49-F238E27FC236}">
                  <a16:creationId xmlns:a16="http://schemas.microsoft.com/office/drawing/2014/main" id="{1AAC72EA-5B4B-9865-EEC7-3AA9775CA73F}"/>
                </a:ext>
              </a:extLst>
            </p:cNvPr>
            <p:cNvSpPr txBox="1"/>
            <p:nvPr/>
          </p:nvSpPr>
          <p:spPr>
            <a:xfrm>
              <a:off x="710281" y="15138"/>
              <a:ext cx="7872385" cy="338554"/>
            </a:xfrm>
            <a:prstGeom prst="rect">
              <a:avLst/>
            </a:prstGeom>
            <a:noFill/>
          </p:spPr>
          <p:txBody>
            <a:bodyPr wrap="square" rtlCol="0">
              <a:spAutoFit/>
            </a:bodyPr>
            <a:lstStyle/>
            <a:p>
              <a:r>
                <a:rPr lang="en-US" sz="1600" b="1" dirty="0">
                  <a:solidFill>
                    <a:schemeClr val="tx1"/>
                  </a:solidFill>
                  <a:latin typeface="Century Gothic" panose="020B0502020202020204" pitchFamily="34" charset="0"/>
                  <a:ea typeface="Aptos" panose="020B0004020202020204" pitchFamily="34" charset="0"/>
                  <a:cs typeface="Times New Roman" panose="02020603050405020304" pitchFamily="18" charset="0"/>
                </a:rPr>
                <a:t>Instant Payment Performance 2024</a:t>
              </a:r>
              <a:endParaRPr lang="en-US" sz="1200" dirty="0">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0EA26F4C-DB4E-603B-7AFD-1BB8EC571900}"/>
                </a:ext>
              </a:extLst>
            </p:cNvPr>
            <p:cNvPicPr>
              <a:picLocks noChangeAspect="1"/>
            </p:cNvPicPr>
            <p:nvPr/>
          </p:nvPicPr>
          <p:blipFill>
            <a:blip r:embed="rId3"/>
            <a:stretch>
              <a:fillRect/>
            </a:stretch>
          </p:blipFill>
          <p:spPr>
            <a:xfrm>
              <a:off x="8621576" y="-38910"/>
              <a:ext cx="475720" cy="376986"/>
            </a:xfrm>
            <a:prstGeom prst="rect">
              <a:avLst/>
            </a:prstGeom>
          </p:spPr>
        </p:pic>
        <p:sp>
          <p:nvSpPr>
            <p:cNvPr id="9" name="Title 10">
              <a:extLst>
                <a:ext uri="{FF2B5EF4-FFF2-40B4-BE49-F238E27FC236}">
                  <a16:creationId xmlns:a16="http://schemas.microsoft.com/office/drawing/2014/main" id="{76B6451B-8485-DDD6-8CC1-8A6F58ADBED1}"/>
                </a:ext>
              </a:extLst>
            </p:cNvPr>
            <p:cNvSpPr txBox="1">
              <a:spLocks/>
            </p:cNvSpPr>
            <p:nvPr/>
          </p:nvSpPr>
          <p:spPr>
            <a:xfrm>
              <a:off x="-20610" y="-1779"/>
              <a:ext cx="653995" cy="32688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33</a:t>
              </a:r>
              <a:r>
                <a:rPr lang="en-US" sz="1904" b="1" dirty="0">
                  <a:solidFill>
                    <a:schemeClr val="tx1"/>
                  </a:solidFill>
                  <a:latin typeface="Century Gothic" panose="020B0502020202020204" pitchFamily="34" charset="0"/>
                </a:rPr>
                <a:t>.</a:t>
              </a:r>
            </a:p>
          </p:txBody>
        </p:sp>
        <p:cxnSp>
          <p:nvCxnSpPr>
            <p:cNvPr id="4" name="Straight Connector 3">
              <a:extLst>
                <a:ext uri="{FF2B5EF4-FFF2-40B4-BE49-F238E27FC236}">
                  <a16:creationId xmlns:a16="http://schemas.microsoft.com/office/drawing/2014/main" id="{9826577A-6A10-74C9-B86F-C5303960283A}"/>
                </a:ext>
              </a:extLst>
            </p:cNvPr>
            <p:cNvCxnSpPr>
              <a:cxnSpLocks/>
            </p:cNvCxnSpPr>
            <p:nvPr/>
          </p:nvCxnSpPr>
          <p:spPr>
            <a:xfrm flipV="1">
              <a:off x="-13076" y="347387"/>
              <a:ext cx="9100483" cy="60994"/>
            </a:xfrm>
            <a:prstGeom prst="line">
              <a:avLst/>
            </a:prstGeom>
            <a:noFill/>
            <a:ln w="19050" cap="flat" cmpd="sng" algn="ctr">
              <a:solidFill>
                <a:srgbClr val="F19D19"/>
              </a:solidFill>
              <a:prstDash val="solid"/>
              <a:miter lim="800000"/>
            </a:ln>
            <a:effectLst/>
          </p:spPr>
        </p:cxnSp>
      </p:grpSp>
      <p:pic>
        <p:nvPicPr>
          <p:cNvPr id="12" name="Picture 11">
            <a:extLst>
              <a:ext uri="{FF2B5EF4-FFF2-40B4-BE49-F238E27FC236}">
                <a16:creationId xmlns:a16="http://schemas.microsoft.com/office/drawing/2014/main" id="{5FFC6E06-E8CE-267B-F455-D9290EBEA50B}"/>
              </a:ext>
            </a:extLst>
          </p:cNvPr>
          <p:cNvPicPr>
            <a:picLocks noChangeAspect="1"/>
          </p:cNvPicPr>
          <p:nvPr/>
        </p:nvPicPr>
        <p:blipFill>
          <a:blip r:embed="rId4"/>
          <a:stretch>
            <a:fillRect/>
          </a:stretch>
        </p:blipFill>
        <p:spPr>
          <a:xfrm>
            <a:off x="98297" y="489254"/>
            <a:ext cx="3947550" cy="1378157"/>
          </a:xfrm>
          <a:prstGeom prst="rect">
            <a:avLst/>
          </a:prstGeom>
        </p:spPr>
      </p:pic>
      <p:graphicFrame>
        <p:nvGraphicFramePr>
          <p:cNvPr id="17" name="Chart 16">
            <a:extLst>
              <a:ext uri="{FF2B5EF4-FFF2-40B4-BE49-F238E27FC236}">
                <a16:creationId xmlns:a16="http://schemas.microsoft.com/office/drawing/2014/main" id="{F558C5F3-0D39-52C4-FEB2-044353E65EDD}"/>
              </a:ext>
            </a:extLst>
          </p:cNvPr>
          <p:cNvGraphicFramePr>
            <a:graphicFrameLocks/>
          </p:cNvGraphicFramePr>
          <p:nvPr/>
        </p:nvGraphicFramePr>
        <p:xfrm>
          <a:off x="70055" y="1985227"/>
          <a:ext cx="3947550" cy="23288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id="{3E00D0E2-DBCB-5155-6225-23361BA1339A}"/>
              </a:ext>
            </a:extLst>
          </p:cNvPr>
          <p:cNvGraphicFramePr>
            <a:graphicFrameLocks/>
          </p:cNvGraphicFramePr>
          <p:nvPr/>
        </p:nvGraphicFramePr>
        <p:xfrm>
          <a:off x="4597842" y="1985227"/>
          <a:ext cx="4254863" cy="2239865"/>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a:extLst>
              <a:ext uri="{FF2B5EF4-FFF2-40B4-BE49-F238E27FC236}">
                <a16:creationId xmlns:a16="http://schemas.microsoft.com/office/drawing/2014/main" id="{7F2FEF75-1ECE-5758-8098-9DF99E7DC22A}"/>
              </a:ext>
            </a:extLst>
          </p:cNvPr>
          <p:cNvSpPr txBox="1"/>
          <p:nvPr/>
        </p:nvSpPr>
        <p:spPr>
          <a:xfrm>
            <a:off x="0" y="4336608"/>
            <a:ext cx="4204004" cy="646331"/>
          </a:xfrm>
          <a:prstGeom prst="rect">
            <a:avLst/>
          </a:prstGeom>
          <a:noFill/>
        </p:spPr>
        <p:txBody>
          <a:bodyPr wrap="square" rtlCol="0">
            <a:spAutoFit/>
          </a:bodyPr>
          <a:lstStyle/>
          <a:p>
            <a:pPr marL="171450" indent="-171450">
              <a:buFont typeface="Arial" panose="020B0604020202020204" pitchFamily="34" charset="0"/>
              <a:buChar char="•"/>
            </a:pPr>
            <a:r>
              <a:rPr lang="en-US" sz="900" i="1" dirty="0">
                <a:latin typeface="Century Gothic" panose="020B0502020202020204" pitchFamily="34" charset="0"/>
              </a:rPr>
              <a:t>Instant Payments used for the case above is Mobile payments and P2P Switch</a:t>
            </a:r>
          </a:p>
          <a:p>
            <a:pPr marL="171450" indent="-171450">
              <a:buFont typeface="Arial" panose="020B0604020202020204" pitchFamily="34" charset="0"/>
              <a:buChar char="•"/>
            </a:pPr>
            <a:r>
              <a:rPr lang="en-US" sz="900" i="1" dirty="0">
                <a:latin typeface="Century Gothic" panose="020B0502020202020204" pitchFamily="34" charset="0"/>
              </a:rPr>
              <a:t>Retail Payments include; Mobile, cards, EFT, Cheques and P2P switch.</a:t>
            </a:r>
          </a:p>
          <a:p>
            <a:pPr marL="171450" indent="-171450">
              <a:buFont typeface="Arial" panose="020B0604020202020204" pitchFamily="34" charset="0"/>
              <a:buChar char="•"/>
            </a:pPr>
            <a:r>
              <a:rPr lang="en-US" sz="900" i="1" dirty="0">
                <a:latin typeface="Century Gothic" panose="020B0502020202020204" pitchFamily="34" charset="0"/>
              </a:rPr>
              <a:t>Large value include RTGS transactions</a:t>
            </a:r>
          </a:p>
        </p:txBody>
      </p:sp>
      <p:sp>
        <p:nvSpPr>
          <p:cNvPr id="20" name="TextBox 19">
            <a:extLst>
              <a:ext uri="{FF2B5EF4-FFF2-40B4-BE49-F238E27FC236}">
                <a16:creationId xmlns:a16="http://schemas.microsoft.com/office/drawing/2014/main" id="{FAE7DD0C-C402-87E7-0510-1DC86939636B}"/>
              </a:ext>
            </a:extLst>
          </p:cNvPr>
          <p:cNvSpPr txBox="1"/>
          <p:nvPr/>
        </p:nvSpPr>
        <p:spPr>
          <a:xfrm>
            <a:off x="4280059" y="4256336"/>
            <a:ext cx="4793886" cy="861774"/>
          </a:xfrm>
          <a:prstGeom prst="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000" dirty="0">
                <a:latin typeface="Century Gothic" panose="020B0502020202020204" pitchFamily="34" charset="0"/>
              </a:rPr>
              <a:t>Instant payments in Kenya, driven by mobile money now power </a:t>
            </a:r>
            <a:r>
              <a:rPr lang="en-US" sz="1000" b="1" dirty="0">
                <a:latin typeface="Century Gothic" panose="020B0502020202020204" pitchFamily="34" charset="0"/>
              </a:rPr>
              <a:t>over 99% of transactions</a:t>
            </a:r>
            <a:r>
              <a:rPr lang="en-US" sz="1000" dirty="0">
                <a:latin typeface="Century Gothic" panose="020B0502020202020204" pitchFamily="34" charset="0"/>
              </a:rPr>
              <a:t>. Traditional methods like EFT, RTGS, and cheques remain slow and need upgrading to real-time. Modernizing all payment rails is key to a fully digital, cash-lite economy. The future of payments is instant, Interoperable,  inclusive, and always on.</a:t>
            </a:r>
          </a:p>
        </p:txBody>
      </p:sp>
      <p:sp>
        <p:nvSpPr>
          <p:cNvPr id="21" name="TextBox 20">
            <a:extLst>
              <a:ext uri="{FF2B5EF4-FFF2-40B4-BE49-F238E27FC236}">
                <a16:creationId xmlns:a16="http://schemas.microsoft.com/office/drawing/2014/main" id="{AF121CB2-FCD4-ACCC-EA35-98DCB787595F}"/>
              </a:ext>
            </a:extLst>
          </p:cNvPr>
          <p:cNvSpPr txBox="1"/>
          <p:nvPr/>
        </p:nvSpPr>
        <p:spPr>
          <a:xfrm>
            <a:off x="144723" y="4918055"/>
            <a:ext cx="1406236" cy="200055"/>
          </a:xfrm>
          <a:prstGeom prst="rect">
            <a:avLst/>
          </a:prstGeom>
          <a:noFill/>
        </p:spPr>
        <p:txBody>
          <a:bodyPr wrap="square" rtlCol="0">
            <a:spAutoFit/>
          </a:bodyPr>
          <a:lstStyle/>
          <a:p>
            <a:r>
              <a:rPr lang="en-US" sz="700" b="1" i="1" dirty="0">
                <a:latin typeface="Century Gothic" panose="020B0502020202020204" pitchFamily="34" charset="0"/>
              </a:rPr>
              <a:t>Source: CBK</a:t>
            </a:r>
          </a:p>
        </p:txBody>
      </p:sp>
      <p:pic>
        <p:nvPicPr>
          <p:cNvPr id="8" name="Picture 7">
            <a:extLst>
              <a:ext uri="{FF2B5EF4-FFF2-40B4-BE49-F238E27FC236}">
                <a16:creationId xmlns:a16="http://schemas.microsoft.com/office/drawing/2014/main" id="{D85D57EE-6339-D7A8-B776-B9BF21B5FFF3}"/>
              </a:ext>
            </a:extLst>
          </p:cNvPr>
          <p:cNvPicPr>
            <a:picLocks noChangeAspect="1"/>
          </p:cNvPicPr>
          <p:nvPr/>
        </p:nvPicPr>
        <p:blipFill>
          <a:blip r:embed="rId7"/>
          <a:stretch>
            <a:fillRect/>
          </a:stretch>
        </p:blipFill>
        <p:spPr>
          <a:xfrm>
            <a:off x="4571869" y="439625"/>
            <a:ext cx="4210266" cy="1454225"/>
          </a:xfrm>
          <a:prstGeom prst="rect">
            <a:avLst/>
          </a:prstGeom>
        </p:spPr>
      </p:pic>
    </p:spTree>
    <p:extLst>
      <p:ext uri="{BB962C8B-B14F-4D97-AF65-F5344CB8AC3E}">
        <p14:creationId xmlns:p14="http://schemas.microsoft.com/office/powerpoint/2010/main" val="18136235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A989948-1736-44E7-8C54-C1FDB837D8F4}"/>
              </a:ext>
            </a:extLst>
          </p:cNvPr>
          <p:cNvSpPr>
            <a:spLocks noGrp="1"/>
          </p:cNvSpPr>
          <p:nvPr>
            <p:ph type="title"/>
          </p:nvPr>
        </p:nvSpPr>
        <p:spPr>
          <a:xfrm>
            <a:off x="1584500" y="-148494"/>
            <a:ext cx="362479" cy="627864"/>
          </a:xfrm>
        </p:spPr>
        <p:txBody>
          <a:bodyPr/>
          <a:lstStyle/>
          <a:p>
            <a:r>
              <a:rPr lang="en-US" sz="2040" dirty="0">
                <a:latin typeface="Abadi" panose="020B0604020104020204" pitchFamily="34" charset="0"/>
              </a:rPr>
              <a:t> 34</a:t>
            </a:r>
          </a:p>
        </p:txBody>
      </p:sp>
      <p:sp>
        <p:nvSpPr>
          <p:cNvPr id="6" name="object 2">
            <a:extLst>
              <a:ext uri="{FF2B5EF4-FFF2-40B4-BE49-F238E27FC236}">
                <a16:creationId xmlns:a16="http://schemas.microsoft.com/office/drawing/2014/main" id="{257A1D71-3BC9-404C-9AC0-99544400E972}"/>
              </a:ext>
            </a:extLst>
          </p:cNvPr>
          <p:cNvSpPr txBox="1"/>
          <p:nvPr/>
        </p:nvSpPr>
        <p:spPr>
          <a:xfrm>
            <a:off x="2239935" y="280430"/>
            <a:ext cx="5441486" cy="636586"/>
          </a:xfrm>
          <a:prstGeom prst="rect">
            <a:avLst/>
          </a:prstGeom>
        </p:spPr>
        <p:txBody>
          <a:bodyPr vert="horz" wrap="square" lIns="0" tIns="8637" rIns="0" bIns="0" rtlCol="0">
            <a:spAutoFit/>
          </a:bodyPr>
          <a:lstStyle/>
          <a:p>
            <a:pPr marL="8637" defTabSz="621883">
              <a:spcBef>
                <a:spcPts val="68"/>
              </a:spcBef>
              <a:buClrTx/>
            </a:pPr>
            <a:r>
              <a:rPr lang="en-US" sz="2040" b="1" kern="1200" dirty="0">
                <a:solidFill>
                  <a:srgbClr val="FFFFFF"/>
                </a:solidFill>
                <a:latin typeface="Abadi" panose="020B0604020104020204" pitchFamily="34" charset="0"/>
                <a:ea typeface="+mn-ea"/>
                <a:cs typeface="Century Gothic"/>
              </a:rPr>
              <a:t>Policy context and objectives /5 Current usage</a:t>
            </a:r>
            <a:endParaRPr sz="2040" kern="1200" dirty="0">
              <a:solidFill>
                <a:prstClr val="black"/>
              </a:solidFill>
              <a:latin typeface="Abadi" panose="020B0604020104020204" pitchFamily="34" charset="0"/>
              <a:ea typeface="+mn-ea"/>
              <a:cs typeface="Century Gothic"/>
            </a:endParaRPr>
          </a:p>
        </p:txBody>
      </p:sp>
      <p:graphicFrame>
        <p:nvGraphicFramePr>
          <p:cNvPr id="2" name="Table 1">
            <a:extLst>
              <a:ext uri="{FF2B5EF4-FFF2-40B4-BE49-F238E27FC236}">
                <a16:creationId xmlns:a16="http://schemas.microsoft.com/office/drawing/2014/main" id="{058F3088-C724-C039-6F74-7D0F88C92815}"/>
              </a:ext>
            </a:extLst>
          </p:cNvPr>
          <p:cNvGraphicFramePr>
            <a:graphicFrameLocks noGrp="1"/>
          </p:cNvGraphicFramePr>
          <p:nvPr>
            <p:extLst>
              <p:ext uri="{D42A27DB-BD31-4B8C-83A1-F6EECF244321}">
                <p14:modId xmlns:p14="http://schemas.microsoft.com/office/powerpoint/2010/main" val="2544062399"/>
              </p:ext>
            </p:extLst>
          </p:nvPr>
        </p:nvGraphicFramePr>
        <p:xfrm>
          <a:off x="1189369" y="940703"/>
          <a:ext cx="6783445" cy="3723427"/>
        </p:xfrm>
        <a:graphic>
          <a:graphicData uri="http://schemas.openxmlformats.org/drawingml/2006/table">
            <a:tbl>
              <a:tblPr firstRow="1" bandRow="1">
                <a:tableStyleId>{5C22544A-7EE6-4342-B048-85BDC9FD1C3A}</a:tableStyleId>
              </a:tblPr>
              <a:tblGrid>
                <a:gridCol w="2767873">
                  <a:extLst>
                    <a:ext uri="{9D8B030D-6E8A-4147-A177-3AD203B41FA5}">
                      <a16:colId xmlns:a16="http://schemas.microsoft.com/office/drawing/2014/main" val="2085526326"/>
                    </a:ext>
                  </a:extLst>
                </a:gridCol>
                <a:gridCol w="1107433">
                  <a:extLst>
                    <a:ext uri="{9D8B030D-6E8A-4147-A177-3AD203B41FA5}">
                      <a16:colId xmlns:a16="http://schemas.microsoft.com/office/drawing/2014/main" val="74646904"/>
                    </a:ext>
                  </a:extLst>
                </a:gridCol>
                <a:gridCol w="1350529">
                  <a:extLst>
                    <a:ext uri="{9D8B030D-6E8A-4147-A177-3AD203B41FA5}">
                      <a16:colId xmlns:a16="http://schemas.microsoft.com/office/drawing/2014/main" val="845487709"/>
                    </a:ext>
                  </a:extLst>
                </a:gridCol>
                <a:gridCol w="1557610">
                  <a:extLst>
                    <a:ext uri="{9D8B030D-6E8A-4147-A177-3AD203B41FA5}">
                      <a16:colId xmlns:a16="http://schemas.microsoft.com/office/drawing/2014/main" val="3696528178"/>
                    </a:ext>
                  </a:extLst>
                </a:gridCol>
              </a:tblGrid>
              <a:tr h="375887">
                <a:tc gridSpan="4">
                  <a:txBody>
                    <a:bodyPr/>
                    <a:lstStyle/>
                    <a:p>
                      <a:pPr algn="ctr"/>
                      <a:r>
                        <a:rPr lang="en-US" sz="1400" dirty="0">
                          <a:latin typeface="Abadi" panose="020B0604020104020204" pitchFamily="34" charset="0"/>
                        </a:rPr>
                        <a:t>Current Usage, 2024</a:t>
                      </a:r>
                    </a:p>
                  </a:txBody>
                  <a:tcPr marL="62188" marR="62188" marT="31094" marB="31094" anchor="ctr"/>
                </a:tc>
                <a:tc hMerge="1">
                  <a:txBody>
                    <a:bodyPr/>
                    <a:lstStyle/>
                    <a:p>
                      <a:endParaRPr lang="en-US"/>
                    </a:p>
                  </a:txBody>
                  <a:tcPr/>
                </a:tc>
                <a:tc hMerge="1">
                  <a:txBody>
                    <a:bodyPr/>
                    <a:lstStyle/>
                    <a:p>
                      <a:pPr algn="ctr"/>
                      <a:endParaRPr lang="en-US" sz="1600" dirty="0">
                        <a:latin typeface="Century Gothic" panose="020B0502020202020204" pitchFamily="34" charset="0"/>
                      </a:endParaRPr>
                    </a:p>
                  </a:txBody>
                  <a:tcPr anchor="ctr"/>
                </a:tc>
                <a:tc hMerge="1">
                  <a:txBody>
                    <a:bodyPr/>
                    <a:lstStyle/>
                    <a:p>
                      <a:pPr algn="ctr"/>
                      <a:endParaRPr lang="en-US" sz="1600" dirty="0">
                        <a:latin typeface="Century Gothic" panose="020B0502020202020204" pitchFamily="34" charset="0"/>
                      </a:endParaRPr>
                    </a:p>
                  </a:txBody>
                  <a:tcPr anchor="ctr"/>
                </a:tc>
                <a:extLst>
                  <a:ext uri="{0D108BD9-81ED-4DB2-BD59-A6C34878D82A}">
                    <a16:rowId xmlns:a16="http://schemas.microsoft.com/office/drawing/2014/main" val="3610622502"/>
                  </a:ext>
                </a:extLst>
              </a:tr>
              <a:tr h="353376">
                <a:tc>
                  <a:txBody>
                    <a:bodyPr/>
                    <a:lstStyle/>
                    <a:p>
                      <a:endParaRPr lang="en-US" sz="1400" dirty="0">
                        <a:latin typeface="Abadi" panose="020B0604020104020204" pitchFamily="34" charset="0"/>
                      </a:endParaRPr>
                    </a:p>
                  </a:txBody>
                  <a:tcPr marL="62188" marR="62188" marT="31094" marB="31094" anchor="ctr"/>
                </a:tc>
                <a:tc>
                  <a:txBody>
                    <a:bodyPr/>
                    <a:lstStyle/>
                    <a:p>
                      <a:r>
                        <a:rPr lang="en-US" sz="1400" dirty="0">
                          <a:latin typeface="Abadi" panose="020B0604020104020204" pitchFamily="34" charset="0"/>
                        </a:rPr>
                        <a:t>Volume, Mn</a:t>
                      </a:r>
                    </a:p>
                  </a:txBody>
                  <a:tcPr marL="62188" marR="62188" marT="31094" marB="31094" anchor="ctr"/>
                </a:tc>
                <a:tc>
                  <a:txBody>
                    <a:bodyPr/>
                    <a:lstStyle/>
                    <a:p>
                      <a:pPr algn="ctr"/>
                      <a:r>
                        <a:rPr lang="en-US" sz="1400" dirty="0">
                          <a:latin typeface="Abadi" panose="020B0604020104020204" pitchFamily="34" charset="0"/>
                        </a:rPr>
                        <a:t>Value, Ksh. Bn</a:t>
                      </a:r>
                    </a:p>
                  </a:txBody>
                  <a:tcPr marL="62188" marR="62188" marT="31094" marB="31094" anchor="ctr"/>
                </a:tc>
                <a:tc>
                  <a:txBody>
                    <a:bodyPr/>
                    <a:lstStyle/>
                    <a:p>
                      <a:pPr algn="ctr"/>
                      <a:r>
                        <a:rPr lang="en-US" sz="1400" dirty="0">
                          <a:latin typeface="Abadi" panose="020B0604020104020204" pitchFamily="34" charset="0"/>
                        </a:rPr>
                        <a:t>Funds received</a:t>
                      </a:r>
                    </a:p>
                  </a:txBody>
                  <a:tcPr marL="62188" marR="62188" marT="31094" marB="31094" anchor="ctr"/>
                </a:tc>
                <a:extLst>
                  <a:ext uri="{0D108BD9-81ED-4DB2-BD59-A6C34878D82A}">
                    <a16:rowId xmlns:a16="http://schemas.microsoft.com/office/drawing/2014/main" val="2527082862"/>
                  </a:ext>
                </a:extLst>
              </a:tr>
              <a:tr h="353376">
                <a:tc>
                  <a:txBody>
                    <a:bodyPr/>
                    <a:lstStyle/>
                    <a:p>
                      <a:pPr algn="l"/>
                      <a:r>
                        <a:rPr lang="en-US" sz="1400" dirty="0">
                          <a:latin typeface="Abadi" panose="020B0604020104020204" pitchFamily="34" charset="0"/>
                        </a:rPr>
                        <a:t>Cheques </a:t>
                      </a:r>
                    </a:p>
                  </a:txBody>
                  <a:tcPr marL="62188" marR="62188" marT="31094" marB="31094" anchor="ctr"/>
                </a:tc>
                <a:tc>
                  <a:txBody>
                    <a:bodyPr/>
                    <a:lstStyle/>
                    <a:p>
                      <a:pPr algn="ctr"/>
                      <a:r>
                        <a:rPr lang="en-US" sz="1400" dirty="0">
                          <a:latin typeface="Abadi" panose="020B0604020104020204" pitchFamily="34" charset="0"/>
                        </a:rPr>
                        <a:t>14</a:t>
                      </a:r>
                    </a:p>
                  </a:txBody>
                  <a:tcPr marL="62188" marR="62188" marT="31094" marB="31094" anchor="ctr"/>
                </a:tc>
                <a:tc>
                  <a:txBody>
                    <a:bodyPr/>
                    <a:lstStyle/>
                    <a:p>
                      <a:pPr algn="ctr"/>
                      <a:r>
                        <a:rPr lang="en-US" sz="1400" dirty="0">
                          <a:latin typeface="Abadi" panose="020B0604020104020204" pitchFamily="34" charset="0"/>
                        </a:rPr>
                        <a:t>2,540</a:t>
                      </a:r>
                    </a:p>
                  </a:txBody>
                  <a:tcPr marL="62188" marR="62188" marT="31094" marB="31094" anchor="ctr"/>
                </a:tc>
                <a:tc>
                  <a:txBody>
                    <a:bodyPr/>
                    <a:lstStyle/>
                    <a:p>
                      <a:pPr algn="ctr"/>
                      <a:r>
                        <a:rPr lang="en-US" sz="1400" dirty="0">
                          <a:latin typeface="Abadi" panose="020B0604020104020204" pitchFamily="34" charset="0"/>
                        </a:rPr>
                        <a:t>T+1</a:t>
                      </a:r>
                    </a:p>
                  </a:txBody>
                  <a:tcPr marL="62188" marR="62188" marT="31094" marB="31094" anchor="ctr"/>
                </a:tc>
                <a:extLst>
                  <a:ext uri="{0D108BD9-81ED-4DB2-BD59-A6C34878D82A}">
                    <a16:rowId xmlns:a16="http://schemas.microsoft.com/office/drawing/2014/main" val="1284916997"/>
                  </a:ext>
                </a:extLst>
              </a:tr>
              <a:tr h="353376">
                <a:tc>
                  <a:txBody>
                    <a:bodyPr/>
                    <a:lstStyle/>
                    <a:p>
                      <a:pPr algn="l"/>
                      <a:r>
                        <a:rPr lang="en-US" sz="1400" dirty="0">
                          <a:latin typeface="Abadi" panose="020B0604020104020204" pitchFamily="34" charset="0"/>
                        </a:rPr>
                        <a:t>EFT </a:t>
                      </a:r>
                    </a:p>
                  </a:txBody>
                  <a:tcPr marL="62188" marR="62188" marT="31094" marB="31094" anchor="ctr"/>
                </a:tc>
                <a:tc>
                  <a:txBody>
                    <a:bodyPr/>
                    <a:lstStyle/>
                    <a:p>
                      <a:pPr algn="ctr"/>
                      <a:r>
                        <a:rPr lang="en-US" sz="1400" dirty="0">
                          <a:latin typeface="Abadi" panose="020B0604020104020204" pitchFamily="34" charset="0"/>
                        </a:rPr>
                        <a:t>17</a:t>
                      </a:r>
                    </a:p>
                  </a:txBody>
                  <a:tcPr marL="62188" marR="62188" marT="31094" marB="31094" anchor="ctr"/>
                </a:tc>
                <a:tc>
                  <a:txBody>
                    <a:bodyPr/>
                    <a:lstStyle/>
                    <a:p>
                      <a:pPr algn="ctr"/>
                      <a:r>
                        <a:rPr lang="en-US" sz="1400" dirty="0">
                          <a:latin typeface="Abadi" panose="020B0604020104020204" pitchFamily="34" charset="0"/>
                        </a:rPr>
                        <a:t>947</a:t>
                      </a:r>
                    </a:p>
                  </a:txBody>
                  <a:tcPr marL="62188" marR="62188" marT="31094" marB="31094" anchor="ctr"/>
                </a:tc>
                <a:tc>
                  <a:txBody>
                    <a:bodyPr/>
                    <a:lstStyle/>
                    <a:p>
                      <a:pPr algn="ctr"/>
                      <a:r>
                        <a:rPr lang="en-US" sz="1400" dirty="0">
                          <a:latin typeface="Abadi" panose="020B0604020104020204" pitchFamily="34" charset="0"/>
                        </a:rPr>
                        <a:t>T+1</a:t>
                      </a:r>
                    </a:p>
                  </a:txBody>
                  <a:tcPr marL="62188" marR="62188" marT="31094" marB="31094" anchor="ctr"/>
                </a:tc>
                <a:extLst>
                  <a:ext uri="{0D108BD9-81ED-4DB2-BD59-A6C34878D82A}">
                    <a16:rowId xmlns:a16="http://schemas.microsoft.com/office/drawing/2014/main" val="2560278128"/>
                  </a:ext>
                </a:extLst>
              </a:tr>
              <a:tr h="353376">
                <a:tc>
                  <a:txBody>
                    <a:bodyPr/>
                    <a:lstStyle/>
                    <a:p>
                      <a:pPr algn="l"/>
                      <a:r>
                        <a:rPr lang="en-US" sz="1400" dirty="0">
                          <a:latin typeface="Abadi" panose="020B0604020104020204" pitchFamily="34" charset="0"/>
                        </a:rPr>
                        <a:t>Offnet Transactions(Mobile money)</a:t>
                      </a:r>
                    </a:p>
                  </a:txBody>
                  <a:tcPr marL="62188" marR="62188" marT="31094" marB="31094" anchor="ctr"/>
                </a:tc>
                <a:tc>
                  <a:txBody>
                    <a:bodyPr/>
                    <a:lstStyle/>
                    <a:p>
                      <a:pPr algn="ctr"/>
                      <a:r>
                        <a:rPr lang="en-US" sz="1400" dirty="0">
                          <a:latin typeface="Abadi" panose="020B0604020104020204" pitchFamily="34" charset="0"/>
                        </a:rPr>
                        <a:t>1134</a:t>
                      </a:r>
                    </a:p>
                  </a:txBody>
                  <a:tcPr marL="62188" marR="62188" marT="31094" marB="31094" anchor="ctr"/>
                </a:tc>
                <a:tc>
                  <a:txBody>
                    <a:bodyPr/>
                    <a:lstStyle/>
                    <a:p>
                      <a:pPr algn="ctr"/>
                      <a:r>
                        <a:rPr lang="en-US" sz="1400" dirty="0">
                          <a:latin typeface="Abadi" panose="020B0604020104020204" pitchFamily="34" charset="0"/>
                        </a:rPr>
                        <a:t>7,862</a:t>
                      </a:r>
                    </a:p>
                  </a:txBody>
                  <a:tcPr marL="62188" marR="62188" marT="31094" marB="31094" anchor="ctr"/>
                </a:tc>
                <a:tc>
                  <a:txBody>
                    <a:bodyPr/>
                    <a:lstStyle/>
                    <a:p>
                      <a:pPr algn="ctr"/>
                      <a:r>
                        <a:rPr lang="en-US" sz="1400" dirty="0">
                          <a:latin typeface="Abadi" panose="020B0604020104020204" pitchFamily="34" charset="0"/>
                        </a:rPr>
                        <a:t>Instant</a:t>
                      </a:r>
                    </a:p>
                  </a:txBody>
                  <a:tcPr marL="62188" marR="62188" marT="31094" marB="31094" anchor="ctr"/>
                </a:tc>
                <a:extLst>
                  <a:ext uri="{0D108BD9-81ED-4DB2-BD59-A6C34878D82A}">
                    <a16:rowId xmlns:a16="http://schemas.microsoft.com/office/drawing/2014/main" val="1517215905"/>
                  </a:ext>
                </a:extLst>
              </a:tr>
              <a:tr h="353376">
                <a:tc>
                  <a:txBody>
                    <a:bodyPr/>
                    <a:lstStyle/>
                    <a:p>
                      <a:pPr algn="l"/>
                      <a:r>
                        <a:rPr lang="en-US" sz="1400" dirty="0" err="1">
                          <a:latin typeface="Abadi" panose="020B0604020104020204" pitchFamily="34" charset="0"/>
                        </a:rPr>
                        <a:t>Pesalink</a:t>
                      </a:r>
                      <a:r>
                        <a:rPr lang="en-US" sz="1400" dirty="0">
                          <a:latin typeface="Abadi" panose="020B0604020104020204" pitchFamily="34" charset="0"/>
                        </a:rPr>
                        <a:t> </a:t>
                      </a:r>
                    </a:p>
                  </a:txBody>
                  <a:tcPr marL="62188" marR="62188" marT="31094" marB="31094" anchor="ctr"/>
                </a:tc>
                <a:tc>
                  <a:txBody>
                    <a:bodyPr/>
                    <a:lstStyle/>
                    <a:p>
                      <a:pPr algn="ctr"/>
                      <a:r>
                        <a:rPr lang="en-US" sz="1400" dirty="0">
                          <a:latin typeface="Abadi" panose="020B0604020104020204" pitchFamily="34" charset="0"/>
                        </a:rPr>
                        <a:t>6</a:t>
                      </a:r>
                    </a:p>
                  </a:txBody>
                  <a:tcPr marL="62188" marR="62188" marT="31094" marB="31094" anchor="ctr"/>
                </a:tc>
                <a:tc>
                  <a:txBody>
                    <a:bodyPr/>
                    <a:lstStyle/>
                    <a:p>
                      <a:pPr algn="ctr"/>
                      <a:r>
                        <a:rPr lang="en-US" sz="1400" dirty="0">
                          <a:latin typeface="Abadi" panose="020B0604020104020204" pitchFamily="34" charset="0"/>
                        </a:rPr>
                        <a:t>927</a:t>
                      </a:r>
                    </a:p>
                  </a:txBody>
                  <a:tcPr marL="62188" marR="62188" marT="31094" marB="31094" anchor="ctr"/>
                </a:tc>
                <a:tc>
                  <a:txBody>
                    <a:bodyPr/>
                    <a:lstStyle/>
                    <a:p>
                      <a:pPr algn="ctr"/>
                      <a:r>
                        <a:rPr lang="en-US" sz="1400" dirty="0">
                          <a:latin typeface="Abadi" panose="020B0604020104020204" pitchFamily="34" charset="0"/>
                        </a:rPr>
                        <a:t>Instant</a:t>
                      </a:r>
                    </a:p>
                  </a:txBody>
                  <a:tcPr marL="62188" marR="62188" marT="31094" marB="31094" anchor="ctr"/>
                </a:tc>
                <a:extLst>
                  <a:ext uri="{0D108BD9-81ED-4DB2-BD59-A6C34878D82A}">
                    <a16:rowId xmlns:a16="http://schemas.microsoft.com/office/drawing/2014/main" val="2193235879"/>
                  </a:ext>
                </a:extLst>
              </a:tr>
              <a:tr h="1580660">
                <a:tc gridSpan="4">
                  <a:txBody>
                    <a:bodyPr/>
                    <a:lstStyle/>
                    <a:p>
                      <a:r>
                        <a:rPr lang="en-US" sz="1400" i="1" dirty="0">
                          <a:latin typeface="Abadi" panose="020B0604020104020204" pitchFamily="34" charset="0"/>
                        </a:rPr>
                        <a:t>Source: CBK Data returns</a:t>
                      </a:r>
                    </a:p>
                    <a:p>
                      <a:endParaRPr lang="en-US" sz="1400" i="1" dirty="0">
                        <a:latin typeface="Abadi" panose="020B0604020104020204" pitchFamily="34" charset="0"/>
                      </a:endParaRPr>
                    </a:p>
                    <a:p>
                      <a:r>
                        <a:rPr lang="en-US" sz="1400" b="0" i="0" dirty="0">
                          <a:solidFill>
                            <a:schemeClr val="dk1"/>
                          </a:solidFill>
                          <a:effectLst/>
                          <a:latin typeface="Abadi" panose="020B0604020104020204" pitchFamily="34" charset="0"/>
                          <a:ea typeface="+mn-ea"/>
                          <a:cs typeface="+mn-cs"/>
                        </a:rPr>
                        <a:t>Cheques and Electronic Funds Transfer (EFT) transactions are not inherently instantaneous, presenting an opportunity to enhance their speed and immediacy.</a:t>
                      </a:r>
                      <a:r>
                        <a:rPr lang="en-US" sz="1400" b="0" i="0" dirty="0">
                          <a:latin typeface="Abadi" panose="020B0604020104020204" pitchFamily="34" charset="0"/>
                        </a:rPr>
                        <a:t> </a:t>
                      </a:r>
                    </a:p>
                    <a:p>
                      <a:endParaRPr lang="en-US" sz="1400" b="0" i="0" dirty="0">
                        <a:latin typeface="Abadi" panose="020B0604020104020204" pitchFamily="34" charset="0"/>
                      </a:endParaRPr>
                    </a:p>
                    <a:p>
                      <a:r>
                        <a:rPr lang="en-US" sz="1400" b="0" i="0" dirty="0" err="1">
                          <a:latin typeface="Abadi" panose="020B0604020104020204" pitchFamily="34" charset="0"/>
                        </a:rPr>
                        <a:t>Pesalink</a:t>
                      </a:r>
                      <a:r>
                        <a:rPr lang="en-US" sz="1400" b="0" i="0" dirty="0">
                          <a:latin typeface="Abadi" panose="020B0604020104020204" pitchFamily="34" charset="0"/>
                        </a:rPr>
                        <a:t> an instant payment platform has not been able to scale up/fully </a:t>
                      </a:r>
                      <a:r>
                        <a:rPr lang="en-US" sz="1400" b="0" i="0" dirty="0" err="1">
                          <a:latin typeface="Abadi" panose="020B0604020104020204" pitchFamily="34" charset="0"/>
                        </a:rPr>
                        <a:t>optimised</a:t>
                      </a:r>
                      <a:endParaRPr lang="en-US" sz="1400" b="0" i="0" dirty="0">
                        <a:latin typeface="Abadi" panose="020B0604020104020204" pitchFamily="34" charset="0"/>
                      </a:endParaRPr>
                    </a:p>
                  </a:txBody>
                  <a:tcPr marL="62188" marR="62188" marT="31094" marB="31094" anchor="ctr"/>
                </a:tc>
                <a:tc hMerge="1">
                  <a:txBody>
                    <a:bodyPr/>
                    <a:lstStyle/>
                    <a:p>
                      <a:endParaRPr lang="en-US"/>
                    </a:p>
                  </a:txBody>
                  <a:tcPr/>
                </a:tc>
                <a:tc hMerge="1">
                  <a:txBody>
                    <a:bodyPr/>
                    <a:lstStyle/>
                    <a:p>
                      <a:endParaRPr lang="en-US" dirty="0"/>
                    </a:p>
                  </a:txBody>
                  <a:tcPr/>
                </a:tc>
                <a:tc hMerge="1">
                  <a:txBody>
                    <a:bodyPr/>
                    <a:lstStyle/>
                    <a:p>
                      <a:endParaRPr lang="en-US" sz="1600" i="1" dirty="0">
                        <a:latin typeface="Century Gothic" panose="020B0502020202020204" pitchFamily="34" charset="0"/>
                      </a:endParaRPr>
                    </a:p>
                  </a:txBody>
                  <a:tcPr anchor="ctr"/>
                </a:tc>
                <a:extLst>
                  <a:ext uri="{0D108BD9-81ED-4DB2-BD59-A6C34878D82A}">
                    <a16:rowId xmlns:a16="http://schemas.microsoft.com/office/drawing/2014/main" val="2237414409"/>
                  </a:ext>
                </a:extLst>
              </a:tr>
            </a:tbl>
          </a:graphicData>
        </a:graphic>
      </p:graphicFrame>
      <p:sp>
        <p:nvSpPr>
          <p:cNvPr id="3" name="Rectangle 2">
            <a:extLst>
              <a:ext uri="{FF2B5EF4-FFF2-40B4-BE49-F238E27FC236}">
                <a16:creationId xmlns:a16="http://schemas.microsoft.com/office/drawing/2014/main" id="{1C27015C-B773-4717-83C2-C995E01DBB75}"/>
              </a:ext>
            </a:extLst>
          </p:cNvPr>
          <p:cNvSpPr/>
          <p:nvPr/>
        </p:nvSpPr>
        <p:spPr>
          <a:xfrm>
            <a:off x="4077432" y="1720277"/>
            <a:ext cx="928788" cy="10014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883">
              <a:buClrTx/>
            </a:pPr>
            <a:endParaRPr lang="en-US" sz="1224" kern="1200">
              <a:solidFill>
                <a:prstClr val="white"/>
              </a:solidFill>
              <a:latin typeface="Calibri"/>
            </a:endParaRPr>
          </a:p>
        </p:txBody>
      </p:sp>
    </p:spTree>
    <p:extLst>
      <p:ext uri="{BB962C8B-B14F-4D97-AF65-F5344CB8AC3E}">
        <p14:creationId xmlns:p14="http://schemas.microsoft.com/office/powerpoint/2010/main" val="9251300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878F730-B995-3EAA-6B76-2639F5B5C71D}"/>
              </a:ext>
            </a:extLst>
          </p:cNvPr>
          <p:cNvGrpSpPr/>
          <p:nvPr/>
        </p:nvGrpSpPr>
        <p:grpSpPr>
          <a:xfrm>
            <a:off x="14224" y="-38910"/>
            <a:ext cx="9117906" cy="3176217"/>
            <a:chOff x="-20610" y="-38910"/>
            <a:chExt cx="9117906" cy="3176217"/>
          </a:xfrm>
        </p:grpSpPr>
        <p:grpSp>
          <p:nvGrpSpPr>
            <p:cNvPr id="32" name="Group 31">
              <a:extLst>
                <a:ext uri="{FF2B5EF4-FFF2-40B4-BE49-F238E27FC236}">
                  <a16:creationId xmlns:a16="http://schemas.microsoft.com/office/drawing/2014/main" id="{B6CBA88F-163E-6C81-11AC-7692817D315E}"/>
                </a:ext>
              </a:extLst>
            </p:cNvPr>
            <p:cNvGrpSpPr/>
            <p:nvPr/>
          </p:nvGrpSpPr>
          <p:grpSpPr>
            <a:xfrm>
              <a:off x="685265" y="1676204"/>
              <a:ext cx="1435598" cy="1461103"/>
              <a:chOff x="1386295" y="2060457"/>
              <a:chExt cx="1498691" cy="1119037"/>
            </a:xfrm>
            <a:effectLst>
              <a:outerShdw blurRad="50800" dist="38100" algn="l" rotWithShape="0">
                <a:prstClr val="black">
                  <a:alpha val="40000"/>
                </a:prstClr>
              </a:outerShdw>
            </a:effectLst>
            <a:scene3d>
              <a:camera prst="orthographicFront">
                <a:rot lat="0" lon="0" rev="0"/>
              </a:camera>
              <a:lightRig rig="glow" dir="t">
                <a:rot lat="0" lon="0" rev="4800000"/>
              </a:lightRig>
            </a:scene3d>
          </p:grpSpPr>
          <p:sp>
            <p:nvSpPr>
              <p:cNvPr id="14" name="TextBox 13">
                <a:extLst>
                  <a:ext uri="{FF2B5EF4-FFF2-40B4-BE49-F238E27FC236}">
                    <a16:creationId xmlns:a16="http://schemas.microsoft.com/office/drawing/2014/main" id="{CAB9C395-9A79-2FF5-DBCF-A6E1BE0F56A2}"/>
                  </a:ext>
                </a:extLst>
              </p:cNvPr>
              <p:cNvSpPr txBox="1"/>
              <p:nvPr/>
            </p:nvSpPr>
            <p:spPr>
              <a:xfrm>
                <a:off x="1386295" y="2060457"/>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sp>
            <p:nvSpPr>
              <p:cNvPr id="23" name="TextBox 22">
                <a:extLst>
                  <a:ext uri="{FF2B5EF4-FFF2-40B4-BE49-F238E27FC236}">
                    <a16:creationId xmlns:a16="http://schemas.microsoft.com/office/drawing/2014/main" id="{FD25C55A-88B2-2DA7-13FE-1A9431CC1BE2}"/>
                  </a:ext>
                </a:extLst>
              </p:cNvPr>
              <p:cNvSpPr txBox="1"/>
              <p:nvPr/>
            </p:nvSpPr>
            <p:spPr>
              <a:xfrm>
                <a:off x="1448072" y="2960065"/>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grpSp>
        <p:sp>
          <p:nvSpPr>
            <p:cNvPr id="31" name="TextBox 30">
              <a:extLst>
                <a:ext uri="{FF2B5EF4-FFF2-40B4-BE49-F238E27FC236}">
                  <a16:creationId xmlns:a16="http://schemas.microsoft.com/office/drawing/2014/main" id="{4F31C261-29C8-C7A1-68AE-E010D4BC6011}"/>
                </a:ext>
              </a:extLst>
            </p:cNvPr>
            <p:cNvSpPr txBox="1"/>
            <p:nvPr/>
          </p:nvSpPr>
          <p:spPr>
            <a:xfrm>
              <a:off x="710281" y="15138"/>
              <a:ext cx="7872385" cy="338554"/>
            </a:xfrm>
            <a:prstGeom prst="rect">
              <a:avLst/>
            </a:prstGeom>
            <a:noFill/>
          </p:spPr>
          <p:txBody>
            <a:bodyPr wrap="square" rtlCol="0">
              <a:spAutoFit/>
            </a:bodyPr>
            <a:lstStyle/>
            <a:p>
              <a:r>
                <a:rPr lang="en-US" sz="1600" b="1" dirty="0">
                  <a:solidFill>
                    <a:schemeClr val="tx1"/>
                  </a:solidFill>
                  <a:latin typeface="Century Gothic" panose="020B0502020202020204" pitchFamily="34" charset="0"/>
                  <a:ea typeface="Aptos" panose="020B0004020202020204" pitchFamily="34" charset="0"/>
                  <a:cs typeface="Times New Roman" panose="02020603050405020304" pitchFamily="18" charset="0"/>
                </a:rPr>
                <a:t>Challenges in Enhancing Payment System Interoperability</a:t>
              </a:r>
              <a:endParaRPr lang="en-US" sz="1200" dirty="0">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C0DEF806-A698-47C2-55B3-244F2E0E838F}"/>
                </a:ext>
              </a:extLst>
            </p:cNvPr>
            <p:cNvPicPr>
              <a:picLocks noChangeAspect="1"/>
            </p:cNvPicPr>
            <p:nvPr/>
          </p:nvPicPr>
          <p:blipFill>
            <a:blip r:embed="rId3"/>
            <a:stretch>
              <a:fillRect/>
            </a:stretch>
          </p:blipFill>
          <p:spPr>
            <a:xfrm>
              <a:off x="8621576" y="-38910"/>
              <a:ext cx="475720" cy="376986"/>
            </a:xfrm>
            <a:prstGeom prst="rect">
              <a:avLst/>
            </a:prstGeom>
          </p:spPr>
        </p:pic>
        <p:sp>
          <p:nvSpPr>
            <p:cNvPr id="9" name="Title 10">
              <a:extLst>
                <a:ext uri="{FF2B5EF4-FFF2-40B4-BE49-F238E27FC236}">
                  <a16:creationId xmlns:a16="http://schemas.microsoft.com/office/drawing/2014/main" id="{C2400E5C-8C3E-927F-DB23-08B945F976B5}"/>
                </a:ext>
              </a:extLst>
            </p:cNvPr>
            <p:cNvSpPr txBox="1">
              <a:spLocks/>
            </p:cNvSpPr>
            <p:nvPr/>
          </p:nvSpPr>
          <p:spPr>
            <a:xfrm>
              <a:off x="-20610" y="-1779"/>
              <a:ext cx="653995" cy="32688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35.</a:t>
              </a:r>
              <a:endParaRPr lang="en-US" sz="1904" b="1" dirty="0">
                <a:solidFill>
                  <a:schemeClr val="tx1"/>
                </a:solidFill>
                <a:latin typeface="Century Gothic" panose="020B0502020202020204" pitchFamily="34" charset="0"/>
              </a:endParaRPr>
            </a:p>
          </p:txBody>
        </p:sp>
        <p:cxnSp>
          <p:nvCxnSpPr>
            <p:cNvPr id="4" name="Straight Connector 3">
              <a:extLst>
                <a:ext uri="{FF2B5EF4-FFF2-40B4-BE49-F238E27FC236}">
                  <a16:creationId xmlns:a16="http://schemas.microsoft.com/office/drawing/2014/main" id="{572BC718-6865-619A-6454-604E30B1075F}"/>
                </a:ext>
              </a:extLst>
            </p:cNvPr>
            <p:cNvCxnSpPr>
              <a:cxnSpLocks/>
            </p:cNvCxnSpPr>
            <p:nvPr/>
          </p:nvCxnSpPr>
          <p:spPr>
            <a:xfrm flipV="1">
              <a:off x="-13076" y="347387"/>
              <a:ext cx="9100483" cy="60994"/>
            </a:xfrm>
            <a:prstGeom prst="line">
              <a:avLst/>
            </a:prstGeom>
            <a:noFill/>
            <a:ln w="19050" cap="flat" cmpd="sng" algn="ctr">
              <a:solidFill>
                <a:srgbClr val="F19D19"/>
              </a:solidFill>
              <a:prstDash val="solid"/>
              <a:miter lim="800000"/>
            </a:ln>
            <a:effectLst/>
          </p:spPr>
        </p:cxnSp>
      </p:grpSp>
      <p:graphicFrame>
        <p:nvGraphicFramePr>
          <p:cNvPr id="10" name="Diagram 9">
            <a:extLst>
              <a:ext uri="{FF2B5EF4-FFF2-40B4-BE49-F238E27FC236}">
                <a16:creationId xmlns:a16="http://schemas.microsoft.com/office/drawing/2014/main" id="{709001D5-962D-66E7-BB04-4FE24FD52D6D}"/>
              </a:ext>
            </a:extLst>
          </p:cNvPr>
          <p:cNvGraphicFramePr/>
          <p:nvPr/>
        </p:nvGraphicFramePr>
        <p:xfrm>
          <a:off x="414067" y="618740"/>
          <a:ext cx="7798279" cy="39060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73311388"/>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57A1D71-3BC9-404C-9AC0-99544400E972}"/>
              </a:ext>
            </a:extLst>
          </p:cNvPr>
          <p:cNvSpPr txBox="1"/>
          <p:nvPr/>
        </p:nvSpPr>
        <p:spPr>
          <a:xfrm>
            <a:off x="2337256" y="222050"/>
            <a:ext cx="5869484" cy="254943"/>
          </a:xfrm>
          <a:prstGeom prst="rect">
            <a:avLst/>
          </a:prstGeom>
        </p:spPr>
        <p:txBody>
          <a:bodyPr vert="horz" wrap="square" lIns="0" tIns="8637"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C18"/>
                </a:solidFill>
                <a:effectLst/>
                <a:uLnTx/>
                <a:uFillTx/>
                <a:latin typeface="Century Gothic" panose="020B0502020202020204" pitchFamily="34" charset="0"/>
                <a:ea typeface="Aptos" panose="020B0004020202020204" pitchFamily="34" charset="0"/>
                <a:cs typeface="Times New Roman" panose="02020603050405020304" pitchFamily="18" charset="0"/>
                <a:sym typeface="Arial"/>
              </a:rPr>
              <a:t>Challenges in Enhancing Payment System Interoperability</a:t>
            </a:r>
            <a:endParaRPr kumimoji="0" lang="en-US" sz="1200" b="0" i="0" u="none" strike="noStrike" kern="0" cap="none" spc="0" normalizeH="0" baseline="0" noProof="0" dirty="0">
              <a:ln>
                <a:noFill/>
              </a:ln>
              <a:solidFill>
                <a:srgbClr val="000C18"/>
              </a:solidFill>
              <a:effectLst/>
              <a:uLnTx/>
              <a:uFillTx/>
              <a:latin typeface="Century Gothic" panose="020B0502020202020204" pitchFamily="34" charset="0"/>
              <a:cs typeface="Arial"/>
              <a:sym typeface="Arial"/>
            </a:endParaRPr>
          </a:p>
        </p:txBody>
      </p:sp>
      <p:sp>
        <p:nvSpPr>
          <p:cNvPr id="17" name="Title 10">
            <a:extLst>
              <a:ext uri="{FF2B5EF4-FFF2-40B4-BE49-F238E27FC236}">
                <a16:creationId xmlns:a16="http://schemas.microsoft.com/office/drawing/2014/main" id="{1C494919-E2EC-44AA-A4E2-7EC777B6B985}"/>
              </a:ext>
            </a:extLst>
          </p:cNvPr>
          <p:cNvSpPr>
            <a:spLocks noGrp="1"/>
          </p:cNvSpPr>
          <p:nvPr>
            <p:ph type="title"/>
          </p:nvPr>
        </p:nvSpPr>
        <p:spPr>
          <a:xfrm>
            <a:off x="1478945" y="330586"/>
            <a:ext cx="397938" cy="313932"/>
          </a:xfrm>
        </p:spPr>
        <p:txBody>
          <a:bodyPr/>
          <a:lstStyle/>
          <a:p>
            <a:r>
              <a:rPr lang="en-US" sz="2040" dirty="0">
                <a:latin typeface="Abadi" panose="020B0604020104020204" pitchFamily="34" charset="0"/>
              </a:rPr>
              <a:t>36</a:t>
            </a:r>
          </a:p>
        </p:txBody>
      </p:sp>
      <p:pic>
        <p:nvPicPr>
          <p:cNvPr id="3" name="Picture 2">
            <a:extLst>
              <a:ext uri="{FF2B5EF4-FFF2-40B4-BE49-F238E27FC236}">
                <a16:creationId xmlns:a16="http://schemas.microsoft.com/office/drawing/2014/main" id="{B69EE1D4-7495-4C99-BBC9-D25B69E50ED0}"/>
              </a:ext>
            </a:extLst>
          </p:cNvPr>
          <p:cNvPicPr>
            <a:picLocks noChangeAspect="1"/>
          </p:cNvPicPr>
          <p:nvPr/>
        </p:nvPicPr>
        <p:blipFill>
          <a:blip r:embed="rId2"/>
          <a:stretch>
            <a:fillRect/>
          </a:stretch>
        </p:blipFill>
        <p:spPr>
          <a:xfrm>
            <a:off x="1431921" y="1705635"/>
            <a:ext cx="1663375" cy="1063822"/>
          </a:xfrm>
          <a:prstGeom prst="rect">
            <a:avLst/>
          </a:prstGeom>
        </p:spPr>
      </p:pic>
      <p:sp>
        <p:nvSpPr>
          <p:cNvPr id="18" name="TextBox 17">
            <a:extLst>
              <a:ext uri="{FF2B5EF4-FFF2-40B4-BE49-F238E27FC236}">
                <a16:creationId xmlns:a16="http://schemas.microsoft.com/office/drawing/2014/main" id="{BAC0F846-121D-4D55-A2D2-9F98E81771F5}"/>
              </a:ext>
            </a:extLst>
          </p:cNvPr>
          <p:cNvSpPr txBox="1"/>
          <p:nvPr/>
        </p:nvSpPr>
        <p:spPr>
          <a:xfrm>
            <a:off x="1431921" y="2878658"/>
            <a:ext cx="2147335" cy="280718"/>
          </a:xfrm>
          <a:prstGeom prst="rect">
            <a:avLst/>
          </a:prstGeom>
          <a:noFill/>
        </p:spPr>
        <p:txBody>
          <a:bodyPr wrap="square" rtlCol="0">
            <a:spAutoFit/>
          </a:bodyPr>
          <a:lstStyle/>
          <a:p>
            <a:pPr defTabSz="621883">
              <a:buClrTx/>
            </a:pPr>
            <a:r>
              <a:rPr lang="en-US" sz="1224" b="1" kern="1200" dirty="0">
                <a:solidFill>
                  <a:prstClr val="black"/>
                </a:solidFill>
                <a:latin typeface="Abadi" panose="020B0604020104020204" pitchFamily="34" charset="0"/>
                <a:ea typeface="+mn-ea"/>
                <a:cs typeface="+mn-cs"/>
              </a:rPr>
              <a:t>Multiple banks ATMs</a:t>
            </a:r>
            <a:endParaRPr lang="en-US" sz="1224" kern="1200" dirty="0">
              <a:solidFill>
                <a:prstClr val="black"/>
              </a:solidFill>
              <a:latin typeface="Abadi" panose="020B0604020104020204" pitchFamily="34" charset="0"/>
              <a:ea typeface="+mn-ea"/>
              <a:cs typeface="+mn-cs"/>
            </a:endParaRPr>
          </a:p>
        </p:txBody>
      </p:sp>
      <p:sp>
        <p:nvSpPr>
          <p:cNvPr id="19" name="TextBox 18">
            <a:extLst>
              <a:ext uri="{FF2B5EF4-FFF2-40B4-BE49-F238E27FC236}">
                <a16:creationId xmlns:a16="http://schemas.microsoft.com/office/drawing/2014/main" id="{A790E4CC-377D-4727-8A20-52BD35009E7B}"/>
              </a:ext>
            </a:extLst>
          </p:cNvPr>
          <p:cNvSpPr txBox="1"/>
          <p:nvPr/>
        </p:nvSpPr>
        <p:spPr>
          <a:xfrm>
            <a:off x="1417986" y="4446333"/>
            <a:ext cx="2812265" cy="469103"/>
          </a:xfrm>
          <a:prstGeom prst="rect">
            <a:avLst/>
          </a:prstGeom>
          <a:noFill/>
        </p:spPr>
        <p:txBody>
          <a:bodyPr wrap="square" rtlCol="0">
            <a:spAutoFit/>
          </a:bodyPr>
          <a:lstStyle/>
          <a:p>
            <a:pPr defTabSz="621883">
              <a:buClrTx/>
            </a:pPr>
            <a:r>
              <a:rPr lang="en-US" sz="1224" b="1" kern="1200" dirty="0">
                <a:solidFill>
                  <a:prstClr val="black"/>
                </a:solidFill>
                <a:latin typeface="Abadi" panose="020B0604020104020204" pitchFamily="34" charset="0"/>
                <a:ea typeface="+mn-ea"/>
                <a:cs typeface="+mn-cs"/>
              </a:rPr>
              <a:t>Cashier counter displaying several POS</a:t>
            </a:r>
          </a:p>
        </p:txBody>
      </p:sp>
      <p:pic>
        <p:nvPicPr>
          <p:cNvPr id="11" name="Picture 10">
            <a:extLst>
              <a:ext uri="{FF2B5EF4-FFF2-40B4-BE49-F238E27FC236}">
                <a16:creationId xmlns:a16="http://schemas.microsoft.com/office/drawing/2014/main" id="{96987BD2-74A4-4D0F-8870-FBEE241B6F16}"/>
              </a:ext>
            </a:extLst>
          </p:cNvPr>
          <p:cNvPicPr>
            <a:picLocks noChangeAspect="1"/>
          </p:cNvPicPr>
          <p:nvPr/>
        </p:nvPicPr>
        <p:blipFill>
          <a:blip r:embed="rId3"/>
          <a:stretch>
            <a:fillRect/>
          </a:stretch>
        </p:blipFill>
        <p:spPr>
          <a:xfrm>
            <a:off x="5057999" y="1701089"/>
            <a:ext cx="1663375" cy="1148962"/>
          </a:xfrm>
          <a:prstGeom prst="rect">
            <a:avLst/>
          </a:prstGeom>
        </p:spPr>
      </p:pic>
      <p:sp>
        <p:nvSpPr>
          <p:cNvPr id="20" name="TextBox 19">
            <a:extLst>
              <a:ext uri="{FF2B5EF4-FFF2-40B4-BE49-F238E27FC236}">
                <a16:creationId xmlns:a16="http://schemas.microsoft.com/office/drawing/2014/main" id="{DF4B75E1-58A7-470D-BB16-F93C1F818196}"/>
              </a:ext>
            </a:extLst>
          </p:cNvPr>
          <p:cNvSpPr txBox="1"/>
          <p:nvPr/>
        </p:nvSpPr>
        <p:spPr>
          <a:xfrm>
            <a:off x="5057998" y="2886615"/>
            <a:ext cx="2580434" cy="469103"/>
          </a:xfrm>
          <a:prstGeom prst="rect">
            <a:avLst/>
          </a:prstGeom>
          <a:noFill/>
        </p:spPr>
        <p:txBody>
          <a:bodyPr wrap="square" rtlCol="0">
            <a:spAutoFit/>
          </a:bodyPr>
          <a:lstStyle/>
          <a:p>
            <a:pPr defTabSz="621883">
              <a:buClrTx/>
            </a:pPr>
            <a:r>
              <a:rPr lang="en-US" sz="1224" b="1" kern="1200" dirty="0">
                <a:solidFill>
                  <a:prstClr val="black"/>
                </a:solidFill>
                <a:latin typeface="Abadi" panose="020B0604020104020204" pitchFamily="34" charset="0"/>
                <a:ea typeface="+mn-ea"/>
                <a:cs typeface="+mn-cs"/>
              </a:rPr>
              <a:t>Outlet recruited by different players</a:t>
            </a:r>
          </a:p>
        </p:txBody>
      </p:sp>
      <p:pic>
        <p:nvPicPr>
          <p:cNvPr id="3076" name="Picture 4" descr="The Rise of Agency Banking in Kenya">
            <a:extLst>
              <a:ext uri="{FF2B5EF4-FFF2-40B4-BE49-F238E27FC236}">
                <a16:creationId xmlns:a16="http://schemas.microsoft.com/office/drawing/2014/main" id="{A7B7207F-EDD4-ED55-1B08-BEF0EBCBE47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57998" y="3274554"/>
            <a:ext cx="1774603" cy="10169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2C3F7FE-AA66-A368-85FE-3C3E2441DE3A}"/>
              </a:ext>
            </a:extLst>
          </p:cNvPr>
          <p:cNvSpPr txBox="1"/>
          <p:nvPr/>
        </p:nvSpPr>
        <p:spPr>
          <a:xfrm>
            <a:off x="5057998" y="4428274"/>
            <a:ext cx="2812265" cy="469103"/>
          </a:xfrm>
          <a:prstGeom prst="rect">
            <a:avLst/>
          </a:prstGeom>
          <a:noFill/>
        </p:spPr>
        <p:txBody>
          <a:bodyPr wrap="square" rtlCol="0">
            <a:spAutoFit/>
          </a:bodyPr>
          <a:lstStyle/>
          <a:p>
            <a:pPr defTabSz="621883">
              <a:buClrTx/>
            </a:pPr>
            <a:r>
              <a:rPr lang="en-US" sz="1224" b="1" kern="1200" dirty="0">
                <a:solidFill>
                  <a:prstClr val="black"/>
                </a:solidFill>
                <a:latin typeface="Abadi" panose="020B0604020104020204" pitchFamily="34" charset="0"/>
                <a:ea typeface="+mn-ea"/>
                <a:cs typeface="+mn-cs"/>
              </a:rPr>
              <a:t>Lack of sharing infrastructure by agents</a:t>
            </a:r>
          </a:p>
        </p:txBody>
      </p:sp>
      <p:sp>
        <p:nvSpPr>
          <p:cNvPr id="13" name="TextBox 12">
            <a:extLst>
              <a:ext uri="{FF2B5EF4-FFF2-40B4-BE49-F238E27FC236}">
                <a16:creationId xmlns:a16="http://schemas.microsoft.com/office/drawing/2014/main" id="{43DF8FB2-0A38-498A-950C-F3A07ED807FE}"/>
              </a:ext>
            </a:extLst>
          </p:cNvPr>
          <p:cNvSpPr txBox="1"/>
          <p:nvPr/>
        </p:nvSpPr>
        <p:spPr>
          <a:xfrm>
            <a:off x="1350342" y="987484"/>
            <a:ext cx="6401541" cy="908582"/>
          </a:xfrm>
          <a:prstGeom prst="rect">
            <a:avLst/>
          </a:prstGeom>
          <a:noFill/>
        </p:spPr>
        <p:txBody>
          <a:bodyPr wrap="square">
            <a:spAutoFit/>
          </a:bodyPr>
          <a:lstStyle/>
          <a:p>
            <a:pPr defTabSz="621883">
              <a:buClrTx/>
            </a:pPr>
            <a:r>
              <a:rPr lang="en-US" sz="1360" b="1" kern="1200" dirty="0">
                <a:solidFill>
                  <a:prstClr val="black"/>
                </a:solidFill>
                <a:latin typeface="Abadi" panose="020B0604020104020204" pitchFamily="34" charset="0"/>
                <a:ea typeface="+mn-ea"/>
                <a:cs typeface="+mn-cs"/>
              </a:rPr>
              <a:t>Limited infrastructure sharing</a:t>
            </a:r>
          </a:p>
          <a:p>
            <a:pPr marL="194339" indent="-194339" defTabSz="621883">
              <a:buClrTx/>
              <a:buFont typeface="Arial" panose="020B0604020202020204" pitchFamily="34" charset="0"/>
              <a:buChar char="•"/>
            </a:pPr>
            <a:r>
              <a:rPr lang="en-US" sz="1360" kern="1200" dirty="0">
                <a:solidFill>
                  <a:prstClr val="black"/>
                </a:solidFill>
                <a:latin typeface="Abadi" panose="020B0604020104020204" pitchFamily="34" charset="0"/>
                <a:ea typeface="+mn-ea"/>
                <a:cs typeface="+mn-cs"/>
              </a:rPr>
              <a:t>Inefficient utilization of physical infrastructure (ATMs and POS devices)</a:t>
            </a:r>
          </a:p>
          <a:p>
            <a:pPr marL="194339" indent="-194339" defTabSz="621883">
              <a:buClrTx/>
              <a:buFont typeface="Arial" panose="020B0604020202020204" pitchFamily="34" charset="0"/>
              <a:buChar char="•"/>
            </a:pPr>
            <a:r>
              <a:rPr lang="en-US" sz="1360" kern="1200" dirty="0">
                <a:solidFill>
                  <a:prstClr val="black"/>
                </a:solidFill>
                <a:latin typeface="Abadi" panose="020B0604020104020204" pitchFamily="34" charset="0"/>
                <a:ea typeface="+mn-ea"/>
                <a:cs typeface="+mn-cs"/>
              </a:rPr>
              <a:t>Multiple/closed systems telco, banks, non-banks</a:t>
            </a:r>
          </a:p>
          <a:p>
            <a:pPr defTabSz="621883">
              <a:buClrTx/>
            </a:pPr>
            <a:endParaRPr lang="en-US" sz="1224" kern="1200" dirty="0">
              <a:solidFill>
                <a:prstClr val="black"/>
              </a:solidFill>
              <a:latin typeface="Century Gothic" panose="020B0502020202020204" pitchFamily="34" charset="0"/>
              <a:ea typeface="+mn-ea"/>
              <a:cs typeface="+mn-cs"/>
            </a:endParaRPr>
          </a:p>
        </p:txBody>
      </p:sp>
      <p:pic>
        <p:nvPicPr>
          <p:cNvPr id="7" name="Picture 6">
            <a:extLst>
              <a:ext uri="{FF2B5EF4-FFF2-40B4-BE49-F238E27FC236}">
                <a16:creationId xmlns:a16="http://schemas.microsoft.com/office/drawing/2014/main" id="{95450A0D-1D12-438F-BC97-A9B568AE3CB9}"/>
              </a:ext>
            </a:extLst>
          </p:cNvPr>
          <p:cNvPicPr>
            <a:picLocks noChangeAspect="1"/>
          </p:cNvPicPr>
          <p:nvPr/>
        </p:nvPicPr>
        <p:blipFill>
          <a:blip r:embed="rId5"/>
          <a:stretch>
            <a:fillRect/>
          </a:stretch>
        </p:blipFill>
        <p:spPr>
          <a:xfrm>
            <a:off x="1505568" y="3302733"/>
            <a:ext cx="1774603" cy="1125541"/>
          </a:xfrm>
          <a:prstGeom prst="rect">
            <a:avLst/>
          </a:prstGeom>
        </p:spPr>
      </p:pic>
    </p:spTree>
    <p:extLst>
      <p:ext uri="{BB962C8B-B14F-4D97-AF65-F5344CB8AC3E}">
        <p14:creationId xmlns:p14="http://schemas.microsoft.com/office/powerpoint/2010/main" val="23208595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57A1D71-3BC9-404C-9AC0-99544400E972}"/>
              </a:ext>
            </a:extLst>
          </p:cNvPr>
          <p:cNvSpPr txBox="1"/>
          <p:nvPr/>
        </p:nvSpPr>
        <p:spPr>
          <a:xfrm>
            <a:off x="2395406" y="224209"/>
            <a:ext cx="5441486" cy="501164"/>
          </a:xfrm>
          <a:prstGeom prst="rect">
            <a:avLst/>
          </a:prstGeom>
        </p:spPr>
        <p:txBody>
          <a:bodyPr vert="horz" wrap="square" lIns="0" tIns="8637" rIns="0" bIns="0" rtlCol="0">
            <a:spAutoFit/>
          </a:bodyPr>
          <a:lstStyle/>
          <a:p>
            <a:r>
              <a:rPr lang="en-US" sz="1600" b="1" dirty="0">
                <a:solidFill>
                  <a:schemeClr val="tx1"/>
                </a:solidFill>
                <a:latin typeface="Century Gothic" panose="020B0502020202020204" pitchFamily="34" charset="0"/>
                <a:ea typeface="Aptos" panose="020B0004020202020204" pitchFamily="34" charset="0"/>
                <a:cs typeface="Times New Roman" panose="02020603050405020304" pitchFamily="18" charset="0"/>
              </a:rPr>
              <a:t>Challenges in Enhancing Payment System Interoperability</a:t>
            </a:r>
            <a:endParaRPr lang="en-US" sz="1600" dirty="0">
              <a:solidFill>
                <a:schemeClr val="tx1"/>
              </a:solidFill>
              <a:latin typeface="Century Gothic" panose="020B0502020202020204" pitchFamily="34" charset="0"/>
            </a:endParaRPr>
          </a:p>
        </p:txBody>
      </p:sp>
      <p:sp>
        <p:nvSpPr>
          <p:cNvPr id="17" name="Title 10">
            <a:extLst>
              <a:ext uri="{FF2B5EF4-FFF2-40B4-BE49-F238E27FC236}">
                <a16:creationId xmlns:a16="http://schemas.microsoft.com/office/drawing/2014/main" id="{1C494919-E2EC-44AA-A4E2-7EC777B6B985}"/>
              </a:ext>
            </a:extLst>
          </p:cNvPr>
          <p:cNvSpPr>
            <a:spLocks noGrp="1"/>
          </p:cNvSpPr>
          <p:nvPr>
            <p:ph type="title"/>
          </p:nvPr>
        </p:nvSpPr>
        <p:spPr>
          <a:xfrm>
            <a:off x="1478945" y="281488"/>
            <a:ext cx="397938" cy="313932"/>
          </a:xfrm>
        </p:spPr>
        <p:txBody>
          <a:bodyPr/>
          <a:lstStyle/>
          <a:p>
            <a:r>
              <a:rPr lang="en-US" sz="2040" dirty="0">
                <a:latin typeface="Abadi" panose="020B0604020104020204" pitchFamily="34" charset="0"/>
              </a:rPr>
              <a:t>37</a:t>
            </a:r>
          </a:p>
        </p:txBody>
      </p:sp>
      <p:grpSp>
        <p:nvGrpSpPr>
          <p:cNvPr id="2" name="Group 1">
            <a:extLst>
              <a:ext uri="{FF2B5EF4-FFF2-40B4-BE49-F238E27FC236}">
                <a16:creationId xmlns:a16="http://schemas.microsoft.com/office/drawing/2014/main" id="{84B960DD-F229-4DF4-9017-1C3786BF38FD}"/>
              </a:ext>
            </a:extLst>
          </p:cNvPr>
          <p:cNvGrpSpPr/>
          <p:nvPr/>
        </p:nvGrpSpPr>
        <p:grpSpPr>
          <a:xfrm>
            <a:off x="1410481" y="1723301"/>
            <a:ext cx="5591547" cy="2889562"/>
            <a:chOff x="1104961" y="1537304"/>
            <a:chExt cx="8221645" cy="4248726"/>
          </a:xfrm>
        </p:grpSpPr>
        <p:pic>
          <p:nvPicPr>
            <p:cNvPr id="8" name="Picture 7">
              <a:extLst>
                <a:ext uri="{FF2B5EF4-FFF2-40B4-BE49-F238E27FC236}">
                  <a16:creationId xmlns:a16="http://schemas.microsoft.com/office/drawing/2014/main" id="{AE97E505-84C6-4972-A616-BC24FB327987}"/>
                </a:ext>
              </a:extLst>
            </p:cNvPr>
            <p:cNvPicPr>
              <a:picLocks noChangeAspect="1"/>
            </p:cNvPicPr>
            <p:nvPr/>
          </p:nvPicPr>
          <p:blipFill>
            <a:blip r:embed="rId2"/>
            <a:stretch>
              <a:fillRect/>
            </a:stretch>
          </p:blipFill>
          <p:spPr>
            <a:xfrm>
              <a:off x="7189937" y="1607235"/>
              <a:ext cx="1686605" cy="637704"/>
            </a:xfrm>
            <a:prstGeom prst="rect">
              <a:avLst/>
            </a:prstGeom>
          </p:spPr>
        </p:pic>
        <p:pic>
          <p:nvPicPr>
            <p:cNvPr id="11" name="Picture 10">
              <a:extLst>
                <a:ext uri="{FF2B5EF4-FFF2-40B4-BE49-F238E27FC236}">
                  <a16:creationId xmlns:a16="http://schemas.microsoft.com/office/drawing/2014/main" id="{8A710CFF-7A21-4DBA-A32F-D03250ACDF27}"/>
                </a:ext>
              </a:extLst>
            </p:cNvPr>
            <p:cNvPicPr>
              <a:picLocks noChangeAspect="1"/>
            </p:cNvPicPr>
            <p:nvPr/>
          </p:nvPicPr>
          <p:blipFill>
            <a:blip r:embed="rId3"/>
            <a:stretch>
              <a:fillRect/>
            </a:stretch>
          </p:blipFill>
          <p:spPr>
            <a:xfrm>
              <a:off x="1104961" y="4305933"/>
              <a:ext cx="2226927" cy="1253563"/>
            </a:xfrm>
            <a:prstGeom prst="rect">
              <a:avLst/>
            </a:prstGeom>
          </p:spPr>
        </p:pic>
        <p:pic>
          <p:nvPicPr>
            <p:cNvPr id="13" name="Picture 12">
              <a:extLst>
                <a:ext uri="{FF2B5EF4-FFF2-40B4-BE49-F238E27FC236}">
                  <a16:creationId xmlns:a16="http://schemas.microsoft.com/office/drawing/2014/main" id="{0D62684A-F5B7-4D98-A5BE-B7A4FE5E80C2}"/>
                </a:ext>
              </a:extLst>
            </p:cNvPr>
            <p:cNvPicPr>
              <a:picLocks noChangeAspect="1"/>
            </p:cNvPicPr>
            <p:nvPr/>
          </p:nvPicPr>
          <p:blipFill>
            <a:blip r:embed="rId4"/>
            <a:stretch>
              <a:fillRect/>
            </a:stretch>
          </p:blipFill>
          <p:spPr>
            <a:xfrm>
              <a:off x="7378181" y="4305933"/>
              <a:ext cx="1359839" cy="1480097"/>
            </a:xfrm>
            <a:prstGeom prst="rect">
              <a:avLst/>
            </a:prstGeom>
          </p:spPr>
        </p:pic>
        <p:cxnSp>
          <p:nvCxnSpPr>
            <p:cNvPr id="15" name="Straight Arrow Connector 14">
              <a:extLst>
                <a:ext uri="{FF2B5EF4-FFF2-40B4-BE49-F238E27FC236}">
                  <a16:creationId xmlns:a16="http://schemas.microsoft.com/office/drawing/2014/main" id="{E3D7788B-C957-4438-880A-52DDFE473302}"/>
                </a:ext>
              </a:extLst>
            </p:cNvPr>
            <p:cNvCxnSpPr/>
            <p:nvPr/>
          </p:nvCxnSpPr>
          <p:spPr>
            <a:xfrm>
              <a:off x="7844931" y="2480458"/>
              <a:ext cx="0" cy="161504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07CA16F-754A-44D0-8D78-3463694F4EFE}"/>
                </a:ext>
              </a:extLst>
            </p:cNvPr>
            <p:cNvCxnSpPr>
              <a:cxnSpLocks/>
            </p:cNvCxnSpPr>
            <p:nvPr/>
          </p:nvCxnSpPr>
          <p:spPr>
            <a:xfrm flipV="1">
              <a:off x="8033239" y="2441215"/>
              <a:ext cx="0" cy="1654287"/>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BEC47A4-738B-4D67-BCF2-7088B47F823B}"/>
                </a:ext>
              </a:extLst>
            </p:cNvPr>
            <p:cNvSpPr txBox="1"/>
            <p:nvPr/>
          </p:nvSpPr>
          <p:spPr>
            <a:xfrm>
              <a:off x="3438784" y="3013684"/>
              <a:ext cx="995513" cy="689567"/>
            </a:xfrm>
            <a:prstGeom prst="rect">
              <a:avLst/>
            </a:prstGeom>
            <a:noFill/>
          </p:spPr>
          <p:txBody>
            <a:bodyPr wrap="square" rtlCol="0">
              <a:spAutoFit/>
            </a:bodyPr>
            <a:lstStyle/>
            <a:p>
              <a:pPr defTabSz="621883">
                <a:buClrTx/>
              </a:pPr>
              <a:r>
                <a:rPr lang="en-US" sz="816" kern="1200" dirty="0">
                  <a:solidFill>
                    <a:prstClr val="black"/>
                  </a:solidFill>
                  <a:latin typeface="Century Gothic" panose="020B0502020202020204" pitchFamily="34" charset="0"/>
                  <a:ea typeface="+mn-ea"/>
                  <a:cs typeface="+mn-cs"/>
                </a:rPr>
                <a:t>Bank/Wallet transfers</a:t>
              </a:r>
            </a:p>
          </p:txBody>
        </p:sp>
        <p:cxnSp>
          <p:nvCxnSpPr>
            <p:cNvPr id="25" name="Straight Arrow Connector 24">
              <a:extLst>
                <a:ext uri="{FF2B5EF4-FFF2-40B4-BE49-F238E27FC236}">
                  <a16:creationId xmlns:a16="http://schemas.microsoft.com/office/drawing/2014/main" id="{433D6D04-6475-4718-AE9D-185DBBC46709}"/>
                </a:ext>
              </a:extLst>
            </p:cNvPr>
            <p:cNvCxnSpPr>
              <a:cxnSpLocks/>
            </p:cNvCxnSpPr>
            <p:nvPr/>
          </p:nvCxnSpPr>
          <p:spPr>
            <a:xfrm flipH="1">
              <a:off x="3053718" y="2236857"/>
              <a:ext cx="4070959" cy="199538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AD133F2-1911-4D7F-BC89-DEAD6886C880}"/>
                </a:ext>
              </a:extLst>
            </p:cNvPr>
            <p:cNvCxnSpPr>
              <a:cxnSpLocks/>
            </p:cNvCxnSpPr>
            <p:nvPr/>
          </p:nvCxnSpPr>
          <p:spPr>
            <a:xfrm flipV="1">
              <a:off x="3421824" y="2487378"/>
              <a:ext cx="3915795" cy="1849945"/>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89195D9-EFE2-4124-ADDD-EF59CE9666A4}"/>
                </a:ext>
              </a:extLst>
            </p:cNvPr>
            <p:cNvSpPr txBox="1"/>
            <p:nvPr/>
          </p:nvSpPr>
          <p:spPr>
            <a:xfrm>
              <a:off x="8173099" y="2430880"/>
              <a:ext cx="1153507" cy="566625"/>
            </a:xfrm>
            <a:prstGeom prst="rect">
              <a:avLst/>
            </a:prstGeom>
            <a:noFill/>
          </p:spPr>
          <p:txBody>
            <a:bodyPr wrap="square" rtlCol="0">
              <a:spAutoFit/>
            </a:bodyPr>
            <a:lstStyle/>
            <a:p>
              <a:pPr defTabSz="621883">
                <a:buClrTx/>
              </a:pPr>
              <a:r>
                <a:rPr lang="en-US" sz="952" kern="1200" dirty="0">
                  <a:solidFill>
                    <a:prstClr val="black"/>
                  </a:solidFill>
                  <a:latin typeface="Abadi" panose="020B0604020104020204" pitchFamily="34" charset="0"/>
                  <a:ea typeface="+mn-ea"/>
                  <a:cs typeface="+mn-cs"/>
                </a:rPr>
                <a:t>Bank/Wallet transfers</a:t>
              </a:r>
            </a:p>
          </p:txBody>
        </p:sp>
        <p:cxnSp>
          <p:nvCxnSpPr>
            <p:cNvPr id="36" name="Straight Arrow Connector 35">
              <a:extLst>
                <a:ext uri="{FF2B5EF4-FFF2-40B4-BE49-F238E27FC236}">
                  <a16:creationId xmlns:a16="http://schemas.microsoft.com/office/drawing/2014/main" id="{7061A836-2DA2-49ED-A27E-A8A73815BD4E}"/>
                </a:ext>
              </a:extLst>
            </p:cNvPr>
            <p:cNvCxnSpPr/>
            <p:nvPr/>
          </p:nvCxnSpPr>
          <p:spPr>
            <a:xfrm>
              <a:off x="1902801" y="2449292"/>
              <a:ext cx="0" cy="161504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8A4624E3-9598-4C5C-8568-7D41F28D1BE0}"/>
                </a:ext>
              </a:extLst>
            </p:cNvPr>
            <p:cNvCxnSpPr>
              <a:cxnSpLocks/>
            </p:cNvCxnSpPr>
            <p:nvPr/>
          </p:nvCxnSpPr>
          <p:spPr>
            <a:xfrm flipV="1">
              <a:off x="2091109" y="2410049"/>
              <a:ext cx="0" cy="1654287"/>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6237EAD-015B-4038-91ED-ED0B49BA4C8E}"/>
                </a:ext>
              </a:extLst>
            </p:cNvPr>
            <p:cNvSpPr txBox="1"/>
            <p:nvPr/>
          </p:nvSpPr>
          <p:spPr>
            <a:xfrm>
              <a:off x="2180518" y="2336316"/>
              <a:ext cx="1101446" cy="782056"/>
            </a:xfrm>
            <a:prstGeom prst="rect">
              <a:avLst/>
            </a:prstGeom>
            <a:noFill/>
          </p:spPr>
          <p:txBody>
            <a:bodyPr wrap="square" rtlCol="0">
              <a:spAutoFit/>
            </a:bodyPr>
            <a:lstStyle/>
            <a:p>
              <a:pPr defTabSz="621883">
                <a:buClrTx/>
              </a:pPr>
              <a:r>
                <a:rPr lang="en-US" sz="952" kern="1200" dirty="0">
                  <a:solidFill>
                    <a:prstClr val="black"/>
                  </a:solidFill>
                  <a:latin typeface="Abadi" panose="020B0604020104020204" pitchFamily="34" charset="0"/>
                  <a:ea typeface="+mn-ea"/>
                  <a:cs typeface="+mn-cs"/>
                </a:rPr>
                <a:t>Bank/Wallet transfers</a:t>
              </a:r>
            </a:p>
          </p:txBody>
        </p:sp>
        <p:cxnSp>
          <p:nvCxnSpPr>
            <p:cNvPr id="39" name="Straight Arrow Connector 38">
              <a:extLst>
                <a:ext uri="{FF2B5EF4-FFF2-40B4-BE49-F238E27FC236}">
                  <a16:creationId xmlns:a16="http://schemas.microsoft.com/office/drawing/2014/main" id="{12D252FB-7817-4502-9006-23CC2696BDF0}"/>
                </a:ext>
              </a:extLst>
            </p:cNvPr>
            <p:cNvCxnSpPr>
              <a:cxnSpLocks/>
            </p:cNvCxnSpPr>
            <p:nvPr/>
          </p:nvCxnSpPr>
          <p:spPr>
            <a:xfrm flipH="1" flipV="1">
              <a:off x="3872917" y="2230283"/>
              <a:ext cx="3441589" cy="2096114"/>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885A10-F7DF-47FA-B503-EC9C7C71C90C}"/>
                </a:ext>
              </a:extLst>
            </p:cNvPr>
            <p:cNvCxnSpPr>
              <a:cxnSpLocks/>
            </p:cNvCxnSpPr>
            <p:nvPr/>
          </p:nvCxnSpPr>
          <p:spPr>
            <a:xfrm>
              <a:off x="3817970" y="2462988"/>
              <a:ext cx="3485932" cy="2109803"/>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17E62B8-EC80-4DAB-BA57-16BFA501157E}"/>
                </a:ext>
              </a:extLst>
            </p:cNvPr>
            <p:cNvSpPr txBox="1"/>
            <p:nvPr/>
          </p:nvSpPr>
          <p:spPr>
            <a:xfrm>
              <a:off x="4430518" y="1909509"/>
              <a:ext cx="1286701" cy="566625"/>
            </a:xfrm>
            <a:prstGeom prst="rect">
              <a:avLst/>
            </a:prstGeom>
            <a:noFill/>
          </p:spPr>
          <p:txBody>
            <a:bodyPr wrap="square" rtlCol="0">
              <a:spAutoFit/>
            </a:bodyPr>
            <a:lstStyle/>
            <a:p>
              <a:pPr defTabSz="621883">
                <a:buClrTx/>
              </a:pPr>
              <a:r>
                <a:rPr lang="en-US" sz="952" kern="1200" dirty="0">
                  <a:solidFill>
                    <a:prstClr val="black"/>
                  </a:solidFill>
                  <a:latin typeface="Abadi" panose="020B0604020104020204" pitchFamily="34" charset="0"/>
                  <a:ea typeface="+mn-ea"/>
                  <a:cs typeface="+mn-cs"/>
                </a:rPr>
                <a:t>Bank/Wallet transfers</a:t>
              </a:r>
            </a:p>
          </p:txBody>
        </p:sp>
        <p:cxnSp>
          <p:nvCxnSpPr>
            <p:cNvPr id="49" name="Straight Arrow Connector 48">
              <a:extLst>
                <a:ext uri="{FF2B5EF4-FFF2-40B4-BE49-F238E27FC236}">
                  <a16:creationId xmlns:a16="http://schemas.microsoft.com/office/drawing/2014/main" id="{3164A391-662F-4563-9CC0-01EB3CECE50F}"/>
                </a:ext>
              </a:extLst>
            </p:cNvPr>
            <p:cNvCxnSpPr>
              <a:cxnSpLocks/>
            </p:cNvCxnSpPr>
            <p:nvPr/>
          </p:nvCxnSpPr>
          <p:spPr>
            <a:xfrm flipH="1" flipV="1">
              <a:off x="3381533" y="4580415"/>
              <a:ext cx="3972014" cy="67531"/>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C3699AF4-D7DF-4C63-971F-3D3B9DD835AC}"/>
                </a:ext>
              </a:extLst>
            </p:cNvPr>
            <p:cNvCxnSpPr>
              <a:cxnSpLocks/>
            </p:cNvCxnSpPr>
            <p:nvPr/>
          </p:nvCxnSpPr>
          <p:spPr>
            <a:xfrm>
              <a:off x="3460419" y="4815883"/>
              <a:ext cx="3843483" cy="72055"/>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D3BAE2CD-70AD-4088-9EBD-6692DFB633EA}"/>
                </a:ext>
              </a:extLst>
            </p:cNvPr>
            <p:cNvCxnSpPr>
              <a:cxnSpLocks/>
            </p:cNvCxnSpPr>
            <p:nvPr/>
          </p:nvCxnSpPr>
          <p:spPr>
            <a:xfrm flipH="1" flipV="1">
              <a:off x="3381533" y="5293680"/>
              <a:ext cx="3972014" cy="67531"/>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88C2A10-5A9E-4617-977C-E260FB2A618B}"/>
                </a:ext>
              </a:extLst>
            </p:cNvPr>
            <p:cNvCxnSpPr>
              <a:cxnSpLocks/>
            </p:cNvCxnSpPr>
            <p:nvPr/>
          </p:nvCxnSpPr>
          <p:spPr>
            <a:xfrm>
              <a:off x="3460419" y="5529148"/>
              <a:ext cx="3843483" cy="72055"/>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5A32F226-F8B5-430D-B69A-888E88D44CBB}"/>
                </a:ext>
              </a:extLst>
            </p:cNvPr>
            <p:cNvSpPr txBox="1"/>
            <p:nvPr/>
          </p:nvSpPr>
          <p:spPr>
            <a:xfrm>
              <a:off x="4857279" y="4343406"/>
              <a:ext cx="995513" cy="351195"/>
            </a:xfrm>
            <a:prstGeom prst="rect">
              <a:avLst/>
            </a:prstGeom>
            <a:noFill/>
          </p:spPr>
          <p:txBody>
            <a:bodyPr wrap="square" rtlCol="0">
              <a:spAutoFit/>
            </a:bodyPr>
            <a:lstStyle/>
            <a:p>
              <a:pPr defTabSz="621883">
                <a:buClrTx/>
              </a:pPr>
              <a:r>
                <a:rPr lang="en-US" sz="952" kern="1200" dirty="0">
                  <a:solidFill>
                    <a:prstClr val="black"/>
                  </a:solidFill>
                  <a:latin typeface="Abadi" panose="020B0604020104020204" pitchFamily="34" charset="0"/>
                  <a:ea typeface="+mn-ea"/>
                  <a:cs typeface="+mn-cs"/>
                </a:rPr>
                <a:t>P2P</a:t>
              </a:r>
            </a:p>
          </p:txBody>
        </p:sp>
        <p:sp>
          <p:nvSpPr>
            <p:cNvPr id="60" name="TextBox 59">
              <a:extLst>
                <a:ext uri="{FF2B5EF4-FFF2-40B4-BE49-F238E27FC236}">
                  <a16:creationId xmlns:a16="http://schemas.microsoft.com/office/drawing/2014/main" id="{F33FDECF-5F12-47E0-B660-9A3E3E91CA8C}"/>
                </a:ext>
              </a:extLst>
            </p:cNvPr>
            <p:cNvSpPr txBox="1"/>
            <p:nvPr/>
          </p:nvSpPr>
          <p:spPr>
            <a:xfrm>
              <a:off x="4770014" y="4969738"/>
              <a:ext cx="1600589" cy="351195"/>
            </a:xfrm>
            <a:prstGeom prst="rect">
              <a:avLst/>
            </a:prstGeom>
            <a:noFill/>
          </p:spPr>
          <p:txBody>
            <a:bodyPr wrap="square" rtlCol="0">
              <a:spAutoFit/>
            </a:bodyPr>
            <a:lstStyle/>
            <a:p>
              <a:pPr defTabSz="621883">
                <a:buClrTx/>
              </a:pPr>
              <a:r>
                <a:rPr lang="en-US" sz="952" kern="1200" dirty="0">
                  <a:solidFill>
                    <a:prstClr val="black"/>
                  </a:solidFill>
                  <a:latin typeface="Abadi" panose="020B0604020104020204" pitchFamily="34" charset="0"/>
                  <a:ea typeface="+mn-ea"/>
                  <a:cs typeface="+mn-cs"/>
                </a:rPr>
                <a:t>Merchant Interop</a:t>
              </a:r>
            </a:p>
          </p:txBody>
        </p:sp>
        <p:pic>
          <p:nvPicPr>
            <p:cNvPr id="62" name="Picture 61">
              <a:extLst>
                <a:ext uri="{FF2B5EF4-FFF2-40B4-BE49-F238E27FC236}">
                  <a16:creationId xmlns:a16="http://schemas.microsoft.com/office/drawing/2014/main" id="{14DC31E4-AB65-42B9-8E9C-B4FC2B65DB23}"/>
                </a:ext>
              </a:extLst>
            </p:cNvPr>
            <p:cNvPicPr>
              <a:picLocks noChangeAspect="1"/>
            </p:cNvPicPr>
            <p:nvPr/>
          </p:nvPicPr>
          <p:blipFill>
            <a:blip r:embed="rId5"/>
            <a:stretch>
              <a:fillRect/>
            </a:stretch>
          </p:blipFill>
          <p:spPr>
            <a:xfrm>
              <a:off x="1307633" y="1537304"/>
              <a:ext cx="2226927" cy="814648"/>
            </a:xfrm>
            <a:prstGeom prst="rect">
              <a:avLst/>
            </a:prstGeom>
          </p:spPr>
        </p:pic>
      </p:grpSp>
      <p:sp>
        <p:nvSpPr>
          <p:cNvPr id="27" name="TextBox 26">
            <a:extLst>
              <a:ext uri="{FF2B5EF4-FFF2-40B4-BE49-F238E27FC236}">
                <a16:creationId xmlns:a16="http://schemas.microsoft.com/office/drawing/2014/main" id="{A1F593D6-66E9-4213-BB71-CEA23D8A584A}"/>
              </a:ext>
            </a:extLst>
          </p:cNvPr>
          <p:cNvSpPr txBox="1"/>
          <p:nvPr/>
        </p:nvSpPr>
        <p:spPr>
          <a:xfrm>
            <a:off x="1245019" y="931857"/>
            <a:ext cx="6591872" cy="783035"/>
          </a:xfrm>
          <a:prstGeom prst="rect">
            <a:avLst/>
          </a:prstGeom>
          <a:noFill/>
        </p:spPr>
        <p:txBody>
          <a:bodyPr wrap="square" rtlCol="0">
            <a:spAutoFit/>
          </a:bodyPr>
          <a:lstStyle/>
          <a:p>
            <a:pPr defTabSz="621883">
              <a:buClrTx/>
            </a:pPr>
            <a:r>
              <a:rPr lang="en-US" sz="1224" b="1" kern="1200" dirty="0">
                <a:solidFill>
                  <a:prstClr val="black"/>
                </a:solidFill>
                <a:latin typeface="Abadi" panose="020B0604020104020204" pitchFamily="34" charset="0"/>
                <a:ea typeface="+mn-ea"/>
                <a:cs typeface="+mn-cs"/>
              </a:rPr>
              <a:t>Limited functional interoperability</a:t>
            </a:r>
            <a:endParaRPr lang="en-US" sz="1224" kern="1200" dirty="0">
              <a:solidFill>
                <a:prstClr val="black"/>
              </a:solidFill>
              <a:latin typeface="Abadi" panose="020B0604020104020204" pitchFamily="34" charset="0"/>
              <a:ea typeface="+mn-ea"/>
              <a:cs typeface="+mn-cs"/>
            </a:endParaRPr>
          </a:p>
          <a:p>
            <a:pPr marL="194339" indent="-194339" defTabSz="621883">
              <a:buClrTx/>
              <a:buFont typeface="Arial" panose="020B0604020202020204" pitchFamily="34" charset="0"/>
              <a:buChar char="•"/>
            </a:pPr>
            <a:r>
              <a:rPr lang="en-US" sz="1224" kern="1200" dirty="0">
                <a:solidFill>
                  <a:prstClr val="black"/>
                </a:solidFill>
                <a:latin typeface="Abadi" panose="020B0604020104020204" pitchFamily="34" charset="0"/>
                <a:ea typeface="+mn-ea"/>
                <a:cs typeface="+mn-cs"/>
              </a:rPr>
              <a:t>Bilateral agreements with costly bilateral connections. </a:t>
            </a:r>
          </a:p>
          <a:p>
            <a:pPr marL="194339" indent="-194339" defTabSz="621883">
              <a:buClrTx/>
              <a:buFont typeface="Arial" panose="020B0604020202020204" pitchFamily="34" charset="0"/>
              <a:buChar char="•"/>
            </a:pPr>
            <a:r>
              <a:rPr lang="en-US" sz="1224" kern="1200" dirty="0">
                <a:solidFill>
                  <a:prstClr val="black"/>
                </a:solidFill>
                <a:latin typeface="Abadi" panose="020B0604020104020204" pitchFamily="34" charset="0"/>
                <a:ea typeface="+mn-ea"/>
                <a:cs typeface="+mn-cs"/>
              </a:rPr>
              <a:t>Each bilateral arrangement requires a separate agreement, connectivity, prefunding </a:t>
            </a:r>
          </a:p>
          <a:p>
            <a:pPr marL="194339" indent="-194339" defTabSz="621883">
              <a:buClrTx/>
              <a:buFont typeface="Arial" panose="020B0604020202020204" pitchFamily="34" charset="0"/>
              <a:buChar char="•"/>
            </a:pPr>
            <a:endParaRPr lang="en-US" sz="816" kern="1200" dirty="0">
              <a:solidFill>
                <a:prstClr val="black"/>
              </a:solidFill>
              <a:latin typeface="Century Gothic" panose="020B0502020202020204" pitchFamily="34" charset="0"/>
              <a:ea typeface="+mn-ea"/>
              <a:cs typeface="+mn-cs"/>
            </a:endParaRPr>
          </a:p>
        </p:txBody>
      </p:sp>
    </p:spTree>
    <p:extLst>
      <p:ext uri="{BB962C8B-B14F-4D97-AF65-F5344CB8AC3E}">
        <p14:creationId xmlns:p14="http://schemas.microsoft.com/office/powerpoint/2010/main" val="1899712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69C6F-8310-69FC-53E3-139C26133BEA}"/>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E7579CC4-8F0B-A152-3BF0-685BA0F594CB}"/>
              </a:ext>
            </a:extLst>
          </p:cNvPr>
          <p:cNvGrpSpPr/>
          <p:nvPr/>
        </p:nvGrpSpPr>
        <p:grpSpPr>
          <a:xfrm>
            <a:off x="14224" y="-38910"/>
            <a:ext cx="9117906" cy="3176217"/>
            <a:chOff x="-20610" y="-38910"/>
            <a:chExt cx="9117906" cy="3176217"/>
          </a:xfrm>
        </p:grpSpPr>
        <p:grpSp>
          <p:nvGrpSpPr>
            <p:cNvPr id="32" name="Group 31">
              <a:extLst>
                <a:ext uri="{FF2B5EF4-FFF2-40B4-BE49-F238E27FC236}">
                  <a16:creationId xmlns:a16="http://schemas.microsoft.com/office/drawing/2014/main" id="{DA47F48F-C118-DA9B-2F7D-0B86E835D2CD}"/>
                </a:ext>
              </a:extLst>
            </p:cNvPr>
            <p:cNvGrpSpPr/>
            <p:nvPr/>
          </p:nvGrpSpPr>
          <p:grpSpPr>
            <a:xfrm>
              <a:off x="685265" y="1676204"/>
              <a:ext cx="1435598" cy="1461103"/>
              <a:chOff x="1386295" y="2060457"/>
              <a:chExt cx="1498691" cy="1119037"/>
            </a:xfrm>
            <a:effectLst>
              <a:outerShdw blurRad="50800" dist="38100" algn="l" rotWithShape="0">
                <a:prstClr val="black">
                  <a:alpha val="40000"/>
                </a:prstClr>
              </a:outerShdw>
            </a:effectLst>
            <a:scene3d>
              <a:camera prst="orthographicFront">
                <a:rot lat="0" lon="0" rev="0"/>
              </a:camera>
              <a:lightRig rig="glow" dir="t">
                <a:rot lat="0" lon="0" rev="4800000"/>
              </a:lightRig>
            </a:scene3d>
          </p:grpSpPr>
          <p:sp>
            <p:nvSpPr>
              <p:cNvPr id="14" name="TextBox 13">
                <a:extLst>
                  <a:ext uri="{FF2B5EF4-FFF2-40B4-BE49-F238E27FC236}">
                    <a16:creationId xmlns:a16="http://schemas.microsoft.com/office/drawing/2014/main" id="{57E55E91-7580-2687-2C34-828DA1175C2A}"/>
                  </a:ext>
                </a:extLst>
              </p:cNvPr>
              <p:cNvSpPr txBox="1"/>
              <p:nvPr/>
            </p:nvSpPr>
            <p:spPr>
              <a:xfrm>
                <a:off x="1386295" y="2060457"/>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sp>
            <p:nvSpPr>
              <p:cNvPr id="23" name="TextBox 22">
                <a:extLst>
                  <a:ext uri="{FF2B5EF4-FFF2-40B4-BE49-F238E27FC236}">
                    <a16:creationId xmlns:a16="http://schemas.microsoft.com/office/drawing/2014/main" id="{E5E8B49B-C341-21F5-171C-57DE8E78A63B}"/>
                  </a:ext>
                </a:extLst>
              </p:cNvPr>
              <p:cNvSpPr txBox="1"/>
              <p:nvPr/>
            </p:nvSpPr>
            <p:spPr>
              <a:xfrm>
                <a:off x="1448072" y="2960065"/>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grpSp>
        <p:sp>
          <p:nvSpPr>
            <p:cNvPr id="31" name="TextBox 30">
              <a:extLst>
                <a:ext uri="{FF2B5EF4-FFF2-40B4-BE49-F238E27FC236}">
                  <a16:creationId xmlns:a16="http://schemas.microsoft.com/office/drawing/2014/main" id="{1AF6342E-1C1C-8C33-425B-67C2A1BD8A85}"/>
                </a:ext>
              </a:extLst>
            </p:cNvPr>
            <p:cNvSpPr txBox="1"/>
            <p:nvPr/>
          </p:nvSpPr>
          <p:spPr>
            <a:xfrm>
              <a:off x="710281" y="15138"/>
              <a:ext cx="7872385" cy="338554"/>
            </a:xfrm>
            <a:prstGeom prst="rect">
              <a:avLst/>
            </a:prstGeom>
            <a:noFill/>
          </p:spPr>
          <p:txBody>
            <a:bodyPr wrap="square" rtlCol="0">
              <a:spAutoFit/>
            </a:bodyPr>
            <a:lstStyle/>
            <a:p>
              <a:r>
                <a:rPr lang="en-US" sz="1600" b="1" dirty="0">
                  <a:solidFill>
                    <a:schemeClr val="tx1"/>
                  </a:solidFill>
                  <a:latin typeface="Century Gothic" panose="020B0502020202020204" pitchFamily="34" charset="0"/>
                  <a:ea typeface="Aptos" panose="020B0004020202020204" pitchFamily="34" charset="0"/>
                  <a:cs typeface="Times New Roman" panose="02020603050405020304" pitchFamily="18" charset="0"/>
                </a:rPr>
                <a:t>Practical illustration - Challenges in Current Payments Models</a:t>
              </a:r>
              <a:endParaRPr lang="en-US" sz="1200" dirty="0">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441FCACA-8CFA-0F43-58C7-5849EDF876C0}"/>
                </a:ext>
              </a:extLst>
            </p:cNvPr>
            <p:cNvPicPr>
              <a:picLocks noChangeAspect="1"/>
            </p:cNvPicPr>
            <p:nvPr/>
          </p:nvPicPr>
          <p:blipFill>
            <a:blip r:embed="rId3"/>
            <a:stretch>
              <a:fillRect/>
            </a:stretch>
          </p:blipFill>
          <p:spPr>
            <a:xfrm>
              <a:off x="8621576" y="-38910"/>
              <a:ext cx="475720" cy="376986"/>
            </a:xfrm>
            <a:prstGeom prst="rect">
              <a:avLst/>
            </a:prstGeom>
          </p:spPr>
        </p:pic>
        <p:sp>
          <p:nvSpPr>
            <p:cNvPr id="9" name="Title 10">
              <a:extLst>
                <a:ext uri="{FF2B5EF4-FFF2-40B4-BE49-F238E27FC236}">
                  <a16:creationId xmlns:a16="http://schemas.microsoft.com/office/drawing/2014/main" id="{BA80A991-530F-EA1F-0598-E2B1D3E9F140}"/>
                </a:ext>
              </a:extLst>
            </p:cNvPr>
            <p:cNvSpPr txBox="1">
              <a:spLocks/>
            </p:cNvSpPr>
            <p:nvPr/>
          </p:nvSpPr>
          <p:spPr>
            <a:xfrm>
              <a:off x="-20610" y="-1779"/>
              <a:ext cx="653995" cy="32688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38</a:t>
              </a:r>
              <a:r>
                <a:rPr lang="en-US" sz="1904" b="1" dirty="0">
                  <a:solidFill>
                    <a:schemeClr val="tx1"/>
                  </a:solidFill>
                  <a:latin typeface="Century Gothic" panose="020B0502020202020204" pitchFamily="34" charset="0"/>
                </a:rPr>
                <a:t>.</a:t>
              </a:r>
            </a:p>
          </p:txBody>
        </p:sp>
        <p:cxnSp>
          <p:nvCxnSpPr>
            <p:cNvPr id="4" name="Straight Connector 3">
              <a:extLst>
                <a:ext uri="{FF2B5EF4-FFF2-40B4-BE49-F238E27FC236}">
                  <a16:creationId xmlns:a16="http://schemas.microsoft.com/office/drawing/2014/main" id="{76920F4D-0F65-D18C-3F20-69E08AA65087}"/>
                </a:ext>
              </a:extLst>
            </p:cNvPr>
            <p:cNvCxnSpPr>
              <a:cxnSpLocks/>
            </p:cNvCxnSpPr>
            <p:nvPr/>
          </p:nvCxnSpPr>
          <p:spPr>
            <a:xfrm flipV="1">
              <a:off x="-13076" y="347387"/>
              <a:ext cx="9100483" cy="60994"/>
            </a:xfrm>
            <a:prstGeom prst="line">
              <a:avLst/>
            </a:prstGeom>
            <a:noFill/>
            <a:ln w="19050" cap="flat" cmpd="sng" algn="ctr">
              <a:solidFill>
                <a:srgbClr val="F19D19"/>
              </a:solidFill>
              <a:prstDash val="solid"/>
              <a:miter lim="800000"/>
            </a:ln>
            <a:effectLst/>
          </p:spPr>
        </p:cxnSp>
      </p:grpSp>
      <p:graphicFrame>
        <p:nvGraphicFramePr>
          <p:cNvPr id="2" name="Diagram 1">
            <a:extLst>
              <a:ext uri="{FF2B5EF4-FFF2-40B4-BE49-F238E27FC236}">
                <a16:creationId xmlns:a16="http://schemas.microsoft.com/office/drawing/2014/main" id="{8C0FC4DB-E7C0-AA8E-ACE2-47FC73B3399D}"/>
              </a:ext>
            </a:extLst>
          </p:cNvPr>
          <p:cNvGraphicFramePr/>
          <p:nvPr/>
        </p:nvGraphicFramePr>
        <p:xfrm>
          <a:off x="5056909" y="375973"/>
          <a:ext cx="3751596" cy="3083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a:extLst>
              <a:ext uri="{FF2B5EF4-FFF2-40B4-BE49-F238E27FC236}">
                <a16:creationId xmlns:a16="http://schemas.microsoft.com/office/drawing/2014/main" id="{D655135E-F96E-7341-E097-462182F74735}"/>
              </a:ext>
            </a:extLst>
          </p:cNvPr>
          <p:cNvPicPr>
            <a:picLocks noChangeAspect="1"/>
          </p:cNvPicPr>
          <p:nvPr/>
        </p:nvPicPr>
        <p:blipFill>
          <a:blip r:embed="rId9"/>
          <a:stretch>
            <a:fillRect/>
          </a:stretch>
        </p:blipFill>
        <p:spPr>
          <a:xfrm>
            <a:off x="86889" y="549945"/>
            <a:ext cx="4485110" cy="2631406"/>
          </a:xfrm>
          <a:prstGeom prst="rect">
            <a:avLst/>
          </a:prstGeom>
        </p:spPr>
      </p:pic>
      <p:pic>
        <p:nvPicPr>
          <p:cNvPr id="8" name="Picture 7">
            <a:extLst>
              <a:ext uri="{FF2B5EF4-FFF2-40B4-BE49-F238E27FC236}">
                <a16:creationId xmlns:a16="http://schemas.microsoft.com/office/drawing/2014/main" id="{30FC4994-EC18-AAAF-C56A-9EAF7BD4EFD0}"/>
              </a:ext>
            </a:extLst>
          </p:cNvPr>
          <p:cNvPicPr>
            <a:picLocks noChangeAspect="1"/>
          </p:cNvPicPr>
          <p:nvPr/>
        </p:nvPicPr>
        <p:blipFill>
          <a:blip r:embed="rId10"/>
          <a:stretch>
            <a:fillRect/>
          </a:stretch>
        </p:blipFill>
        <p:spPr>
          <a:xfrm>
            <a:off x="86889" y="3230763"/>
            <a:ext cx="4660850" cy="1362792"/>
          </a:xfrm>
          <a:prstGeom prst="rect">
            <a:avLst/>
          </a:prstGeom>
        </p:spPr>
      </p:pic>
      <p:sp>
        <p:nvSpPr>
          <p:cNvPr id="11" name="TextBox 10">
            <a:extLst>
              <a:ext uri="{FF2B5EF4-FFF2-40B4-BE49-F238E27FC236}">
                <a16:creationId xmlns:a16="http://schemas.microsoft.com/office/drawing/2014/main" id="{A43947DE-F3E1-9BBA-E4BA-D227ACE6A053}"/>
              </a:ext>
            </a:extLst>
          </p:cNvPr>
          <p:cNvSpPr txBox="1"/>
          <p:nvPr/>
        </p:nvSpPr>
        <p:spPr>
          <a:xfrm>
            <a:off x="4987636" y="3459412"/>
            <a:ext cx="4069475" cy="1615827"/>
          </a:xfrm>
          <a:prstGeom prst="rect">
            <a:avLst/>
          </a:prstGeom>
          <a:solidFill>
            <a:schemeClr val="accent6">
              <a:lumMod val="40000"/>
              <a:lumOff val="60000"/>
            </a:schemeClr>
          </a:solidFill>
        </p:spPr>
        <p:txBody>
          <a:bodyPr wrap="square" rtlCol="0">
            <a:spAutoFit/>
          </a:bodyPr>
          <a:lstStyle/>
          <a:p>
            <a:r>
              <a:rPr lang="en-US" sz="900" b="1" dirty="0">
                <a:latin typeface="Century Gothic" panose="020B0502020202020204" pitchFamily="34" charset="0"/>
              </a:rPr>
              <a:t>Key Takeaways </a:t>
            </a:r>
          </a:p>
          <a:p>
            <a:endParaRPr lang="en-US" sz="900" b="1" dirty="0">
              <a:latin typeface="Century Gothic" panose="020B0502020202020204" pitchFamily="34" charset="0"/>
            </a:endParaRPr>
          </a:p>
          <a:p>
            <a:pPr marL="171450" indent="-171450">
              <a:buFont typeface="Arial" panose="020B0604020202020204" pitchFamily="34" charset="0"/>
              <a:buChar char="•"/>
            </a:pPr>
            <a:r>
              <a:rPr lang="en-US" sz="900" b="1" dirty="0">
                <a:latin typeface="Century Gothic" panose="020B0502020202020204" pitchFamily="34" charset="0"/>
              </a:rPr>
              <a:t>High transaction costs, </a:t>
            </a:r>
            <a:r>
              <a:rPr lang="en-US" sz="900" dirty="0">
                <a:latin typeface="Century Gothic" panose="020B0502020202020204" pitchFamily="34" charset="0"/>
              </a:rPr>
              <a:t>digital payments cost about </a:t>
            </a:r>
            <a:r>
              <a:rPr lang="en-US" sz="900" b="1" dirty="0">
                <a:latin typeface="Century Gothic" panose="020B0502020202020204" pitchFamily="34" charset="0"/>
              </a:rPr>
              <a:t>2% of a salary</a:t>
            </a:r>
            <a:r>
              <a:rPr lang="en-US" sz="900" dirty="0">
                <a:latin typeface="Century Gothic" panose="020B0502020202020204" pitchFamily="34" charset="0"/>
              </a:rPr>
              <a:t>, which remains high, especially for low-income users.</a:t>
            </a:r>
          </a:p>
          <a:p>
            <a:pPr marL="171450" indent="-171450">
              <a:buFont typeface="Arial" panose="020B0604020202020204" pitchFamily="34" charset="0"/>
              <a:buChar char="•"/>
            </a:pPr>
            <a:r>
              <a:rPr lang="en-US" sz="900" b="1" dirty="0">
                <a:latin typeface="Century Gothic" panose="020B0502020202020204" pitchFamily="34" charset="0"/>
              </a:rPr>
              <a:t>Cash preferred for cost savings, </a:t>
            </a:r>
            <a:r>
              <a:rPr lang="en-US" sz="900" dirty="0">
                <a:latin typeface="Century Gothic" panose="020B0502020202020204" pitchFamily="34" charset="0"/>
              </a:rPr>
              <a:t>users often cash out via mobile agents or ATMs, as </a:t>
            </a:r>
            <a:r>
              <a:rPr lang="en-US" sz="900" b="1" dirty="0">
                <a:latin typeface="Century Gothic" panose="020B0502020202020204" pitchFamily="34" charset="0"/>
              </a:rPr>
              <a:t>cash transactions are generally cheaper</a:t>
            </a:r>
            <a:r>
              <a:rPr lang="en-US" sz="900" dirty="0">
                <a:latin typeface="Century Gothic" panose="020B0502020202020204" pitchFamily="34" charset="0"/>
              </a:rPr>
              <a:t> than digital ones.</a:t>
            </a:r>
          </a:p>
          <a:p>
            <a:pPr marL="171450" indent="-171450">
              <a:buFont typeface="Arial" panose="020B0604020202020204" pitchFamily="34" charset="0"/>
              <a:buChar char="•"/>
            </a:pPr>
            <a:r>
              <a:rPr lang="en-US" sz="900" b="1" dirty="0">
                <a:latin typeface="Century Gothic" panose="020B0502020202020204" pitchFamily="34" charset="0"/>
              </a:rPr>
              <a:t>Need to review charges, </a:t>
            </a:r>
            <a:r>
              <a:rPr lang="en-US" sz="900" dirty="0">
                <a:latin typeface="Century Gothic" panose="020B0502020202020204" pitchFamily="34" charset="0"/>
              </a:rPr>
              <a:t>Reducing digital transaction fees could encourage more people to adopt </a:t>
            </a:r>
            <a:r>
              <a:rPr lang="en-US" sz="900" b="1" dirty="0">
                <a:latin typeface="Century Gothic" panose="020B0502020202020204" pitchFamily="34" charset="0"/>
              </a:rPr>
              <a:t>cash-lite</a:t>
            </a:r>
            <a:r>
              <a:rPr lang="en-US" sz="900" dirty="0">
                <a:latin typeface="Century Gothic" panose="020B0502020202020204" pitchFamily="34" charset="0"/>
              </a:rPr>
              <a:t> behavior and support Kenya’s move toward a more inclusive digital payments ecosystem.</a:t>
            </a:r>
          </a:p>
        </p:txBody>
      </p:sp>
    </p:spTree>
    <p:extLst>
      <p:ext uri="{BB962C8B-B14F-4D97-AF65-F5344CB8AC3E}">
        <p14:creationId xmlns:p14="http://schemas.microsoft.com/office/powerpoint/2010/main" val="228822034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127" y="81783"/>
            <a:ext cx="407323" cy="394366"/>
          </a:xfrm>
          <a:prstGeom prst="rect">
            <a:avLst/>
          </a:prstGeom>
        </p:spPr>
        <p:txBody>
          <a:bodyPr spcFirstLastPara="1" vert="horz" wrap="square" lIns="0" tIns="12092" rIns="0" bIns="0" rtlCol="0" anchor="b" anchorCtr="0">
            <a:spAutoFit/>
          </a:bodyPr>
          <a:lstStyle/>
          <a:p>
            <a:pPr marL="8637">
              <a:lnSpc>
                <a:spcPct val="100000"/>
              </a:lnSpc>
              <a:spcBef>
                <a:spcPts val="95"/>
              </a:spcBef>
            </a:pPr>
            <a:r>
              <a:rPr lang="en-US" sz="2400" dirty="0">
                <a:solidFill>
                  <a:schemeClr val="tx1"/>
                </a:solidFill>
                <a:latin typeface="Century Gothic "/>
                <a:ea typeface="+mn-ea"/>
                <a:cs typeface="+mn-cs"/>
              </a:rPr>
              <a:t>3</a:t>
            </a:r>
            <a:r>
              <a:rPr sz="2400" dirty="0">
                <a:solidFill>
                  <a:schemeClr val="tx1"/>
                </a:solidFill>
                <a:latin typeface="Century Gothic "/>
                <a:ea typeface="+mn-ea"/>
                <a:cs typeface="+mn-cs"/>
              </a:rPr>
              <a:t>.</a:t>
            </a:r>
          </a:p>
        </p:txBody>
      </p:sp>
      <p:sp>
        <p:nvSpPr>
          <p:cNvPr id="3" name="object 3"/>
          <p:cNvSpPr txBox="1"/>
          <p:nvPr/>
        </p:nvSpPr>
        <p:spPr>
          <a:xfrm>
            <a:off x="709941" y="90386"/>
            <a:ext cx="7351046" cy="378053"/>
          </a:xfrm>
          <a:prstGeom prst="rect">
            <a:avLst/>
          </a:prstGeom>
        </p:spPr>
        <p:txBody>
          <a:bodyPr vert="horz" wrap="square" lIns="0" tIns="8637" rIns="0" bIns="0" rtlCol="0">
            <a:spAutoFit/>
          </a:bodyPr>
          <a:lstStyle/>
          <a:p>
            <a:pPr marL="8637" algn="ctr">
              <a:spcBef>
                <a:spcPts val="68"/>
              </a:spcBef>
            </a:pPr>
            <a:r>
              <a:rPr sz="2400" b="1" spc="-149" dirty="0">
                <a:solidFill>
                  <a:schemeClr val="tx1"/>
                </a:solidFill>
                <a:latin typeface="Century Gothic" panose="020B0502020202020204" pitchFamily="34" charset="0"/>
                <a:cs typeface="Verdana"/>
              </a:rPr>
              <a:t>Kenya</a:t>
            </a:r>
            <a:r>
              <a:rPr lang="en-US" sz="2400" b="1" spc="-149" dirty="0">
                <a:solidFill>
                  <a:schemeClr val="tx1"/>
                </a:solidFill>
                <a:latin typeface="Century Gothic" panose="020B0502020202020204" pitchFamily="34" charset="0"/>
                <a:cs typeface="Verdana"/>
              </a:rPr>
              <a:t> </a:t>
            </a:r>
            <a:r>
              <a:rPr lang="en-US" sz="2400" b="1" spc="-177" dirty="0">
                <a:solidFill>
                  <a:schemeClr val="tx1"/>
                </a:solidFill>
                <a:latin typeface="Century Gothic" panose="020B0502020202020204" pitchFamily="34" charset="0"/>
                <a:cs typeface="Verdana"/>
              </a:rPr>
              <a:t>Payments’ Ecosystem</a:t>
            </a:r>
            <a:r>
              <a:rPr sz="2400" b="1" spc="-77" dirty="0">
                <a:solidFill>
                  <a:schemeClr val="tx1"/>
                </a:solidFill>
                <a:latin typeface="Century Gothic" panose="020B0502020202020204" pitchFamily="34" charset="0"/>
                <a:cs typeface="Verdana"/>
              </a:rPr>
              <a:t> </a:t>
            </a:r>
            <a:r>
              <a:rPr sz="2400" b="1" spc="-89" dirty="0">
                <a:solidFill>
                  <a:schemeClr val="tx1"/>
                </a:solidFill>
                <a:latin typeface="Century Gothic" panose="020B0502020202020204" pitchFamily="34" charset="0"/>
                <a:cs typeface="Verdana"/>
              </a:rPr>
              <a:t>Landscape</a:t>
            </a:r>
            <a:endParaRPr sz="2400" dirty="0">
              <a:solidFill>
                <a:schemeClr val="tx1"/>
              </a:solidFill>
              <a:latin typeface="Century Gothic" panose="020B0502020202020204" pitchFamily="34" charset="0"/>
              <a:cs typeface="Verdana"/>
            </a:endParaRPr>
          </a:p>
        </p:txBody>
      </p:sp>
      <p:sp>
        <p:nvSpPr>
          <p:cNvPr id="4" name="object 4"/>
          <p:cNvSpPr txBox="1"/>
          <p:nvPr/>
        </p:nvSpPr>
        <p:spPr>
          <a:xfrm>
            <a:off x="1302190" y="1104924"/>
            <a:ext cx="2605435" cy="224165"/>
          </a:xfrm>
          <a:prstGeom prst="rect">
            <a:avLst/>
          </a:prstGeom>
          <a:solidFill>
            <a:schemeClr val="tx1">
              <a:lumMod val="75000"/>
              <a:lumOff val="25000"/>
            </a:schemeClr>
          </a:solidFill>
        </p:spPr>
        <p:style>
          <a:lnRef idx="0">
            <a:schemeClr val="accent4"/>
          </a:lnRef>
          <a:fillRef idx="3">
            <a:schemeClr val="accent4"/>
          </a:fillRef>
          <a:effectRef idx="3">
            <a:schemeClr val="accent4"/>
          </a:effectRef>
          <a:fontRef idx="minor">
            <a:schemeClr val="lt1"/>
          </a:fontRef>
        </p:style>
        <p:txBody>
          <a:bodyPr vert="horz" wrap="square" lIns="0" tIns="8637" rIns="0" bIns="0" rtlCol="0">
            <a:spAutoFit/>
          </a:bodyPr>
          <a:lstStyle/>
          <a:p>
            <a:pPr marL="8637" algn="ctr">
              <a:spcBef>
                <a:spcPts val="68"/>
              </a:spcBef>
            </a:pPr>
            <a:r>
              <a:rPr b="1" spc="-109" dirty="0">
                <a:solidFill>
                  <a:schemeClr val="bg1"/>
                </a:solidFill>
                <a:latin typeface="Century Gothic" panose="020B0502020202020204" pitchFamily="34" charset="0"/>
                <a:cs typeface="Verdana"/>
              </a:rPr>
              <a:t>Main</a:t>
            </a:r>
            <a:r>
              <a:rPr b="1" spc="-65" dirty="0">
                <a:solidFill>
                  <a:schemeClr val="bg1"/>
                </a:solidFill>
                <a:latin typeface="Century Gothic" panose="020B0502020202020204" pitchFamily="34" charset="0"/>
                <a:cs typeface="Verdana"/>
              </a:rPr>
              <a:t> </a:t>
            </a:r>
            <a:r>
              <a:rPr lang="en-US" b="1" spc="-126" dirty="0">
                <a:solidFill>
                  <a:schemeClr val="bg1"/>
                </a:solidFill>
                <a:latin typeface="Century Gothic" panose="020B0502020202020204" pitchFamily="34" charset="0"/>
                <a:cs typeface="Verdana"/>
              </a:rPr>
              <a:t>P</a:t>
            </a:r>
            <a:r>
              <a:rPr b="1" spc="-126" dirty="0">
                <a:solidFill>
                  <a:schemeClr val="bg1"/>
                </a:solidFill>
                <a:latin typeface="Century Gothic" panose="020B0502020202020204" pitchFamily="34" charset="0"/>
                <a:cs typeface="Verdana"/>
              </a:rPr>
              <a:t>layers</a:t>
            </a:r>
            <a:r>
              <a:rPr b="1" spc="-65" dirty="0">
                <a:solidFill>
                  <a:schemeClr val="bg1"/>
                </a:solidFill>
                <a:latin typeface="Century Gothic" panose="020B0502020202020204" pitchFamily="34" charset="0"/>
                <a:cs typeface="Verdana"/>
              </a:rPr>
              <a:t> </a:t>
            </a:r>
            <a:r>
              <a:rPr b="1" spc="-156" dirty="0">
                <a:solidFill>
                  <a:schemeClr val="bg1"/>
                </a:solidFill>
                <a:latin typeface="Century Gothic" panose="020B0502020202020204" pitchFamily="34" charset="0"/>
                <a:cs typeface="Verdana"/>
              </a:rPr>
              <a:t>in</a:t>
            </a:r>
            <a:r>
              <a:rPr b="1" spc="-65" dirty="0">
                <a:solidFill>
                  <a:schemeClr val="bg1"/>
                </a:solidFill>
                <a:latin typeface="Century Gothic" panose="020B0502020202020204" pitchFamily="34" charset="0"/>
                <a:cs typeface="Verdana"/>
              </a:rPr>
              <a:t> </a:t>
            </a:r>
            <a:r>
              <a:rPr b="1" spc="-139" dirty="0">
                <a:solidFill>
                  <a:schemeClr val="bg1"/>
                </a:solidFill>
                <a:latin typeface="Century Gothic" panose="020B0502020202020204" pitchFamily="34" charset="0"/>
                <a:cs typeface="Verdana"/>
              </a:rPr>
              <a:t>the</a:t>
            </a:r>
            <a:r>
              <a:rPr b="1" spc="-62" dirty="0">
                <a:solidFill>
                  <a:schemeClr val="bg1"/>
                </a:solidFill>
                <a:latin typeface="Century Gothic" panose="020B0502020202020204" pitchFamily="34" charset="0"/>
                <a:cs typeface="Verdana"/>
              </a:rPr>
              <a:t> </a:t>
            </a:r>
            <a:r>
              <a:rPr lang="en-US" b="1" spc="-102" dirty="0">
                <a:solidFill>
                  <a:schemeClr val="bg1"/>
                </a:solidFill>
                <a:latin typeface="Century Gothic" panose="020B0502020202020204" pitchFamily="34" charset="0"/>
                <a:cs typeface="Verdana"/>
              </a:rPr>
              <a:t>E</a:t>
            </a:r>
            <a:r>
              <a:rPr b="1" spc="-102" dirty="0">
                <a:solidFill>
                  <a:schemeClr val="bg1"/>
                </a:solidFill>
                <a:latin typeface="Century Gothic" panose="020B0502020202020204" pitchFamily="34" charset="0"/>
                <a:cs typeface="Verdana"/>
              </a:rPr>
              <a:t>cosystem</a:t>
            </a:r>
            <a:endParaRPr dirty="0">
              <a:solidFill>
                <a:schemeClr val="bg1"/>
              </a:solidFill>
              <a:latin typeface="Century Gothic" panose="020B0502020202020204" pitchFamily="34" charset="0"/>
              <a:cs typeface="Verdana"/>
            </a:endParaRPr>
          </a:p>
        </p:txBody>
      </p:sp>
      <p:sp>
        <p:nvSpPr>
          <p:cNvPr id="5" name="object 5"/>
          <p:cNvSpPr txBox="1"/>
          <p:nvPr/>
        </p:nvSpPr>
        <p:spPr>
          <a:xfrm>
            <a:off x="1308707" y="1539271"/>
            <a:ext cx="3047664" cy="902302"/>
          </a:xfrm>
          <a:prstGeom prst="rect">
            <a:avLst/>
          </a:prstGeom>
        </p:spPr>
        <p:txBody>
          <a:bodyPr vert="horz" wrap="square" lIns="0" tIns="25912" rIns="0" bIns="0" rtlCol="0">
            <a:spAutoFit/>
          </a:bodyPr>
          <a:lstStyle/>
          <a:p>
            <a:pPr marL="307487" indent="-298850">
              <a:spcBef>
                <a:spcPts val="204"/>
              </a:spcBef>
              <a:buFont typeface="Wingdings" panose="05000000000000000000" pitchFamily="2" charset="2"/>
              <a:buChar char="v"/>
              <a:tabLst>
                <a:tab pos="307487" algn="l"/>
              </a:tabLst>
            </a:pPr>
            <a:r>
              <a:rPr sz="1361" spc="-20">
                <a:solidFill>
                  <a:schemeClr val="tx1"/>
                </a:solidFill>
                <a:latin typeface="Century Gothic" panose="020B0502020202020204" pitchFamily="34" charset="0"/>
                <a:cs typeface="Verdana"/>
              </a:rPr>
              <a:t>Financial</a:t>
            </a:r>
            <a:r>
              <a:rPr sz="1361" spc="-68">
                <a:solidFill>
                  <a:schemeClr val="tx1"/>
                </a:solidFill>
                <a:latin typeface="Century Gothic" panose="020B0502020202020204" pitchFamily="34" charset="0"/>
                <a:cs typeface="Verdana"/>
              </a:rPr>
              <a:t> </a:t>
            </a:r>
            <a:r>
              <a:rPr sz="1361" spc="-31">
                <a:solidFill>
                  <a:schemeClr val="tx1"/>
                </a:solidFill>
                <a:latin typeface="Century Gothic" panose="020B0502020202020204" pitchFamily="34" charset="0"/>
                <a:cs typeface="Verdana"/>
              </a:rPr>
              <a:t>institutions.</a:t>
            </a:r>
            <a:endParaRPr sz="1361">
              <a:solidFill>
                <a:schemeClr val="tx1"/>
              </a:solidFill>
              <a:latin typeface="Century Gothic" panose="020B0502020202020204" pitchFamily="34" charset="0"/>
              <a:cs typeface="Verdana"/>
            </a:endParaRPr>
          </a:p>
          <a:p>
            <a:pPr marL="307487" indent="-298850">
              <a:spcBef>
                <a:spcPts val="136"/>
              </a:spcBef>
              <a:buFont typeface="Wingdings" panose="05000000000000000000" pitchFamily="2" charset="2"/>
              <a:buChar char="v"/>
              <a:tabLst>
                <a:tab pos="307487" algn="l"/>
              </a:tabLst>
            </a:pPr>
            <a:r>
              <a:rPr sz="1361" spc="-14">
                <a:solidFill>
                  <a:schemeClr val="tx1"/>
                </a:solidFill>
                <a:latin typeface="Century Gothic" panose="020B0502020202020204" pitchFamily="34" charset="0"/>
                <a:cs typeface="Verdana"/>
              </a:rPr>
              <a:t>Payment</a:t>
            </a:r>
            <a:r>
              <a:rPr sz="1361" spc="-82">
                <a:solidFill>
                  <a:schemeClr val="tx1"/>
                </a:solidFill>
                <a:latin typeface="Century Gothic" panose="020B0502020202020204" pitchFamily="34" charset="0"/>
                <a:cs typeface="Verdana"/>
              </a:rPr>
              <a:t> </a:t>
            </a:r>
            <a:r>
              <a:rPr sz="1361" spc="-38">
                <a:solidFill>
                  <a:schemeClr val="tx1"/>
                </a:solidFill>
                <a:latin typeface="Century Gothic" panose="020B0502020202020204" pitchFamily="34" charset="0"/>
                <a:cs typeface="Verdana"/>
              </a:rPr>
              <a:t>Service</a:t>
            </a:r>
            <a:r>
              <a:rPr sz="1361" spc="-82">
                <a:solidFill>
                  <a:schemeClr val="tx1"/>
                </a:solidFill>
                <a:latin typeface="Century Gothic" panose="020B0502020202020204" pitchFamily="34" charset="0"/>
                <a:cs typeface="Verdana"/>
              </a:rPr>
              <a:t> </a:t>
            </a:r>
            <a:r>
              <a:rPr sz="1361" spc="-62">
                <a:solidFill>
                  <a:schemeClr val="tx1"/>
                </a:solidFill>
                <a:latin typeface="Century Gothic" panose="020B0502020202020204" pitchFamily="34" charset="0"/>
                <a:cs typeface="Verdana"/>
              </a:rPr>
              <a:t>Providers</a:t>
            </a:r>
            <a:r>
              <a:rPr sz="1361" spc="-82">
                <a:solidFill>
                  <a:schemeClr val="tx1"/>
                </a:solidFill>
                <a:latin typeface="Century Gothic" panose="020B0502020202020204" pitchFamily="34" charset="0"/>
                <a:cs typeface="Verdana"/>
              </a:rPr>
              <a:t> </a:t>
            </a:r>
            <a:r>
              <a:rPr sz="1361" spc="-98">
                <a:solidFill>
                  <a:schemeClr val="tx1"/>
                </a:solidFill>
                <a:latin typeface="Century Gothic" panose="020B0502020202020204" pitchFamily="34" charset="0"/>
                <a:cs typeface="Verdana"/>
              </a:rPr>
              <a:t>(PSPs)</a:t>
            </a:r>
            <a:endParaRPr sz="1361">
              <a:solidFill>
                <a:schemeClr val="tx1"/>
              </a:solidFill>
              <a:latin typeface="Century Gothic" panose="020B0502020202020204" pitchFamily="34" charset="0"/>
              <a:cs typeface="Verdana"/>
            </a:endParaRPr>
          </a:p>
          <a:p>
            <a:pPr marL="307487" indent="-298850">
              <a:spcBef>
                <a:spcPts val="136"/>
              </a:spcBef>
              <a:buFont typeface="Wingdings" panose="05000000000000000000" pitchFamily="2" charset="2"/>
              <a:buChar char="v"/>
              <a:tabLst>
                <a:tab pos="307487" algn="l"/>
              </a:tabLst>
            </a:pPr>
            <a:r>
              <a:rPr sz="1361" spc="-7">
                <a:solidFill>
                  <a:schemeClr val="tx1"/>
                </a:solidFill>
                <a:latin typeface="Century Gothic" panose="020B0502020202020204" pitchFamily="34" charset="0"/>
                <a:cs typeface="Verdana"/>
              </a:rPr>
              <a:t>FinTechs.</a:t>
            </a:r>
            <a:endParaRPr sz="1361">
              <a:solidFill>
                <a:schemeClr val="tx1"/>
              </a:solidFill>
              <a:latin typeface="Century Gothic" panose="020B0502020202020204" pitchFamily="34" charset="0"/>
              <a:cs typeface="Verdana"/>
            </a:endParaRPr>
          </a:p>
          <a:p>
            <a:pPr marL="307487" indent="-298850">
              <a:spcBef>
                <a:spcPts val="136"/>
              </a:spcBef>
              <a:buFont typeface="Wingdings" panose="05000000000000000000" pitchFamily="2" charset="2"/>
              <a:buChar char="v"/>
              <a:tabLst>
                <a:tab pos="307487" algn="l"/>
              </a:tabLst>
            </a:pPr>
            <a:r>
              <a:rPr sz="1361" spc="-7">
                <a:solidFill>
                  <a:schemeClr val="tx1"/>
                </a:solidFill>
                <a:latin typeface="Century Gothic" panose="020B0502020202020204" pitchFamily="34" charset="0"/>
                <a:cs typeface="Verdana"/>
              </a:rPr>
              <a:t>Government.</a:t>
            </a:r>
            <a:endParaRPr sz="1361">
              <a:solidFill>
                <a:schemeClr val="tx1"/>
              </a:solidFill>
              <a:latin typeface="Century Gothic" panose="020B0502020202020204" pitchFamily="34" charset="0"/>
              <a:cs typeface="Verdana"/>
            </a:endParaRPr>
          </a:p>
        </p:txBody>
      </p:sp>
      <p:sp>
        <p:nvSpPr>
          <p:cNvPr id="6" name="object 6"/>
          <p:cNvSpPr txBox="1"/>
          <p:nvPr/>
        </p:nvSpPr>
        <p:spPr>
          <a:xfrm>
            <a:off x="1360720" y="2598747"/>
            <a:ext cx="2291039" cy="224165"/>
          </a:xfrm>
          <a:prstGeom prst="rect">
            <a:avLst/>
          </a:prstGeom>
        </p:spPr>
        <p:style>
          <a:lnRef idx="0">
            <a:schemeClr val="accent3"/>
          </a:lnRef>
          <a:fillRef idx="3">
            <a:schemeClr val="accent3"/>
          </a:fillRef>
          <a:effectRef idx="3">
            <a:schemeClr val="accent3"/>
          </a:effectRef>
          <a:fontRef idx="minor">
            <a:schemeClr val="lt1"/>
          </a:fontRef>
        </p:style>
        <p:txBody>
          <a:bodyPr vert="horz" wrap="square" lIns="0" tIns="8637" rIns="0" bIns="0" rtlCol="0">
            <a:spAutoFit/>
          </a:bodyPr>
          <a:lstStyle/>
          <a:p>
            <a:pPr marL="8637">
              <a:spcBef>
                <a:spcPts val="68"/>
              </a:spcBef>
            </a:pPr>
            <a:r>
              <a:rPr lang="en-US" b="1" spc="-126" dirty="0">
                <a:solidFill>
                  <a:schemeClr val="accent2"/>
                </a:solidFill>
                <a:latin typeface="Century Gothic" panose="020B0502020202020204" pitchFamily="34" charset="0"/>
              </a:rPr>
              <a:t>The Pillars</a:t>
            </a:r>
            <a:r>
              <a:rPr b="1" spc="-126" dirty="0">
                <a:solidFill>
                  <a:schemeClr val="accent2"/>
                </a:solidFill>
                <a:latin typeface="Century Gothic" panose="020B0502020202020204" pitchFamily="34" charset="0"/>
              </a:rPr>
              <a:t> of the </a:t>
            </a:r>
            <a:r>
              <a:rPr lang="en-US" b="1" spc="-126" dirty="0">
                <a:solidFill>
                  <a:schemeClr val="accent2"/>
                </a:solidFill>
                <a:latin typeface="Century Gothic" panose="020B0502020202020204" pitchFamily="34" charset="0"/>
              </a:rPr>
              <a:t>E</a:t>
            </a:r>
            <a:r>
              <a:rPr b="1" spc="-126" dirty="0">
                <a:solidFill>
                  <a:schemeClr val="accent2"/>
                </a:solidFill>
                <a:latin typeface="Century Gothic" panose="020B0502020202020204" pitchFamily="34" charset="0"/>
              </a:rPr>
              <a:t>cosystem</a:t>
            </a:r>
            <a:r>
              <a:rPr sz="1361" b="1" spc="-106" dirty="0">
                <a:solidFill>
                  <a:srgbClr val="1E74BA"/>
                </a:solidFill>
                <a:latin typeface="Century Gothic" panose="020B0502020202020204" pitchFamily="34" charset="0"/>
                <a:cs typeface="Verdana"/>
              </a:rPr>
              <a:t>:</a:t>
            </a:r>
            <a:endParaRPr sz="1361" dirty="0">
              <a:latin typeface="Century Gothic" panose="020B0502020202020204" pitchFamily="34" charset="0"/>
              <a:cs typeface="Verdana"/>
            </a:endParaRPr>
          </a:p>
        </p:txBody>
      </p:sp>
      <p:sp>
        <p:nvSpPr>
          <p:cNvPr id="7" name="object 7"/>
          <p:cNvSpPr txBox="1"/>
          <p:nvPr/>
        </p:nvSpPr>
        <p:spPr>
          <a:xfrm>
            <a:off x="1357226" y="2896692"/>
            <a:ext cx="3087395" cy="1839482"/>
          </a:xfrm>
          <a:prstGeom prst="rect">
            <a:avLst/>
          </a:prstGeom>
        </p:spPr>
        <p:txBody>
          <a:bodyPr vert="horz" wrap="square" lIns="0" tIns="25912" rIns="0" bIns="0" rtlCol="0">
            <a:spAutoFit/>
          </a:bodyPr>
          <a:lstStyle/>
          <a:p>
            <a:pPr marL="303168" indent="-294531">
              <a:spcBef>
                <a:spcPts val="204"/>
              </a:spcBef>
              <a:buFont typeface="Wingdings" panose="05000000000000000000" pitchFamily="2" charset="2"/>
              <a:buChar char="v"/>
              <a:tabLst>
                <a:tab pos="303168" algn="l"/>
              </a:tabLst>
            </a:pPr>
            <a:r>
              <a:rPr spc="71" dirty="0">
                <a:solidFill>
                  <a:schemeClr val="tx1"/>
                </a:solidFill>
                <a:latin typeface="Century Gothic" panose="020B0502020202020204" pitchFamily="34" charset="0"/>
                <a:cs typeface="Verdana"/>
              </a:rPr>
              <a:t>A</a:t>
            </a:r>
            <a:r>
              <a:rPr spc="-92" dirty="0">
                <a:solidFill>
                  <a:schemeClr val="tx1"/>
                </a:solidFill>
                <a:latin typeface="Century Gothic" panose="020B0502020202020204" pitchFamily="34" charset="0"/>
                <a:cs typeface="Verdana"/>
              </a:rPr>
              <a:t> </a:t>
            </a:r>
            <a:r>
              <a:rPr spc="-31" dirty="0">
                <a:solidFill>
                  <a:schemeClr val="tx1"/>
                </a:solidFill>
                <a:latin typeface="Century Gothic" panose="020B0502020202020204" pitchFamily="34" charset="0"/>
                <a:cs typeface="Verdana"/>
              </a:rPr>
              <a:t>Vibrant</a:t>
            </a:r>
            <a:r>
              <a:rPr spc="-89" dirty="0">
                <a:solidFill>
                  <a:schemeClr val="tx1"/>
                </a:solidFill>
                <a:latin typeface="Century Gothic" panose="020B0502020202020204" pitchFamily="34" charset="0"/>
                <a:cs typeface="Verdana"/>
              </a:rPr>
              <a:t> </a:t>
            </a:r>
            <a:r>
              <a:rPr spc="-24" dirty="0">
                <a:solidFill>
                  <a:schemeClr val="tx1"/>
                </a:solidFill>
                <a:latin typeface="Century Gothic" panose="020B0502020202020204" pitchFamily="34" charset="0"/>
                <a:cs typeface="Verdana"/>
              </a:rPr>
              <a:t>Fintech</a:t>
            </a:r>
            <a:r>
              <a:rPr spc="-89" dirty="0">
                <a:solidFill>
                  <a:schemeClr val="tx1"/>
                </a:solidFill>
                <a:latin typeface="Century Gothic" panose="020B0502020202020204" pitchFamily="34" charset="0"/>
                <a:cs typeface="Verdana"/>
              </a:rPr>
              <a:t> </a:t>
            </a:r>
            <a:r>
              <a:rPr spc="-7" dirty="0">
                <a:solidFill>
                  <a:schemeClr val="tx1"/>
                </a:solidFill>
                <a:latin typeface="Century Gothic" panose="020B0502020202020204" pitchFamily="34" charset="0"/>
                <a:cs typeface="Verdana"/>
              </a:rPr>
              <a:t>Community.</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dirty="0">
                <a:solidFill>
                  <a:schemeClr val="tx1"/>
                </a:solidFill>
                <a:latin typeface="Century Gothic" panose="020B0502020202020204" pitchFamily="34" charset="0"/>
                <a:cs typeface="Verdana"/>
              </a:rPr>
              <a:t>Active</a:t>
            </a:r>
            <a:r>
              <a:rPr spc="-51" dirty="0">
                <a:solidFill>
                  <a:schemeClr val="tx1"/>
                </a:solidFill>
                <a:latin typeface="Century Gothic" panose="020B0502020202020204" pitchFamily="34" charset="0"/>
                <a:cs typeface="Verdana"/>
              </a:rPr>
              <a:t> </a:t>
            </a:r>
            <a:r>
              <a:rPr spc="-47" dirty="0">
                <a:solidFill>
                  <a:schemeClr val="tx1"/>
                </a:solidFill>
                <a:latin typeface="Century Gothic" panose="020B0502020202020204" pitchFamily="34" charset="0"/>
                <a:cs typeface="Verdana"/>
              </a:rPr>
              <a:t>Established </a:t>
            </a:r>
            <a:r>
              <a:rPr spc="-7" dirty="0">
                <a:solidFill>
                  <a:schemeClr val="tx1"/>
                </a:solidFill>
                <a:latin typeface="Century Gothic" panose="020B0502020202020204" pitchFamily="34" charset="0"/>
                <a:cs typeface="Verdana"/>
              </a:rPr>
              <a:t>Players.</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dirty="0">
                <a:solidFill>
                  <a:schemeClr val="tx1"/>
                </a:solidFill>
                <a:latin typeface="Century Gothic" panose="020B0502020202020204" pitchFamily="34" charset="0"/>
                <a:cs typeface="Verdana"/>
              </a:rPr>
              <a:t>Access</a:t>
            </a:r>
            <a:r>
              <a:rPr spc="-65" dirty="0">
                <a:solidFill>
                  <a:schemeClr val="tx1"/>
                </a:solidFill>
                <a:latin typeface="Century Gothic" panose="020B0502020202020204" pitchFamily="34" charset="0"/>
                <a:cs typeface="Verdana"/>
              </a:rPr>
              <a:t> </a:t>
            </a:r>
            <a:r>
              <a:rPr spc="-31" dirty="0">
                <a:solidFill>
                  <a:schemeClr val="tx1"/>
                </a:solidFill>
                <a:latin typeface="Century Gothic" panose="020B0502020202020204" pitchFamily="34" charset="0"/>
              </a:rPr>
              <a:t>to Risk Capital</a:t>
            </a:r>
            <a:r>
              <a:rPr spc="-7" dirty="0">
                <a:solidFill>
                  <a:schemeClr val="tx1"/>
                </a:solidFill>
                <a:latin typeface="Century Gothic" panose="020B0502020202020204" pitchFamily="34" charset="0"/>
                <a:cs typeface="Verdana"/>
              </a:rPr>
              <a:t>.</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spc="-24" dirty="0">
                <a:solidFill>
                  <a:schemeClr val="tx1"/>
                </a:solidFill>
                <a:latin typeface="Century Gothic" panose="020B0502020202020204" pitchFamily="34" charset="0"/>
                <a:cs typeface="Verdana"/>
              </a:rPr>
              <a:t>Political</a:t>
            </a:r>
            <a:r>
              <a:rPr spc="-71" dirty="0">
                <a:solidFill>
                  <a:schemeClr val="tx1"/>
                </a:solidFill>
                <a:latin typeface="Century Gothic" panose="020B0502020202020204" pitchFamily="34" charset="0"/>
                <a:cs typeface="Verdana"/>
              </a:rPr>
              <a:t> </a:t>
            </a:r>
            <a:r>
              <a:rPr spc="-7" dirty="0">
                <a:solidFill>
                  <a:schemeClr val="tx1"/>
                </a:solidFill>
                <a:latin typeface="Century Gothic" panose="020B0502020202020204" pitchFamily="34" charset="0"/>
                <a:cs typeface="Verdana"/>
              </a:rPr>
              <a:t>Support.</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spc="-41" dirty="0">
                <a:solidFill>
                  <a:schemeClr val="tx1"/>
                </a:solidFill>
                <a:latin typeface="Century Gothic" panose="020B0502020202020204" pitchFamily="34" charset="0"/>
                <a:cs typeface="Verdana"/>
              </a:rPr>
              <a:t>Innovative</a:t>
            </a:r>
            <a:r>
              <a:rPr spc="-58" dirty="0">
                <a:solidFill>
                  <a:schemeClr val="tx1"/>
                </a:solidFill>
                <a:latin typeface="Century Gothic" panose="020B0502020202020204" pitchFamily="34" charset="0"/>
                <a:cs typeface="Verdana"/>
              </a:rPr>
              <a:t> </a:t>
            </a:r>
            <a:r>
              <a:rPr spc="-7" dirty="0">
                <a:solidFill>
                  <a:schemeClr val="tx1"/>
                </a:solidFill>
                <a:latin typeface="Century Gothic" panose="020B0502020202020204" pitchFamily="34" charset="0"/>
                <a:cs typeface="Verdana"/>
              </a:rPr>
              <a:t>Regulators.</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dirty="0">
                <a:solidFill>
                  <a:schemeClr val="tx1"/>
                </a:solidFill>
                <a:latin typeface="Century Gothic" panose="020B0502020202020204" pitchFamily="34" charset="0"/>
                <a:cs typeface="Verdana"/>
              </a:rPr>
              <a:t>Access</a:t>
            </a:r>
            <a:r>
              <a:rPr spc="-51" dirty="0">
                <a:solidFill>
                  <a:schemeClr val="tx1"/>
                </a:solidFill>
                <a:latin typeface="Century Gothic" panose="020B0502020202020204" pitchFamily="34" charset="0"/>
                <a:cs typeface="Verdana"/>
              </a:rPr>
              <a:t> </a:t>
            </a:r>
            <a:r>
              <a:rPr dirty="0">
                <a:solidFill>
                  <a:schemeClr val="tx1"/>
                </a:solidFill>
                <a:latin typeface="Century Gothic" panose="020B0502020202020204" pitchFamily="34" charset="0"/>
                <a:cs typeface="Verdana"/>
              </a:rPr>
              <a:t>to</a:t>
            </a:r>
            <a:r>
              <a:rPr spc="-47" dirty="0">
                <a:solidFill>
                  <a:schemeClr val="tx1"/>
                </a:solidFill>
                <a:latin typeface="Century Gothic" panose="020B0502020202020204" pitchFamily="34" charset="0"/>
                <a:cs typeface="Verdana"/>
              </a:rPr>
              <a:t> </a:t>
            </a:r>
            <a:r>
              <a:rPr spc="-7" dirty="0">
                <a:solidFill>
                  <a:schemeClr val="tx1"/>
                </a:solidFill>
                <a:latin typeface="Century Gothic" panose="020B0502020202020204" pitchFamily="34" charset="0"/>
                <a:cs typeface="Verdana"/>
              </a:rPr>
              <a:t>Talent.</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spc="-7" dirty="0">
                <a:solidFill>
                  <a:schemeClr val="tx1"/>
                </a:solidFill>
                <a:latin typeface="Century Gothic" panose="020B0502020202020204" pitchFamily="34" charset="0"/>
                <a:cs typeface="Verdana"/>
              </a:rPr>
              <a:t>Collaboration.</a:t>
            </a:r>
            <a:endParaRPr dirty="0">
              <a:solidFill>
                <a:schemeClr val="tx1"/>
              </a:solidFill>
              <a:latin typeface="Century Gothic" panose="020B0502020202020204" pitchFamily="34" charset="0"/>
              <a:cs typeface="Verdana"/>
            </a:endParaRPr>
          </a:p>
          <a:p>
            <a:pPr marL="303168" indent="-294531">
              <a:spcBef>
                <a:spcPts val="136"/>
              </a:spcBef>
              <a:buFont typeface="Wingdings" panose="05000000000000000000" pitchFamily="2" charset="2"/>
              <a:buChar char="v"/>
              <a:tabLst>
                <a:tab pos="303168" algn="l"/>
              </a:tabLst>
            </a:pPr>
            <a:r>
              <a:rPr dirty="0">
                <a:solidFill>
                  <a:schemeClr val="tx1"/>
                </a:solidFill>
                <a:latin typeface="Century Gothic" panose="020B0502020202020204" pitchFamily="34" charset="0"/>
                <a:cs typeface="Verdana"/>
              </a:rPr>
              <a:t>Conducive</a:t>
            </a:r>
            <a:r>
              <a:rPr spc="47" dirty="0">
                <a:solidFill>
                  <a:schemeClr val="tx1"/>
                </a:solidFill>
                <a:latin typeface="Century Gothic" panose="020B0502020202020204" pitchFamily="34" charset="0"/>
                <a:cs typeface="Verdana"/>
              </a:rPr>
              <a:t> </a:t>
            </a:r>
            <a:r>
              <a:rPr spc="-102" dirty="0">
                <a:solidFill>
                  <a:schemeClr val="tx1"/>
                </a:solidFill>
                <a:latin typeface="Century Gothic" panose="020B0502020202020204" pitchFamily="34" charset="0"/>
                <a:cs typeface="Verdana"/>
              </a:rPr>
              <a:t>Business</a:t>
            </a:r>
            <a:r>
              <a:rPr spc="47" dirty="0">
                <a:solidFill>
                  <a:schemeClr val="tx1"/>
                </a:solidFill>
                <a:latin typeface="Century Gothic" panose="020B0502020202020204" pitchFamily="34" charset="0"/>
                <a:cs typeface="Verdana"/>
              </a:rPr>
              <a:t> </a:t>
            </a:r>
            <a:r>
              <a:rPr spc="-47" dirty="0">
                <a:solidFill>
                  <a:schemeClr val="tx1"/>
                </a:solidFill>
                <a:latin typeface="Century Gothic" panose="020B0502020202020204" pitchFamily="34" charset="0"/>
                <a:cs typeface="Verdana"/>
              </a:rPr>
              <a:t>Environment.</a:t>
            </a:r>
            <a:endParaRPr dirty="0">
              <a:solidFill>
                <a:schemeClr val="tx1"/>
              </a:solidFill>
              <a:latin typeface="Century Gothic" panose="020B0502020202020204" pitchFamily="34" charset="0"/>
              <a:cs typeface="Verdana"/>
            </a:endParaRPr>
          </a:p>
        </p:txBody>
      </p:sp>
      <p:grpSp>
        <p:nvGrpSpPr>
          <p:cNvPr id="8" name="object 8"/>
          <p:cNvGrpSpPr/>
          <p:nvPr/>
        </p:nvGrpSpPr>
        <p:grpSpPr>
          <a:xfrm>
            <a:off x="4648086" y="1344461"/>
            <a:ext cx="3224729" cy="3118922"/>
            <a:chOff x="5458574" y="1976856"/>
            <a:chExt cx="4741545" cy="4585970"/>
          </a:xfrm>
        </p:grpSpPr>
        <p:pic>
          <p:nvPicPr>
            <p:cNvPr id="9" name="object 9"/>
            <p:cNvPicPr/>
            <p:nvPr/>
          </p:nvPicPr>
          <p:blipFill>
            <a:blip r:embed="rId2" cstate="print"/>
            <a:stretch>
              <a:fillRect/>
            </a:stretch>
          </p:blipFill>
          <p:spPr>
            <a:xfrm>
              <a:off x="5806262" y="1976856"/>
              <a:ext cx="1649603" cy="1695208"/>
            </a:xfrm>
            <a:prstGeom prst="rect">
              <a:avLst/>
            </a:prstGeom>
          </p:spPr>
        </p:pic>
        <p:pic>
          <p:nvPicPr>
            <p:cNvPr id="10" name="object 10"/>
            <p:cNvPicPr/>
            <p:nvPr/>
          </p:nvPicPr>
          <p:blipFill>
            <a:blip r:embed="rId3" cstate="print"/>
            <a:stretch>
              <a:fillRect/>
            </a:stretch>
          </p:blipFill>
          <p:spPr>
            <a:xfrm>
              <a:off x="5638025" y="2132050"/>
              <a:ext cx="1606867" cy="1606829"/>
            </a:xfrm>
            <a:prstGeom prst="rect">
              <a:avLst/>
            </a:prstGeom>
          </p:spPr>
        </p:pic>
        <p:sp>
          <p:nvSpPr>
            <p:cNvPr id="11" name="object 11"/>
            <p:cNvSpPr/>
            <p:nvPr/>
          </p:nvSpPr>
          <p:spPr>
            <a:xfrm>
              <a:off x="5626176" y="2337917"/>
              <a:ext cx="1412875" cy="1412875"/>
            </a:xfrm>
            <a:custGeom>
              <a:avLst/>
              <a:gdLst/>
              <a:ahLst/>
              <a:cxnLst/>
              <a:rect l="l" t="t" r="r" b="b"/>
              <a:pathLst>
                <a:path w="1412875" h="1412875">
                  <a:moveTo>
                    <a:pt x="11887" y="0"/>
                  </a:moveTo>
                  <a:lnTo>
                    <a:pt x="10804" y="45707"/>
                  </a:lnTo>
                  <a:lnTo>
                    <a:pt x="7962" y="192774"/>
                  </a:lnTo>
                  <a:lnTo>
                    <a:pt x="5024" y="405464"/>
                  </a:lnTo>
                  <a:lnTo>
                    <a:pt x="2489" y="682092"/>
                  </a:lnTo>
                  <a:lnTo>
                    <a:pt x="0" y="1187234"/>
                  </a:lnTo>
                  <a:lnTo>
                    <a:pt x="3303" y="1233777"/>
                  </a:lnTo>
                  <a:lnTo>
                    <a:pt x="15598" y="1276952"/>
                  </a:lnTo>
                  <a:lnTo>
                    <a:pt x="35946" y="1315824"/>
                  </a:lnTo>
                  <a:lnTo>
                    <a:pt x="63409" y="1349455"/>
                  </a:lnTo>
                  <a:lnTo>
                    <a:pt x="97048" y="1376912"/>
                  </a:lnTo>
                  <a:lnTo>
                    <a:pt x="135925" y="1397258"/>
                  </a:lnTo>
                  <a:lnTo>
                    <a:pt x="179102" y="1409557"/>
                  </a:lnTo>
                  <a:lnTo>
                    <a:pt x="225640" y="1412874"/>
                  </a:lnTo>
                  <a:lnTo>
                    <a:pt x="679650" y="1410633"/>
                  </a:lnTo>
                  <a:lnTo>
                    <a:pt x="1068484" y="1406999"/>
                  </a:lnTo>
                  <a:lnTo>
                    <a:pt x="1275153" y="1403893"/>
                  </a:lnTo>
                  <a:lnTo>
                    <a:pt x="1412875" y="1400975"/>
                  </a:lnTo>
                  <a:lnTo>
                    <a:pt x="1275012" y="1398062"/>
                  </a:lnTo>
                  <a:lnTo>
                    <a:pt x="1068236" y="1394961"/>
                  </a:lnTo>
                  <a:lnTo>
                    <a:pt x="735039" y="1391733"/>
                  </a:lnTo>
                  <a:lnTo>
                    <a:pt x="225640" y="1389100"/>
                  </a:lnTo>
                  <a:lnTo>
                    <a:pt x="178657" y="1385051"/>
                  </a:lnTo>
                  <a:lnTo>
                    <a:pt x="135500" y="1370478"/>
                  </a:lnTo>
                  <a:lnTo>
                    <a:pt x="97503" y="1346737"/>
                  </a:lnTo>
                  <a:lnTo>
                    <a:pt x="66001" y="1315186"/>
                  </a:lnTo>
                  <a:lnTo>
                    <a:pt x="42327" y="1277180"/>
                  </a:lnTo>
                  <a:lnTo>
                    <a:pt x="27815" y="1234077"/>
                  </a:lnTo>
                  <a:lnTo>
                    <a:pt x="23799" y="1187234"/>
                  </a:lnTo>
                  <a:lnTo>
                    <a:pt x="21664" y="738537"/>
                  </a:lnTo>
                  <a:lnTo>
                    <a:pt x="18088" y="351451"/>
                  </a:lnTo>
                  <a:lnTo>
                    <a:pt x="14922" y="142219"/>
                  </a:lnTo>
                  <a:lnTo>
                    <a:pt x="11887"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12" name="object 12"/>
            <p:cNvSpPr/>
            <p:nvPr/>
          </p:nvSpPr>
          <p:spPr>
            <a:xfrm>
              <a:off x="5844971" y="2118422"/>
              <a:ext cx="1412875" cy="1414145"/>
            </a:xfrm>
            <a:custGeom>
              <a:avLst/>
              <a:gdLst/>
              <a:ahLst/>
              <a:cxnLst/>
              <a:rect l="l" t="t" r="r" b="b"/>
              <a:pathLst>
                <a:path w="1412875" h="1414145">
                  <a:moveTo>
                    <a:pt x="1095234" y="0"/>
                  </a:moveTo>
                  <a:lnTo>
                    <a:pt x="1050847" y="43"/>
                  </a:lnTo>
                  <a:lnTo>
                    <a:pt x="937186" y="794"/>
                  </a:lnTo>
                  <a:lnTo>
                    <a:pt x="339166" y="7087"/>
                  </a:lnTo>
                  <a:lnTo>
                    <a:pt x="145347" y="10226"/>
                  </a:lnTo>
                  <a:lnTo>
                    <a:pt x="0" y="13145"/>
                  </a:lnTo>
                  <a:lnTo>
                    <a:pt x="142685" y="16177"/>
                  </a:lnTo>
                  <a:lnTo>
                    <a:pt x="353073" y="19345"/>
                  </a:lnTo>
                  <a:lnTo>
                    <a:pt x="686632" y="22541"/>
                  </a:lnTo>
                  <a:lnTo>
                    <a:pt x="1187208" y="25032"/>
                  </a:lnTo>
                  <a:lnTo>
                    <a:pt x="1234196" y="29082"/>
                  </a:lnTo>
                  <a:lnTo>
                    <a:pt x="1277354" y="43659"/>
                  </a:lnTo>
                  <a:lnTo>
                    <a:pt x="1315349" y="67404"/>
                  </a:lnTo>
                  <a:lnTo>
                    <a:pt x="1346849" y="98959"/>
                  </a:lnTo>
                  <a:lnTo>
                    <a:pt x="1370519" y="136968"/>
                  </a:lnTo>
                  <a:lnTo>
                    <a:pt x="1385026" y="180071"/>
                  </a:lnTo>
                  <a:lnTo>
                    <a:pt x="1389037" y="226911"/>
                  </a:lnTo>
                  <a:lnTo>
                    <a:pt x="1391275" y="681508"/>
                  </a:lnTo>
                  <a:lnTo>
                    <a:pt x="1394894" y="1069031"/>
                  </a:lnTo>
                  <a:lnTo>
                    <a:pt x="1398014" y="1275645"/>
                  </a:lnTo>
                  <a:lnTo>
                    <a:pt x="1400962" y="1414120"/>
                  </a:lnTo>
                  <a:lnTo>
                    <a:pt x="1403921" y="1275241"/>
                  </a:lnTo>
                  <a:lnTo>
                    <a:pt x="1407046" y="1068635"/>
                  </a:lnTo>
                  <a:lnTo>
                    <a:pt x="1410264" y="737135"/>
                  </a:lnTo>
                  <a:lnTo>
                    <a:pt x="1412875" y="226911"/>
                  </a:lnTo>
                  <a:lnTo>
                    <a:pt x="1409464" y="179804"/>
                  </a:lnTo>
                  <a:lnTo>
                    <a:pt x="1396882" y="136233"/>
                  </a:lnTo>
                  <a:lnTo>
                    <a:pt x="1376122" y="97132"/>
                  </a:lnTo>
                  <a:lnTo>
                    <a:pt x="1348175" y="63433"/>
                  </a:lnTo>
                  <a:lnTo>
                    <a:pt x="1314032" y="36071"/>
                  </a:lnTo>
                  <a:lnTo>
                    <a:pt x="1274686" y="15977"/>
                  </a:lnTo>
                  <a:lnTo>
                    <a:pt x="1224934" y="3815"/>
                  </a:lnTo>
                  <a:lnTo>
                    <a:pt x="1163147" y="666"/>
                  </a:lnTo>
                  <a:lnTo>
                    <a:pt x="1132399" y="201"/>
                  </a:lnTo>
                  <a:lnTo>
                    <a:pt x="1095234"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13" name="object 13"/>
            <p:cNvPicPr/>
            <p:nvPr/>
          </p:nvPicPr>
          <p:blipFill>
            <a:blip r:embed="rId4" cstate="print"/>
            <a:stretch>
              <a:fillRect/>
            </a:stretch>
          </p:blipFill>
          <p:spPr>
            <a:xfrm>
              <a:off x="8550401" y="1976856"/>
              <a:ext cx="1649602" cy="1695208"/>
            </a:xfrm>
            <a:prstGeom prst="rect">
              <a:avLst/>
            </a:prstGeom>
          </p:spPr>
        </p:pic>
        <p:pic>
          <p:nvPicPr>
            <p:cNvPr id="14" name="object 14"/>
            <p:cNvPicPr/>
            <p:nvPr/>
          </p:nvPicPr>
          <p:blipFill>
            <a:blip r:embed="rId5" cstate="print"/>
            <a:stretch>
              <a:fillRect/>
            </a:stretch>
          </p:blipFill>
          <p:spPr>
            <a:xfrm>
              <a:off x="8382177" y="2132050"/>
              <a:ext cx="1606854" cy="1606829"/>
            </a:xfrm>
            <a:prstGeom prst="rect">
              <a:avLst/>
            </a:prstGeom>
          </p:spPr>
        </p:pic>
        <p:sp>
          <p:nvSpPr>
            <p:cNvPr id="15" name="object 15"/>
            <p:cNvSpPr/>
            <p:nvPr/>
          </p:nvSpPr>
          <p:spPr>
            <a:xfrm>
              <a:off x="8370315" y="2337917"/>
              <a:ext cx="1412875" cy="1412875"/>
            </a:xfrm>
            <a:custGeom>
              <a:avLst/>
              <a:gdLst/>
              <a:ahLst/>
              <a:cxnLst/>
              <a:rect l="l" t="t" r="r" b="b"/>
              <a:pathLst>
                <a:path w="1412875" h="1412875">
                  <a:moveTo>
                    <a:pt x="11887" y="0"/>
                  </a:moveTo>
                  <a:lnTo>
                    <a:pt x="10804" y="45707"/>
                  </a:lnTo>
                  <a:lnTo>
                    <a:pt x="7962" y="192774"/>
                  </a:lnTo>
                  <a:lnTo>
                    <a:pt x="5024" y="405464"/>
                  </a:lnTo>
                  <a:lnTo>
                    <a:pt x="2489" y="682092"/>
                  </a:lnTo>
                  <a:lnTo>
                    <a:pt x="0" y="1187234"/>
                  </a:lnTo>
                  <a:lnTo>
                    <a:pt x="3303" y="1233777"/>
                  </a:lnTo>
                  <a:lnTo>
                    <a:pt x="15598" y="1276952"/>
                  </a:lnTo>
                  <a:lnTo>
                    <a:pt x="35946" y="1315824"/>
                  </a:lnTo>
                  <a:lnTo>
                    <a:pt x="63409" y="1349455"/>
                  </a:lnTo>
                  <a:lnTo>
                    <a:pt x="97048" y="1376912"/>
                  </a:lnTo>
                  <a:lnTo>
                    <a:pt x="135925" y="1397258"/>
                  </a:lnTo>
                  <a:lnTo>
                    <a:pt x="179102" y="1409557"/>
                  </a:lnTo>
                  <a:lnTo>
                    <a:pt x="225640" y="1412874"/>
                  </a:lnTo>
                  <a:lnTo>
                    <a:pt x="679650" y="1410633"/>
                  </a:lnTo>
                  <a:lnTo>
                    <a:pt x="1068484" y="1406999"/>
                  </a:lnTo>
                  <a:lnTo>
                    <a:pt x="1275153" y="1403893"/>
                  </a:lnTo>
                  <a:lnTo>
                    <a:pt x="1412875" y="1400975"/>
                  </a:lnTo>
                  <a:lnTo>
                    <a:pt x="1275012" y="1398062"/>
                  </a:lnTo>
                  <a:lnTo>
                    <a:pt x="1068236" y="1394961"/>
                  </a:lnTo>
                  <a:lnTo>
                    <a:pt x="735039" y="1391733"/>
                  </a:lnTo>
                  <a:lnTo>
                    <a:pt x="225640" y="1389100"/>
                  </a:lnTo>
                  <a:lnTo>
                    <a:pt x="178657" y="1385051"/>
                  </a:lnTo>
                  <a:lnTo>
                    <a:pt x="135500" y="1370478"/>
                  </a:lnTo>
                  <a:lnTo>
                    <a:pt x="97503" y="1346737"/>
                  </a:lnTo>
                  <a:lnTo>
                    <a:pt x="66001" y="1315186"/>
                  </a:lnTo>
                  <a:lnTo>
                    <a:pt x="42327" y="1277180"/>
                  </a:lnTo>
                  <a:lnTo>
                    <a:pt x="27815" y="1234077"/>
                  </a:lnTo>
                  <a:lnTo>
                    <a:pt x="23799" y="1187234"/>
                  </a:lnTo>
                  <a:lnTo>
                    <a:pt x="21664" y="738537"/>
                  </a:lnTo>
                  <a:lnTo>
                    <a:pt x="18088" y="351451"/>
                  </a:lnTo>
                  <a:lnTo>
                    <a:pt x="14922" y="142219"/>
                  </a:lnTo>
                  <a:lnTo>
                    <a:pt x="11887"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16" name="object 16"/>
            <p:cNvSpPr/>
            <p:nvPr/>
          </p:nvSpPr>
          <p:spPr>
            <a:xfrm>
              <a:off x="8589111" y="2118422"/>
              <a:ext cx="1412875" cy="1414145"/>
            </a:xfrm>
            <a:custGeom>
              <a:avLst/>
              <a:gdLst/>
              <a:ahLst/>
              <a:cxnLst/>
              <a:rect l="l" t="t" r="r" b="b"/>
              <a:pathLst>
                <a:path w="1412875" h="1414145">
                  <a:moveTo>
                    <a:pt x="1095234" y="0"/>
                  </a:moveTo>
                  <a:lnTo>
                    <a:pt x="1050847" y="43"/>
                  </a:lnTo>
                  <a:lnTo>
                    <a:pt x="937186" y="794"/>
                  </a:lnTo>
                  <a:lnTo>
                    <a:pt x="339166" y="7087"/>
                  </a:lnTo>
                  <a:lnTo>
                    <a:pt x="145347" y="10226"/>
                  </a:lnTo>
                  <a:lnTo>
                    <a:pt x="0" y="13145"/>
                  </a:lnTo>
                  <a:lnTo>
                    <a:pt x="142685" y="16177"/>
                  </a:lnTo>
                  <a:lnTo>
                    <a:pt x="353073" y="19345"/>
                  </a:lnTo>
                  <a:lnTo>
                    <a:pt x="686632" y="22541"/>
                  </a:lnTo>
                  <a:lnTo>
                    <a:pt x="1187208" y="25032"/>
                  </a:lnTo>
                  <a:lnTo>
                    <a:pt x="1234200" y="29082"/>
                  </a:lnTo>
                  <a:lnTo>
                    <a:pt x="1277360" y="43659"/>
                  </a:lnTo>
                  <a:lnTo>
                    <a:pt x="1315355" y="67404"/>
                  </a:lnTo>
                  <a:lnTo>
                    <a:pt x="1346853" y="98959"/>
                  </a:lnTo>
                  <a:lnTo>
                    <a:pt x="1370521" y="136968"/>
                  </a:lnTo>
                  <a:lnTo>
                    <a:pt x="1385027" y="180071"/>
                  </a:lnTo>
                  <a:lnTo>
                    <a:pt x="1389037" y="226911"/>
                  </a:lnTo>
                  <a:lnTo>
                    <a:pt x="1391275" y="681508"/>
                  </a:lnTo>
                  <a:lnTo>
                    <a:pt x="1394894" y="1069031"/>
                  </a:lnTo>
                  <a:lnTo>
                    <a:pt x="1398014" y="1275645"/>
                  </a:lnTo>
                  <a:lnTo>
                    <a:pt x="1400962" y="1414120"/>
                  </a:lnTo>
                  <a:lnTo>
                    <a:pt x="1403921" y="1275241"/>
                  </a:lnTo>
                  <a:lnTo>
                    <a:pt x="1407046" y="1068635"/>
                  </a:lnTo>
                  <a:lnTo>
                    <a:pt x="1410264" y="737135"/>
                  </a:lnTo>
                  <a:lnTo>
                    <a:pt x="1412875" y="226911"/>
                  </a:lnTo>
                  <a:lnTo>
                    <a:pt x="1409464" y="179804"/>
                  </a:lnTo>
                  <a:lnTo>
                    <a:pt x="1396882" y="136233"/>
                  </a:lnTo>
                  <a:lnTo>
                    <a:pt x="1376122" y="97132"/>
                  </a:lnTo>
                  <a:lnTo>
                    <a:pt x="1348175" y="63433"/>
                  </a:lnTo>
                  <a:lnTo>
                    <a:pt x="1314032" y="36071"/>
                  </a:lnTo>
                  <a:lnTo>
                    <a:pt x="1274686" y="15977"/>
                  </a:lnTo>
                  <a:lnTo>
                    <a:pt x="1224934" y="3815"/>
                  </a:lnTo>
                  <a:lnTo>
                    <a:pt x="1163147" y="666"/>
                  </a:lnTo>
                  <a:lnTo>
                    <a:pt x="1132399" y="201"/>
                  </a:lnTo>
                  <a:lnTo>
                    <a:pt x="1095234"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17" name="object 17"/>
            <p:cNvPicPr/>
            <p:nvPr/>
          </p:nvPicPr>
          <p:blipFill>
            <a:blip r:embed="rId6" cstate="print"/>
            <a:stretch>
              <a:fillRect/>
            </a:stretch>
          </p:blipFill>
          <p:spPr>
            <a:xfrm>
              <a:off x="8202714" y="4867592"/>
              <a:ext cx="1649615" cy="1695208"/>
            </a:xfrm>
            <a:prstGeom prst="rect">
              <a:avLst/>
            </a:prstGeom>
          </p:spPr>
        </p:pic>
        <p:pic>
          <p:nvPicPr>
            <p:cNvPr id="18" name="object 18"/>
            <p:cNvPicPr/>
            <p:nvPr/>
          </p:nvPicPr>
          <p:blipFill>
            <a:blip r:embed="rId7" cstate="print"/>
            <a:stretch>
              <a:fillRect/>
            </a:stretch>
          </p:blipFill>
          <p:spPr>
            <a:xfrm>
              <a:off x="8413686" y="4800777"/>
              <a:ext cx="1606854" cy="1606831"/>
            </a:xfrm>
            <a:prstGeom prst="rect">
              <a:avLst/>
            </a:prstGeom>
          </p:spPr>
        </p:pic>
        <p:sp>
          <p:nvSpPr>
            <p:cNvPr id="19" name="object 19"/>
            <p:cNvSpPr/>
            <p:nvPr/>
          </p:nvSpPr>
          <p:spPr>
            <a:xfrm>
              <a:off x="8619527" y="4788865"/>
              <a:ext cx="1412875" cy="1412875"/>
            </a:xfrm>
            <a:custGeom>
              <a:avLst/>
              <a:gdLst/>
              <a:ahLst/>
              <a:cxnLst/>
              <a:rect l="l" t="t" r="r" b="b"/>
              <a:pathLst>
                <a:path w="1412875" h="1412875">
                  <a:moveTo>
                    <a:pt x="1187234" y="0"/>
                  </a:moveTo>
                  <a:lnTo>
                    <a:pt x="733224" y="2241"/>
                  </a:lnTo>
                  <a:lnTo>
                    <a:pt x="344390" y="5875"/>
                  </a:lnTo>
                  <a:lnTo>
                    <a:pt x="137721" y="8981"/>
                  </a:lnTo>
                  <a:lnTo>
                    <a:pt x="0" y="11899"/>
                  </a:lnTo>
                  <a:lnTo>
                    <a:pt x="137862" y="14812"/>
                  </a:lnTo>
                  <a:lnTo>
                    <a:pt x="344638" y="17913"/>
                  </a:lnTo>
                  <a:lnTo>
                    <a:pt x="677835" y="21141"/>
                  </a:lnTo>
                  <a:lnTo>
                    <a:pt x="1187234" y="23774"/>
                  </a:lnTo>
                  <a:lnTo>
                    <a:pt x="1234217" y="27823"/>
                  </a:lnTo>
                  <a:lnTo>
                    <a:pt x="1277374" y="42396"/>
                  </a:lnTo>
                  <a:lnTo>
                    <a:pt x="1315372" y="66137"/>
                  </a:lnTo>
                  <a:lnTo>
                    <a:pt x="1346875" y="97688"/>
                  </a:lnTo>
                  <a:lnTo>
                    <a:pt x="1370551" y="135694"/>
                  </a:lnTo>
                  <a:lnTo>
                    <a:pt x="1385067" y="178797"/>
                  </a:lnTo>
                  <a:lnTo>
                    <a:pt x="1389087" y="225640"/>
                  </a:lnTo>
                  <a:lnTo>
                    <a:pt x="1391213" y="674337"/>
                  </a:lnTo>
                  <a:lnTo>
                    <a:pt x="1394786" y="1061423"/>
                  </a:lnTo>
                  <a:lnTo>
                    <a:pt x="1397952" y="1270655"/>
                  </a:lnTo>
                  <a:lnTo>
                    <a:pt x="1400987" y="1412875"/>
                  </a:lnTo>
                  <a:lnTo>
                    <a:pt x="1402070" y="1367167"/>
                  </a:lnTo>
                  <a:lnTo>
                    <a:pt x="1404912" y="1220100"/>
                  </a:lnTo>
                  <a:lnTo>
                    <a:pt x="1407850" y="1007410"/>
                  </a:lnTo>
                  <a:lnTo>
                    <a:pt x="1410385" y="730782"/>
                  </a:lnTo>
                  <a:lnTo>
                    <a:pt x="1412875" y="225640"/>
                  </a:lnTo>
                  <a:lnTo>
                    <a:pt x="1409571" y="179097"/>
                  </a:lnTo>
                  <a:lnTo>
                    <a:pt x="1397276" y="135922"/>
                  </a:lnTo>
                  <a:lnTo>
                    <a:pt x="1376928" y="97050"/>
                  </a:lnTo>
                  <a:lnTo>
                    <a:pt x="1349465" y="63419"/>
                  </a:lnTo>
                  <a:lnTo>
                    <a:pt x="1315826" y="35962"/>
                  </a:lnTo>
                  <a:lnTo>
                    <a:pt x="1276949" y="15616"/>
                  </a:lnTo>
                  <a:lnTo>
                    <a:pt x="1233772" y="3317"/>
                  </a:lnTo>
                  <a:lnTo>
                    <a:pt x="1187234"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20" name="object 20"/>
            <p:cNvSpPr/>
            <p:nvPr/>
          </p:nvSpPr>
          <p:spPr>
            <a:xfrm>
              <a:off x="8400732" y="5007112"/>
              <a:ext cx="1412875" cy="1414145"/>
            </a:xfrm>
            <a:custGeom>
              <a:avLst/>
              <a:gdLst/>
              <a:ahLst/>
              <a:cxnLst/>
              <a:rect l="l" t="t" r="r" b="b"/>
              <a:pathLst>
                <a:path w="1412875" h="1414145">
                  <a:moveTo>
                    <a:pt x="11912" y="0"/>
                  </a:moveTo>
                  <a:lnTo>
                    <a:pt x="8953" y="138878"/>
                  </a:lnTo>
                  <a:lnTo>
                    <a:pt x="5828" y="345484"/>
                  </a:lnTo>
                  <a:lnTo>
                    <a:pt x="2610" y="676984"/>
                  </a:lnTo>
                  <a:lnTo>
                    <a:pt x="0" y="1187208"/>
                  </a:lnTo>
                  <a:lnTo>
                    <a:pt x="3410" y="1234316"/>
                  </a:lnTo>
                  <a:lnTo>
                    <a:pt x="15992" y="1277887"/>
                  </a:lnTo>
                  <a:lnTo>
                    <a:pt x="36752" y="1316988"/>
                  </a:lnTo>
                  <a:lnTo>
                    <a:pt x="64699" y="1350686"/>
                  </a:lnTo>
                  <a:lnTo>
                    <a:pt x="98842" y="1378049"/>
                  </a:lnTo>
                  <a:lnTo>
                    <a:pt x="138188" y="1398142"/>
                  </a:lnTo>
                  <a:lnTo>
                    <a:pt x="187940" y="1410305"/>
                  </a:lnTo>
                  <a:lnTo>
                    <a:pt x="249727" y="1413454"/>
                  </a:lnTo>
                  <a:lnTo>
                    <a:pt x="317640" y="1414120"/>
                  </a:lnTo>
                  <a:lnTo>
                    <a:pt x="362027" y="1414077"/>
                  </a:lnTo>
                  <a:lnTo>
                    <a:pt x="475688" y="1413325"/>
                  </a:lnTo>
                  <a:lnTo>
                    <a:pt x="1073708" y="1407033"/>
                  </a:lnTo>
                  <a:lnTo>
                    <a:pt x="1267527" y="1403893"/>
                  </a:lnTo>
                  <a:lnTo>
                    <a:pt x="1412875" y="1400975"/>
                  </a:lnTo>
                  <a:lnTo>
                    <a:pt x="1270189" y="1397942"/>
                  </a:lnTo>
                  <a:lnTo>
                    <a:pt x="1059801" y="1394774"/>
                  </a:lnTo>
                  <a:lnTo>
                    <a:pt x="726242" y="1391578"/>
                  </a:lnTo>
                  <a:lnTo>
                    <a:pt x="225666" y="1389087"/>
                  </a:lnTo>
                  <a:lnTo>
                    <a:pt x="178674" y="1385037"/>
                  </a:lnTo>
                  <a:lnTo>
                    <a:pt x="135514" y="1370461"/>
                  </a:lnTo>
                  <a:lnTo>
                    <a:pt x="97519" y="1346716"/>
                  </a:lnTo>
                  <a:lnTo>
                    <a:pt x="66021" y="1315160"/>
                  </a:lnTo>
                  <a:lnTo>
                    <a:pt x="42353" y="1277152"/>
                  </a:lnTo>
                  <a:lnTo>
                    <a:pt x="27847" y="1234049"/>
                  </a:lnTo>
                  <a:lnTo>
                    <a:pt x="23837" y="1187208"/>
                  </a:lnTo>
                  <a:lnTo>
                    <a:pt x="21599" y="732612"/>
                  </a:lnTo>
                  <a:lnTo>
                    <a:pt x="17980" y="345088"/>
                  </a:lnTo>
                  <a:lnTo>
                    <a:pt x="14860" y="138474"/>
                  </a:lnTo>
                  <a:lnTo>
                    <a:pt x="11912"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21" name="object 21"/>
            <p:cNvPicPr/>
            <p:nvPr/>
          </p:nvPicPr>
          <p:blipFill>
            <a:blip r:embed="rId8" cstate="print"/>
            <a:stretch>
              <a:fillRect/>
            </a:stretch>
          </p:blipFill>
          <p:spPr>
            <a:xfrm>
              <a:off x="5458574" y="4867592"/>
              <a:ext cx="1649615" cy="1695208"/>
            </a:xfrm>
            <a:prstGeom prst="rect">
              <a:avLst/>
            </a:prstGeom>
          </p:spPr>
        </p:pic>
        <p:pic>
          <p:nvPicPr>
            <p:cNvPr id="22" name="object 22"/>
            <p:cNvPicPr/>
            <p:nvPr/>
          </p:nvPicPr>
          <p:blipFill>
            <a:blip r:embed="rId9" cstate="print"/>
            <a:stretch>
              <a:fillRect/>
            </a:stretch>
          </p:blipFill>
          <p:spPr>
            <a:xfrm>
              <a:off x="5669546" y="4800778"/>
              <a:ext cx="1606854" cy="1606831"/>
            </a:xfrm>
            <a:prstGeom prst="rect">
              <a:avLst/>
            </a:prstGeom>
          </p:spPr>
        </p:pic>
        <p:sp>
          <p:nvSpPr>
            <p:cNvPr id="23" name="object 23"/>
            <p:cNvSpPr/>
            <p:nvPr/>
          </p:nvSpPr>
          <p:spPr>
            <a:xfrm>
              <a:off x="5875388" y="4788865"/>
              <a:ext cx="1412875" cy="1412875"/>
            </a:xfrm>
            <a:custGeom>
              <a:avLst/>
              <a:gdLst/>
              <a:ahLst/>
              <a:cxnLst/>
              <a:rect l="l" t="t" r="r" b="b"/>
              <a:pathLst>
                <a:path w="1412875" h="1412875">
                  <a:moveTo>
                    <a:pt x="1187234" y="0"/>
                  </a:moveTo>
                  <a:lnTo>
                    <a:pt x="733224" y="2241"/>
                  </a:lnTo>
                  <a:lnTo>
                    <a:pt x="344390" y="5875"/>
                  </a:lnTo>
                  <a:lnTo>
                    <a:pt x="137721" y="8981"/>
                  </a:lnTo>
                  <a:lnTo>
                    <a:pt x="0" y="11899"/>
                  </a:lnTo>
                  <a:lnTo>
                    <a:pt x="137862" y="14812"/>
                  </a:lnTo>
                  <a:lnTo>
                    <a:pt x="344638" y="17913"/>
                  </a:lnTo>
                  <a:lnTo>
                    <a:pt x="677835" y="21141"/>
                  </a:lnTo>
                  <a:lnTo>
                    <a:pt x="1187234" y="23774"/>
                  </a:lnTo>
                  <a:lnTo>
                    <a:pt x="1234217" y="27823"/>
                  </a:lnTo>
                  <a:lnTo>
                    <a:pt x="1277374" y="42396"/>
                  </a:lnTo>
                  <a:lnTo>
                    <a:pt x="1315372" y="66137"/>
                  </a:lnTo>
                  <a:lnTo>
                    <a:pt x="1346875" y="97688"/>
                  </a:lnTo>
                  <a:lnTo>
                    <a:pt x="1370551" y="135694"/>
                  </a:lnTo>
                  <a:lnTo>
                    <a:pt x="1385067" y="178797"/>
                  </a:lnTo>
                  <a:lnTo>
                    <a:pt x="1389087" y="225640"/>
                  </a:lnTo>
                  <a:lnTo>
                    <a:pt x="1391213" y="674337"/>
                  </a:lnTo>
                  <a:lnTo>
                    <a:pt x="1394786" y="1061423"/>
                  </a:lnTo>
                  <a:lnTo>
                    <a:pt x="1397952" y="1270655"/>
                  </a:lnTo>
                  <a:lnTo>
                    <a:pt x="1400987" y="1412875"/>
                  </a:lnTo>
                  <a:lnTo>
                    <a:pt x="1402070" y="1367167"/>
                  </a:lnTo>
                  <a:lnTo>
                    <a:pt x="1404912" y="1220100"/>
                  </a:lnTo>
                  <a:lnTo>
                    <a:pt x="1407850" y="1007410"/>
                  </a:lnTo>
                  <a:lnTo>
                    <a:pt x="1410385" y="730782"/>
                  </a:lnTo>
                  <a:lnTo>
                    <a:pt x="1412875" y="225640"/>
                  </a:lnTo>
                  <a:lnTo>
                    <a:pt x="1409571" y="179097"/>
                  </a:lnTo>
                  <a:lnTo>
                    <a:pt x="1397276" y="135922"/>
                  </a:lnTo>
                  <a:lnTo>
                    <a:pt x="1376928" y="97050"/>
                  </a:lnTo>
                  <a:lnTo>
                    <a:pt x="1349465" y="63419"/>
                  </a:lnTo>
                  <a:lnTo>
                    <a:pt x="1315826" y="35962"/>
                  </a:lnTo>
                  <a:lnTo>
                    <a:pt x="1276949" y="15616"/>
                  </a:lnTo>
                  <a:lnTo>
                    <a:pt x="1233772" y="3317"/>
                  </a:lnTo>
                  <a:lnTo>
                    <a:pt x="1187234"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24" name="object 24"/>
            <p:cNvSpPr/>
            <p:nvPr/>
          </p:nvSpPr>
          <p:spPr>
            <a:xfrm>
              <a:off x="5656592" y="5007113"/>
              <a:ext cx="1412875" cy="1414145"/>
            </a:xfrm>
            <a:custGeom>
              <a:avLst/>
              <a:gdLst/>
              <a:ahLst/>
              <a:cxnLst/>
              <a:rect l="l" t="t" r="r" b="b"/>
              <a:pathLst>
                <a:path w="1412875" h="1414145">
                  <a:moveTo>
                    <a:pt x="11912" y="0"/>
                  </a:moveTo>
                  <a:lnTo>
                    <a:pt x="8953" y="138878"/>
                  </a:lnTo>
                  <a:lnTo>
                    <a:pt x="5828" y="345484"/>
                  </a:lnTo>
                  <a:lnTo>
                    <a:pt x="2610" y="676984"/>
                  </a:lnTo>
                  <a:lnTo>
                    <a:pt x="0" y="1187208"/>
                  </a:lnTo>
                  <a:lnTo>
                    <a:pt x="3410" y="1234316"/>
                  </a:lnTo>
                  <a:lnTo>
                    <a:pt x="15992" y="1277887"/>
                  </a:lnTo>
                  <a:lnTo>
                    <a:pt x="36752" y="1316988"/>
                  </a:lnTo>
                  <a:lnTo>
                    <a:pt x="64699" y="1350686"/>
                  </a:lnTo>
                  <a:lnTo>
                    <a:pt x="98842" y="1378049"/>
                  </a:lnTo>
                  <a:lnTo>
                    <a:pt x="138188" y="1398143"/>
                  </a:lnTo>
                  <a:lnTo>
                    <a:pt x="187940" y="1410305"/>
                  </a:lnTo>
                  <a:lnTo>
                    <a:pt x="249727" y="1413454"/>
                  </a:lnTo>
                  <a:lnTo>
                    <a:pt x="317640" y="1414120"/>
                  </a:lnTo>
                  <a:lnTo>
                    <a:pt x="362027" y="1414077"/>
                  </a:lnTo>
                  <a:lnTo>
                    <a:pt x="475688" y="1413325"/>
                  </a:lnTo>
                  <a:lnTo>
                    <a:pt x="1073708" y="1407033"/>
                  </a:lnTo>
                  <a:lnTo>
                    <a:pt x="1267527" y="1403893"/>
                  </a:lnTo>
                  <a:lnTo>
                    <a:pt x="1412875" y="1400975"/>
                  </a:lnTo>
                  <a:lnTo>
                    <a:pt x="1270189" y="1397942"/>
                  </a:lnTo>
                  <a:lnTo>
                    <a:pt x="1059801" y="1394774"/>
                  </a:lnTo>
                  <a:lnTo>
                    <a:pt x="726242" y="1391578"/>
                  </a:lnTo>
                  <a:lnTo>
                    <a:pt x="225666" y="1389087"/>
                  </a:lnTo>
                  <a:lnTo>
                    <a:pt x="178678" y="1385037"/>
                  </a:lnTo>
                  <a:lnTo>
                    <a:pt x="135520" y="1370461"/>
                  </a:lnTo>
                  <a:lnTo>
                    <a:pt x="97525" y="1346716"/>
                  </a:lnTo>
                  <a:lnTo>
                    <a:pt x="66025" y="1315160"/>
                  </a:lnTo>
                  <a:lnTo>
                    <a:pt x="42355" y="1277152"/>
                  </a:lnTo>
                  <a:lnTo>
                    <a:pt x="27848" y="1234049"/>
                  </a:lnTo>
                  <a:lnTo>
                    <a:pt x="23837" y="1187208"/>
                  </a:lnTo>
                  <a:lnTo>
                    <a:pt x="21599" y="732612"/>
                  </a:lnTo>
                  <a:lnTo>
                    <a:pt x="17980" y="345088"/>
                  </a:lnTo>
                  <a:lnTo>
                    <a:pt x="14860" y="138474"/>
                  </a:lnTo>
                  <a:lnTo>
                    <a:pt x="11912"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25" name="object 25"/>
            <p:cNvPicPr/>
            <p:nvPr/>
          </p:nvPicPr>
          <p:blipFill>
            <a:blip r:embed="rId10" cstate="print"/>
            <a:stretch>
              <a:fillRect/>
            </a:stretch>
          </p:blipFill>
          <p:spPr>
            <a:xfrm>
              <a:off x="5873089" y="3271443"/>
              <a:ext cx="2097404" cy="1975535"/>
            </a:xfrm>
            <a:prstGeom prst="rect">
              <a:avLst/>
            </a:prstGeom>
          </p:spPr>
        </p:pic>
        <p:sp>
          <p:nvSpPr>
            <p:cNvPr id="26" name="object 26"/>
            <p:cNvSpPr/>
            <p:nvPr/>
          </p:nvSpPr>
          <p:spPr>
            <a:xfrm>
              <a:off x="5800985" y="3297829"/>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27" name="object 27"/>
            <p:cNvSpPr/>
            <p:nvPr/>
          </p:nvSpPr>
          <p:spPr>
            <a:xfrm>
              <a:off x="5800985" y="3297829"/>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8BC540"/>
            </a:solidFill>
          </p:spPr>
          <p:txBody>
            <a:bodyPr wrap="square" lIns="0" tIns="0" rIns="0" bIns="0" rtlCol="0"/>
            <a:lstStyle/>
            <a:p>
              <a:endParaRPr sz="1224">
                <a:latin typeface="Century Gothic" panose="020B0502020202020204" pitchFamily="34" charset="0"/>
              </a:endParaRPr>
            </a:p>
          </p:txBody>
        </p:sp>
        <p:sp>
          <p:nvSpPr>
            <p:cNvPr id="28" name="object 28"/>
            <p:cNvSpPr/>
            <p:nvPr/>
          </p:nvSpPr>
          <p:spPr>
            <a:xfrm>
              <a:off x="5791245" y="3351326"/>
              <a:ext cx="812800" cy="1757680"/>
            </a:xfrm>
            <a:custGeom>
              <a:avLst/>
              <a:gdLst/>
              <a:ahLst/>
              <a:cxnLst/>
              <a:rect l="l" t="t" r="r" b="b"/>
              <a:pathLst>
                <a:path w="812800" h="1757679">
                  <a:moveTo>
                    <a:pt x="812742" y="0"/>
                  </a:moveTo>
                  <a:lnTo>
                    <a:pt x="712485" y="96118"/>
                  </a:lnTo>
                  <a:lnTo>
                    <a:pt x="603374" y="201950"/>
                  </a:lnTo>
                  <a:lnTo>
                    <a:pt x="412377" y="389081"/>
                  </a:lnTo>
                  <a:lnTo>
                    <a:pt x="60711" y="737120"/>
                  </a:lnTo>
                  <a:lnTo>
                    <a:pt x="30351" y="773165"/>
                  </a:lnTo>
                  <a:lnTo>
                    <a:pt x="10115" y="813597"/>
                  </a:lnTo>
                  <a:lnTo>
                    <a:pt x="0" y="856661"/>
                  </a:lnTo>
                  <a:lnTo>
                    <a:pt x="3" y="900603"/>
                  </a:lnTo>
                  <a:lnTo>
                    <a:pt x="10125" y="943668"/>
                  </a:lnTo>
                  <a:lnTo>
                    <a:pt x="30361" y="984103"/>
                  </a:lnTo>
                  <a:lnTo>
                    <a:pt x="60711" y="1020152"/>
                  </a:lnTo>
                  <a:lnTo>
                    <a:pt x="263142" y="1220802"/>
                  </a:lnTo>
                  <a:lnTo>
                    <a:pt x="570011" y="1522632"/>
                  </a:lnTo>
                  <a:lnTo>
                    <a:pt x="715612" y="1664103"/>
                  </a:lnTo>
                  <a:lnTo>
                    <a:pt x="812754" y="1757273"/>
                  </a:lnTo>
                  <a:lnTo>
                    <a:pt x="752082" y="1693867"/>
                  </a:lnTo>
                  <a:lnTo>
                    <a:pt x="614670" y="1552012"/>
                  </a:lnTo>
                  <a:lnTo>
                    <a:pt x="426594" y="1360036"/>
                  </a:lnTo>
                  <a:lnTo>
                    <a:pt x="75621" y="1005243"/>
                  </a:lnTo>
                  <a:lnTo>
                    <a:pt x="45081" y="967449"/>
                  </a:lnTo>
                  <a:lnTo>
                    <a:pt x="26788" y="924319"/>
                  </a:lnTo>
                  <a:lnTo>
                    <a:pt x="20720" y="878533"/>
                  </a:lnTo>
                  <a:lnTo>
                    <a:pt x="26854" y="832772"/>
                  </a:lnTo>
                  <a:lnTo>
                    <a:pt x="45166" y="789715"/>
                  </a:lnTo>
                  <a:lnTo>
                    <a:pt x="75634" y="752043"/>
                  </a:lnTo>
                  <a:lnTo>
                    <a:pt x="310477" y="515099"/>
                  </a:lnTo>
                  <a:lnTo>
                    <a:pt x="573715" y="247357"/>
                  </a:lnTo>
                  <a:lnTo>
                    <a:pt x="716641" y="100231"/>
                  </a:lnTo>
                  <a:lnTo>
                    <a:pt x="812742"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29" name="object 29"/>
            <p:cNvSpPr/>
            <p:nvPr/>
          </p:nvSpPr>
          <p:spPr>
            <a:xfrm>
              <a:off x="6863168" y="3351682"/>
              <a:ext cx="814069" cy="1757680"/>
            </a:xfrm>
            <a:custGeom>
              <a:avLst/>
              <a:gdLst/>
              <a:ahLst/>
              <a:cxnLst/>
              <a:rect l="l" t="t" r="r" b="b"/>
              <a:pathLst>
                <a:path w="814070" h="1757679">
                  <a:moveTo>
                    <a:pt x="0" y="0"/>
                  </a:moveTo>
                  <a:lnTo>
                    <a:pt x="96440" y="100567"/>
                  </a:lnTo>
                  <a:lnTo>
                    <a:pt x="203106" y="210513"/>
                  </a:lnTo>
                  <a:lnTo>
                    <a:pt x="391759" y="403041"/>
                  </a:lnTo>
                  <a:lnTo>
                    <a:pt x="737120" y="752017"/>
                  </a:lnTo>
                  <a:lnTo>
                    <a:pt x="767658" y="789817"/>
                  </a:lnTo>
                  <a:lnTo>
                    <a:pt x="785946" y="832950"/>
                  </a:lnTo>
                  <a:lnTo>
                    <a:pt x="792008" y="878736"/>
                  </a:lnTo>
                  <a:lnTo>
                    <a:pt x="785868" y="924496"/>
                  </a:lnTo>
                  <a:lnTo>
                    <a:pt x="767552" y="967550"/>
                  </a:lnTo>
                  <a:lnTo>
                    <a:pt x="737082" y="1005217"/>
                  </a:lnTo>
                  <a:lnTo>
                    <a:pt x="498980" y="1245536"/>
                  </a:lnTo>
                  <a:lnTo>
                    <a:pt x="234995" y="1514105"/>
                  </a:lnTo>
                  <a:lnTo>
                    <a:pt x="93642" y="1659605"/>
                  </a:lnTo>
                  <a:lnTo>
                    <a:pt x="0" y="1757260"/>
                  </a:lnTo>
                  <a:lnTo>
                    <a:pt x="97925" y="1663363"/>
                  </a:lnTo>
                  <a:lnTo>
                    <a:pt x="205880" y="1558640"/>
                  </a:lnTo>
                  <a:lnTo>
                    <a:pt x="396914" y="1371495"/>
                  </a:lnTo>
                  <a:lnTo>
                    <a:pt x="752030" y="1020165"/>
                  </a:lnTo>
                  <a:lnTo>
                    <a:pt x="783962" y="981681"/>
                  </a:lnTo>
                  <a:lnTo>
                    <a:pt x="804426" y="938457"/>
                  </a:lnTo>
                  <a:lnTo>
                    <a:pt x="813485" y="892578"/>
                  </a:lnTo>
                  <a:lnTo>
                    <a:pt x="811204" y="846132"/>
                  </a:lnTo>
                  <a:lnTo>
                    <a:pt x="797648" y="801204"/>
                  </a:lnTo>
                  <a:lnTo>
                    <a:pt x="776063" y="764848"/>
                  </a:lnTo>
                  <a:lnTo>
                    <a:pt x="750878" y="736019"/>
                  </a:lnTo>
                  <a:lnTo>
                    <a:pt x="707280" y="690873"/>
                  </a:lnTo>
                  <a:lnTo>
                    <a:pt x="676510" y="660022"/>
                  </a:lnTo>
                  <a:lnTo>
                    <a:pt x="592895" y="577445"/>
                  </a:lnTo>
                  <a:lnTo>
                    <a:pt x="216509" y="208915"/>
                  </a:lnTo>
                  <a:lnTo>
                    <a:pt x="72382" y="69417"/>
                  </a:lnTo>
                  <a:lnTo>
                    <a:pt x="0"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30" name="object 30"/>
            <p:cNvPicPr/>
            <p:nvPr/>
          </p:nvPicPr>
          <p:blipFill>
            <a:blip r:embed="rId11" cstate="print"/>
            <a:stretch>
              <a:fillRect/>
            </a:stretch>
          </p:blipFill>
          <p:spPr>
            <a:xfrm>
              <a:off x="8078495" y="3271443"/>
              <a:ext cx="2097392" cy="1975535"/>
            </a:xfrm>
            <a:prstGeom prst="rect">
              <a:avLst/>
            </a:prstGeom>
          </p:spPr>
        </p:pic>
        <p:sp>
          <p:nvSpPr>
            <p:cNvPr id="31" name="object 31"/>
            <p:cNvSpPr/>
            <p:nvPr/>
          </p:nvSpPr>
          <p:spPr>
            <a:xfrm>
              <a:off x="8006378" y="3297829"/>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32" name="object 32"/>
            <p:cNvSpPr/>
            <p:nvPr/>
          </p:nvSpPr>
          <p:spPr>
            <a:xfrm>
              <a:off x="8006378" y="3297829"/>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8BC540"/>
            </a:solidFill>
          </p:spPr>
          <p:txBody>
            <a:bodyPr wrap="square" lIns="0" tIns="0" rIns="0" bIns="0" rtlCol="0"/>
            <a:lstStyle/>
            <a:p>
              <a:endParaRPr sz="1224">
                <a:latin typeface="Century Gothic" panose="020B0502020202020204" pitchFamily="34" charset="0"/>
              </a:endParaRPr>
            </a:p>
          </p:txBody>
        </p:sp>
        <p:sp>
          <p:nvSpPr>
            <p:cNvPr id="33" name="object 33"/>
            <p:cNvSpPr/>
            <p:nvPr/>
          </p:nvSpPr>
          <p:spPr>
            <a:xfrm>
              <a:off x="7996650" y="3351326"/>
              <a:ext cx="812800" cy="1757680"/>
            </a:xfrm>
            <a:custGeom>
              <a:avLst/>
              <a:gdLst/>
              <a:ahLst/>
              <a:cxnLst/>
              <a:rect l="l" t="t" r="r" b="b"/>
              <a:pathLst>
                <a:path w="812800" h="1757679">
                  <a:moveTo>
                    <a:pt x="812742" y="0"/>
                  </a:moveTo>
                  <a:lnTo>
                    <a:pt x="712485" y="96118"/>
                  </a:lnTo>
                  <a:lnTo>
                    <a:pt x="603374" y="201950"/>
                  </a:lnTo>
                  <a:lnTo>
                    <a:pt x="412377" y="389081"/>
                  </a:lnTo>
                  <a:lnTo>
                    <a:pt x="60711" y="737120"/>
                  </a:lnTo>
                  <a:lnTo>
                    <a:pt x="30351" y="773165"/>
                  </a:lnTo>
                  <a:lnTo>
                    <a:pt x="10115" y="813597"/>
                  </a:lnTo>
                  <a:lnTo>
                    <a:pt x="0" y="856661"/>
                  </a:lnTo>
                  <a:lnTo>
                    <a:pt x="3" y="900603"/>
                  </a:lnTo>
                  <a:lnTo>
                    <a:pt x="10125" y="943668"/>
                  </a:lnTo>
                  <a:lnTo>
                    <a:pt x="30361" y="984103"/>
                  </a:lnTo>
                  <a:lnTo>
                    <a:pt x="60711" y="1020152"/>
                  </a:lnTo>
                  <a:lnTo>
                    <a:pt x="263142" y="1220802"/>
                  </a:lnTo>
                  <a:lnTo>
                    <a:pt x="570011" y="1522632"/>
                  </a:lnTo>
                  <a:lnTo>
                    <a:pt x="715612" y="1664103"/>
                  </a:lnTo>
                  <a:lnTo>
                    <a:pt x="812754" y="1757273"/>
                  </a:lnTo>
                  <a:lnTo>
                    <a:pt x="752082" y="1693867"/>
                  </a:lnTo>
                  <a:lnTo>
                    <a:pt x="614670" y="1552012"/>
                  </a:lnTo>
                  <a:lnTo>
                    <a:pt x="426594" y="1360036"/>
                  </a:lnTo>
                  <a:lnTo>
                    <a:pt x="75621" y="1005243"/>
                  </a:lnTo>
                  <a:lnTo>
                    <a:pt x="45081" y="967449"/>
                  </a:lnTo>
                  <a:lnTo>
                    <a:pt x="26788" y="924319"/>
                  </a:lnTo>
                  <a:lnTo>
                    <a:pt x="20720" y="878533"/>
                  </a:lnTo>
                  <a:lnTo>
                    <a:pt x="26854" y="832772"/>
                  </a:lnTo>
                  <a:lnTo>
                    <a:pt x="45166" y="789715"/>
                  </a:lnTo>
                  <a:lnTo>
                    <a:pt x="75634" y="752043"/>
                  </a:lnTo>
                  <a:lnTo>
                    <a:pt x="310477" y="515099"/>
                  </a:lnTo>
                  <a:lnTo>
                    <a:pt x="573715" y="247357"/>
                  </a:lnTo>
                  <a:lnTo>
                    <a:pt x="716641" y="100231"/>
                  </a:lnTo>
                  <a:lnTo>
                    <a:pt x="812742"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34" name="object 34"/>
            <p:cNvSpPr/>
            <p:nvPr/>
          </p:nvSpPr>
          <p:spPr>
            <a:xfrm>
              <a:off x="9068574" y="3351682"/>
              <a:ext cx="814069" cy="1757680"/>
            </a:xfrm>
            <a:custGeom>
              <a:avLst/>
              <a:gdLst/>
              <a:ahLst/>
              <a:cxnLst/>
              <a:rect l="l" t="t" r="r" b="b"/>
              <a:pathLst>
                <a:path w="814070" h="1757679">
                  <a:moveTo>
                    <a:pt x="0" y="0"/>
                  </a:moveTo>
                  <a:lnTo>
                    <a:pt x="96440" y="100567"/>
                  </a:lnTo>
                  <a:lnTo>
                    <a:pt x="203106" y="210513"/>
                  </a:lnTo>
                  <a:lnTo>
                    <a:pt x="391759" y="403041"/>
                  </a:lnTo>
                  <a:lnTo>
                    <a:pt x="737120" y="752017"/>
                  </a:lnTo>
                  <a:lnTo>
                    <a:pt x="767658" y="789817"/>
                  </a:lnTo>
                  <a:lnTo>
                    <a:pt x="785946" y="832950"/>
                  </a:lnTo>
                  <a:lnTo>
                    <a:pt x="792008" y="878736"/>
                  </a:lnTo>
                  <a:lnTo>
                    <a:pt x="785868" y="924496"/>
                  </a:lnTo>
                  <a:lnTo>
                    <a:pt x="767552" y="967550"/>
                  </a:lnTo>
                  <a:lnTo>
                    <a:pt x="737082" y="1005217"/>
                  </a:lnTo>
                  <a:lnTo>
                    <a:pt x="498980" y="1245536"/>
                  </a:lnTo>
                  <a:lnTo>
                    <a:pt x="234995" y="1514105"/>
                  </a:lnTo>
                  <a:lnTo>
                    <a:pt x="93642" y="1659605"/>
                  </a:lnTo>
                  <a:lnTo>
                    <a:pt x="0" y="1757260"/>
                  </a:lnTo>
                  <a:lnTo>
                    <a:pt x="97925" y="1663363"/>
                  </a:lnTo>
                  <a:lnTo>
                    <a:pt x="205880" y="1558640"/>
                  </a:lnTo>
                  <a:lnTo>
                    <a:pt x="396914" y="1371495"/>
                  </a:lnTo>
                  <a:lnTo>
                    <a:pt x="752030" y="1020165"/>
                  </a:lnTo>
                  <a:lnTo>
                    <a:pt x="783962" y="981681"/>
                  </a:lnTo>
                  <a:lnTo>
                    <a:pt x="804426" y="938457"/>
                  </a:lnTo>
                  <a:lnTo>
                    <a:pt x="813485" y="892578"/>
                  </a:lnTo>
                  <a:lnTo>
                    <a:pt x="811204" y="846132"/>
                  </a:lnTo>
                  <a:lnTo>
                    <a:pt x="797648" y="801204"/>
                  </a:lnTo>
                  <a:lnTo>
                    <a:pt x="776063" y="764848"/>
                  </a:lnTo>
                  <a:lnTo>
                    <a:pt x="750878" y="736019"/>
                  </a:lnTo>
                  <a:lnTo>
                    <a:pt x="707280" y="690873"/>
                  </a:lnTo>
                  <a:lnTo>
                    <a:pt x="676510" y="660022"/>
                  </a:lnTo>
                  <a:lnTo>
                    <a:pt x="592895" y="577445"/>
                  </a:lnTo>
                  <a:lnTo>
                    <a:pt x="216509" y="208915"/>
                  </a:lnTo>
                  <a:lnTo>
                    <a:pt x="72382" y="69417"/>
                  </a:lnTo>
                  <a:lnTo>
                    <a:pt x="0"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35" name="object 35"/>
            <p:cNvPicPr/>
            <p:nvPr/>
          </p:nvPicPr>
          <p:blipFill>
            <a:blip r:embed="rId12" cstate="print"/>
            <a:stretch>
              <a:fillRect/>
            </a:stretch>
          </p:blipFill>
          <p:spPr>
            <a:xfrm>
              <a:off x="6969340" y="2175192"/>
              <a:ext cx="2097392" cy="1975535"/>
            </a:xfrm>
            <a:prstGeom prst="rect">
              <a:avLst/>
            </a:prstGeom>
          </p:spPr>
        </p:pic>
        <p:sp>
          <p:nvSpPr>
            <p:cNvPr id="36" name="object 36"/>
            <p:cNvSpPr/>
            <p:nvPr/>
          </p:nvSpPr>
          <p:spPr>
            <a:xfrm>
              <a:off x="6897236" y="2201578"/>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37" name="object 37"/>
            <p:cNvSpPr/>
            <p:nvPr/>
          </p:nvSpPr>
          <p:spPr>
            <a:xfrm>
              <a:off x="6897236" y="2201578"/>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8BC540"/>
            </a:solidFill>
          </p:spPr>
          <p:txBody>
            <a:bodyPr wrap="square" lIns="0" tIns="0" rIns="0" bIns="0" rtlCol="0"/>
            <a:lstStyle/>
            <a:p>
              <a:endParaRPr sz="1224">
                <a:latin typeface="Century Gothic" panose="020B0502020202020204" pitchFamily="34" charset="0"/>
              </a:endParaRPr>
            </a:p>
          </p:txBody>
        </p:sp>
        <p:sp>
          <p:nvSpPr>
            <p:cNvPr id="38" name="object 38"/>
            <p:cNvSpPr/>
            <p:nvPr/>
          </p:nvSpPr>
          <p:spPr>
            <a:xfrm>
              <a:off x="6887496" y="2255075"/>
              <a:ext cx="812800" cy="1757680"/>
            </a:xfrm>
            <a:custGeom>
              <a:avLst/>
              <a:gdLst/>
              <a:ahLst/>
              <a:cxnLst/>
              <a:rect l="l" t="t" r="r" b="b"/>
              <a:pathLst>
                <a:path w="812800" h="1757679">
                  <a:moveTo>
                    <a:pt x="812742" y="0"/>
                  </a:moveTo>
                  <a:lnTo>
                    <a:pt x="712485" y="96118"/>
                  </a:lnTo>
                  <a:lnTo>
                    <a:pt x="603374" y="201950"/>
                  </a:lnTo>
                  <a:lnTo>
                    <a:pt x="412377" y="389081"/>
                  </a:lnTo>
                  <a:lnTo>
                    <a:pt x="60711" y="737120"/>
                  </a:lnTo>
                  <a:lnTo>
                    <a:pt x="30351" y="773165"/>
                  </a:lnTo>
                  <a:lnTo>
                    <a:pt x="10115" y="813597"/>
                  </a:lnTo>
                  <a:lnTo>
                    <a:pt x="0" y="856661"/>
                  </a:lnTo>
                  <a:lnTo>
                    <a:pt x="3" y="900603"/>
                  </a:lnTo>
                  <a:lnTo>
                    <a:pt x="10125" y="943668"/>
                  </a:lnTo>
                  <a:lnTo>
                    <a:pt x="30361" y="984103"/>
                  </a:lnTo>
                  <a:lnTo>
                    <a:pt x="60711" y="1020152"/>
                  </a:lnTo>
                  <a:lnTo>
                    <a:pt x="263142" y="1220802"/>
                  </a:lnTo>
                  <a:lnTo>
                    <a:pt x="570011" y="1522632"/>
                  </a:lnTo>
                  <a:lnTo>
                    <a:pt x="715612" y="1664103"/>
                  </a:lnTo>
                  <a:lnTo>
                    <a:pt x="812754" y="1757273"/>
                  </a:lnTo>
                  <a:lnTo>
                    <a:pt x="752082" y="1693867"/>
                  </a:lnTo>
                  <a:lnTo>
                    <a:pt x="614670" y="1552012"/>
                  </a:lnTo>
                  <a:lnTo>
                    <a:pt x="426594" y="1360036"/>
                  </a:lnTo>
                  <a:lnTo>
                    <a:pt x="75621" y="1005243"/>
                  </a:lnTo>
                  <a:lnTo>
                    <a:pt x="45081" y="967449"/>
                  </a:lnTo>
                  <a:lnTo>
                    <a:pt x="26788" y="924319"/>
                  </a:lnTo>
                  <a:lnTo>
                    <a:pt x="20720" y="878533"/>
                  </a:lnTo>
                  <a:lnTo>
                    <a:pt x="26854" y="832772"/>
                  </a:lnTo>
                  <a:lnTo>
                    <a:pt x="45166" y="789715"/>
                  </a:lnTo>
                  <a:lnTo>
                    <a:pt x="75634" y="752043"/>
                  </a:lnTo>
                  <a:lnTo>
                    <a:pt x="310477" y="515099"/>
                  </a:lnTo>
                  <a:lnTo>
                    <a:pt x="573715" y="247357"/>
                  </a:lnTo>
                  <a:lnTo>
                    <a:pt x="716641" y="100231"/>
                  </a:lnTo>
                  <a:lnTo>
                    <a:pt x="812742"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39" name="object 39"/>
            <p:cNvSpPr/>
            <p:nvPr/>
          </p:nvSpPr>
          <p:spPr>
            <a:xfrm>
              <a:off x="7959420" y="2255431"/>
              <a:ext cx="814069" cy="1757680"/>
            </a:xfrm>
            <a:custGeom>
              <a:avLst/>
              <a:gdLst/>
              <a:ahLst/>
              <a:cxnLst/>
              <a:rect l="l" t="t" r="r" b="b"/>
              <a:pathLst>
                <a:path w="814070" h="1757679">
                  <a:moveTo>
                    <a:pt x="0" y="0"/>
                  </a:moveTo>
                  <a:lnTo>
                    <a:pt x="96440" y="100567"/>
                  </a:lnTo>
                  <a:lnTo>
                    <a:pt x="203106" y="210513"/>
                  </a:lnTo>
                  <a:lnTo>
                    <a:pt x="391759" y="403041"/>
                  </a:lnTo>
                  <a:lnTo>
                    <a:pt x="737120" y="752017"/>
                  </a:lnTo>
                  <a:lnTo>
                    <a:pt x="767658" y="789817"/>
                  </a:lnTo>
                  <a:lnTo>
                    <a:pt x="785946" y="832950"/>
                  </a:lnTo>
                  <a:lnTo>
                    <a:pt x="792008" y="878736"/>
                  </a:lnTo>
                  <a:lnTo>
                    <a:pt x="785868" y="924496"/>
                  </a:lnTo>
                  <a:lnTo>
                    <a:pt x="767552" y="967550"/>
                  </a:lnTo>
                  <a:lnTo>
                    <a:pt x="737082" y="1005217"/>
                  </a:lnTo>
                  <a:lnTo>
                    <a:pt x="498980" y="1245536"/>
                  </a:lnTo>
                  <a:lnTo>
                    <a:pt x="234995" y="1514105"/>
                  </a:lnTo>
                  <a:lnTo>
                    <a:pt x="93642" y="1659605"/>
                  </a:lnTo>
                  <a:lnTo>
                    <a:pt x="0" y="1757260"/>
                  </a:lnTo>
                  <a:lnTo>
                    <a:pt x="97925" y="1663363"/>
                  </a:lnTo>
                  <a:lnTo>
                    <a:pt x="205880" y="1558640"/>
                  </a:lnTo>
                  <a:lnTo>
                    <a:pt x="396914" y="1371495"/>
                  </a:lnTo>
                  <a:lnTo>
                    <a:pt x="752030" y="1020165"/>
                  </a:lnTo>
                  <a:lnTo>
                    <a:pt x="783962" y="981681"/>
                  </a:lnTo>
                  <a:lnTo>
                    <a:pt x="804426" y="938457"/>
                  </a:lnTo>
                  <a:lnTo>
                    <a:pt x="813485" y="892578"/>
                  </a:lnTo>
                  <a:lnTo>
                    <a:pt x="811204" y="846132"/>
                  </a:lnTo>
                  <a:lnTo>
                    <a:pt x="797648" y="801204"/>
                  </a:lnTo>
                  <a:lnTo>
                    <a:pt x="776063" y="764848"/>
                  </a:lnTo>
                  <a:lnTo>
                    <a:pt x="750878" y="736019"/>
                  </a:lnTo>
                  <a:lnTo>
                    <a:pt x="707280" y="690873"/>
                  </a:lnTo>
                  <a:lnTo>
                    <a:pt x="676510" y="660022"/>
                  </a:lnTo>
                  <a:lnTo>
                    <a:pt x="592895" y="577445"/>
                  </a:lnTo>
                  <a:lnTo>
                    <a:pt x="216509" y="208915"/>
                  </a:lnTo>
                  <a:lnTo>
                    <a:pt x="72382" y="69417"/>
                  </a:lnTo>
                  <a:lnTo>
                    <a:pt x="0"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pic>
          <p:nvPicPr>
            <p:cNvPr id="40" name="object 40"/>
            <p:cNvPicPr/>
            <p:nvPr/>
          </p:nvPicPr>
          <p:blipFill>
            <a:blip r:embed="rId13" cstate="print"/>
            <a:stretch>
              <a:fillRect/>
            </a:stretch>
          </p:blipFill>
          <p:spPr>
            <a:xfrm>
              <a:off x="6969340" y="4387037"/>
              <a:ext cx="2097392" cy="1975535"/>
            </a:xfrm>
            <a:prstGeom prst="rect">
              <a:avLst/>
            </a:prstGeom>
          </p:spPr>
        </p:pic>
        <p:sp>
          <p:nvSpPr>
            <p:cNvPr id="41" name="object 41"/>
            <p:cNvSpPr/>
            <p:nvPr/>
          </p:nvSpPr>
          <p:spPr>
            <a:xfrm>
              <a:off x="6897236" y="4413423"/>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42" name="object 42"/>
            <p:cNvSpPr/>
            <p:nvPr/>
          </p:nvSpPr>
          <p:spPr>
            <a:xfrm>
              <a:off x="6897236" y="4413423"/>
              <a:ext cx="1864360" cy="1864360"/>
            </a:xfrm>
            <a:custGeom>
              <a:avLst/>
              <a:gdLst/>
              <a:ahLst/>
              <a:cxnLst/>
              <a:rect l="l" t="t" r="r" b="b"/>
              <a:pathLst>
                <a:path w="1864359" h="1864360">
                  <a:moveTo>
                    <a:pt x="932100" y="0"/>
                  </a:moveTo>
                  <a:lnTo>
                    <a:pt x="885782" y="5940"/>
                  </a:lnTo>
                  <a:lnTo>
                    <a:pt x="841928" y="23764"/>
                  </a:lnTo>
                  <a:lnTo>
                    <a:pt x="803001" y="53471"/>
                  </a:lnTo>
                  <a:lnTo>
                    <a:pt x="53460" y="803013"/>
                  </a:lnTo>
                  <a:lnTo>
                    <a:pt x="23758" y="841947"/>
                  </a:lnTo>
                  <a:lnTo>
                    <a:pt x="5938" y="885801"/>
                  </a:lnTo>
                  <a:lnTo>
                    <a:pt x="0" y="932114"/>
                  </a:lnTo>
                  <a:lnTo>
                    <a:pt x="5944" y="978428"/>
                  </a:lnTo>
                  <a:lnTo>
                    <a:pt x="23773" y="1022282"/>
                  </a:lnTo>
                  <a:lnTo>
                    <a:pt x="53486" y="1061216"/>
                  </a:lnTo>
                  <a:lnTo>
                    <a:pt x="803027" y="1810770"/>
                  </a:lnTo>
                  <a:lnTo>
                    <a:pt x="841947" y="1840468"/>
                  </a:lnTo>
                  <a:lnTo>
                    <a:pt x="885795" y="1858288"/>
                  </a:lnTo>
                  <a:lnTo>
                    <a:pt x="932108" y="1864228"/>
                  </a:lnTo>
                  <a:lnTo>
                    <a:pt x="978424" y="1858287"/>
                  </a:lnTo>
                  <a:lnTo>
                    <a:pt x="1022281" y="1840464"/>
                  </a:lnTo>
                  <a:lnTo>
                    <a:pt x="1061218" y="1810758"/>
                  </a:lnTo>
                  <a:lnTo>
                    <a:pt x="1810746" y="1061216"/>
                  </a:lnTo>
                  <a:lnTo>
                    <a:pt x="1840449" y="1022291"/>
                  </a:lnTo>
                  <a:lnTo>
                    <a:pt x="1858270" y="978440"/>
                  </a:lnTo>
                  <a:lnTo>
                    <a:pt x="1864212" y="932127"/>
                  </a:lnTo>
                  <a:lnTo>
                    <a:pt x="1858274" y="885814"/>
                  </a:lnTo>
                  <a:lnTo>
                    <a:pt x="1840456" y="841964"/>
                  </a:lnTo>
                  <a:lnTo>
                    <a:pt x="1810759" y="803038"/>
                  </a:lnTo>
                  <a:lnTo>
                    <a:pt x="1061218" y="53484"/>
                  </a:lnTo>
                  <a:lnTo>
                    <a:pt x="1022280" y="23771"/>
                  </a:lnTo>
                  <a:lnTo>
                    <a:pt x="978420" y="5943"/>
                  </a:lnTo>
                  <a:lnTo>
                    <a:pt x="932100" y="0"/>
                  </a:lnTo>
                  <a:close/>
                </a:path>
              </a:pathLst>
            </a:custGeom>
            <a:solidFill>
              <a:srgbClr val="8BC540"/>
            </a:solidFill>
          </p:spPr>
          <p:txBody>
            <a:bodyPr wrap="square" lIns="0" tIns="0" rIns="0" bIns="0" rtlCol="0"/>
            <a:lstStyle/>
            <a:p>
              <a:endParaRPr sz="1224">
                <a:latin typeface="Century Gothic" panose="020B0502020202020204" pitchFamily="34" charset="0"/>
              </a:endParaRPr>
            </a:p>
          </p:txBody>
        </p:sp>
        <p:sp>
          <p:nvSpPr>
            <p:cNvPr id="43" name="object 43"/>
            <p:cNvSpPr/>
            <p:nvPr/>
          </p:nvSpPr>
          <p:spPr>
            <a:xfrm>
              <a:off x="6887496" y="4466920"/>
              <a:ext cx="812800" cy="1757680"/>
            </a:xfrm>
            <a:custGeom>
              <a:avLst/>
              <a:gdLst/>
              <a:ahLst/>
              <a:cxnLst/>
              <a:rect l="l" t="t" r="r" b="b"/>
              <a:pathLst>
                <a:path w="812800" h="1757679">
                  <a:moveTo>
                    <a:pt x="812742" y="0"/>
                  </a:moveTo>
                  <a:lnTo>
                    <a:pt x="712485" y="96118"/>
                  </a:lnTo>
                  <a:lnTo>
                    <a:pt x="603374" y="201950"/>
                  </a:lnTo>
                  <a:lnTo>
                    <a:pt x="412377" y="389081"/>
                  </a:lnTo>
                  <a:lnTo>
                    <a:pt x="60711" y="737120"/>
                  </a:lnTo>
                  <a:lnTo>
                    <a:pt x="30351" y="773165"/>
                  </a:lnTo>
                  <a:lnTo>
                    <a:pt x="10115" y="813597"/>
                  </a:lnTo>
                  <a:lnTo>
                    <a:pt x="0" y="856661"/>
                  </a:lnTo>
                  <a:lnTo>
                    <a:pt x="3" y="900603"/>
                  </a:lnTo>
                  <a:lnTo>
                    <a:pt x="10125" y="943668"/>
                  </a:lnTo>
                  <a:lnTo>
                    <a:pt x="30361" y="984103"/>
                  </a:lnTo>
                  <a:lnTo>
                    <a:pt x="60711" y="1020152"/>
                  </a:lnTo>
                  <a:lnTo>
                    <a:pt x="263142" y="1220802"/>
                  </a:lnTo>
                  <a:lnTo>
                    <a:pt x="570011" y="1522632"/>
                  </a:lnTo>
                  <a:lnTo>
                    <a:pt x="715612" y="1664103"/>
                  </a:lnTo>
                  <a:lnTo>
                    <a:pt x="812754" y="1757273"/>
                  </a:lnTo>
                  <a:lnTo>
                    <a:pt x="752082" y="1693867"/>
                  </a:lnTo>
                  <a:lnTo>
                    <a:pt x="614670" y="1552012"/>
                  </a:lnTo>
                  <a:lnTo>
                    <a:pt x="426594" y="1360036"/>
                  </a:lnTo>
                  <a:lnTo>
                    <a:pt x="75621" y="1005243"/>
                  </a:lnTo>
                  <a:lnTo>
                    <a:pt x="45081" y="967449"/>
                  </a:lnTo>
                  <a:lnTo>
                    <a:pt x="26788" y="924319"/>
                  </a:lnTo>
                  <a:lnTo>
                    <a:pt x="20720" y="878533"/>
                  </a:lnTo>
                  <a:lnTo>
                    <a:pt x="26854" y="832772"/>
                  </a:lnTo>
                  <a:lnTo>
                    <a:pt x="45166" y="789715"/>
                  </a:lnTo>
                  <a:lnTo>
                    <a:pt x="75634" y="752043"/>
                  </a:lnTo>
                  <a:lnTo>
                    <a:pt x="310477" y="515099"/>
                  </a:lnTo>
                  <a:lnTo>
                    <a:pt x="573715" y="247357"/>
                  </a:lnTo>
                  <a:lnTo>
                    <a:pt x="716641" y="100231"/>
                  </a:lnTo>
                  <a:lnTo>
                    <a:pt x="812742" y="0"/>
                  </a:lnTo>
                  <a:close/>
                </a:path>
              </a:pathLst>
            </a:custGeom>
            <a:solidFill>
              <a:srgbClr val="FFFFFF"/>
            </a:solidFill>
          </p:spPr>
          <p:txBody>
            <a:bodyPr wrap="square" lIns="0" tIns="0" rIns="0" bIns="0" rtlCol="0"/>
            <a:lstStyle/>
            <a:p>
              <a:endParaRPr sz="1224">
                <a:latin typeface="Century Gothic" panose="020B0502020202020204" pitchFamily="34" charset="0"/>
              </a:endParaRPr>
            </a:p>
          </p:txBody>
        </p:sp>
        <p:sp>
          <p:nvSpPr>
            <p:cNvPr id="44" name="object 44"/>
            <p:cNvSpPr/>
            <p:nvPr/>
          </p:nvSpPr>
          <p:spPr>
            <a:xfrm>
              <a:off x="7959420" y="4467275"/>
              <a:ext cx="814069" cy="1757680"/>
            </a:xfrm>
            <a:custGeom>
              <a:avLst/>
              <a:gdLst/>
              <a:ahLst/>
              <a:cxnLst/>
              <a:rect l="l" t="t" r="r" b="b"/>
              <a:pathLst>
                <a:path w="814070" h="1757679">
                  <a:moveTo>
                    <a:pt x="0" y="0"/>
                  </a:moveTo>
                  <a:lnTo>
                    <a:pt x="96440" y="100567"/>
                  </a:lnTo>
                  <a:lnTo>
                    <a:pt x="203106" y="210513"/>
                  </a:lnTo>
                  <a:lnTo>
                    <a:pt x="391759" y="403041"/>
                  </a:lnTo>
                  <a:lnTo>
                    <a:pt x="737120" y="752017"/>
                  </a:lnTo>
                  <a:lnTo>
                    <a:pt x="767658" y="789817"/>
                  </a:lnTo>
                  <a:lnTo>
                    <a:pt x="785946" y="832950"/>
                  </a:lnTo>
                  <a:lnTo>
                    <a:pt x="792008" y="878736"/>
                  </a:lnTo>
                  <a:lnTo>
                    <a:pt x="785868" y="924496"/>
                  </a:lnTo>
                  <a:lnTo>
                    <a:pt x="767552" y="967550"/>
                  </a:lnTo>
                  <a:lnTo>
                    <a:pt x="737082" y="1005217"/>
                  </a:lnTo>
                  <a:lnTo>
                    <a:pt x="498980" y="1245536"/>
                  </a:lnTo>
                  <a:lnTo>
                    <a:pt x="234995" y="1514105"/>
                  </a:lnTo>
                  <a:lnTo>
                    <a:pt x="93642" y="1659605"/>
                  </a:lnTo>
                  <a:lnTo>
                    <a:pt x="0" y="1757260"/>
                  </a:lnTo>
                  <a:lnTo>
                    <a:pt x="97925" y="1663363"/>
                  </a:lnTo>
                  <a:lnTo>
                    <a:pt x="205880" y="1558640"/>
                  </a:lnTo>
                  <a:lnTo>
                    <a:pt x="396914" y="1371495"/>
                  </a:lnTo>
                  <a:lnTo>
                    <a:pt x="752030" y="1020165"/>
                  </a:lnTo>
                  <a:lnTo>
                    <a:pt x="783962" y="981681"/>
                  </a:lnTo>
                  <a:lnTo>
                    <a:pt x="804426" y="938457"/>
                  </a:lnTo>
                  <a:lnTo>
                    <a:pt x="813485" y="892578"/>
                  </a:lnTo>
                  <a:lnTo>
                    <a:pt x="811204" y="846132"/>
                  </a:lnTo>
                  <a:lnTo>
                    <a:pt x="797648" y="801204"/>
                  </a:lnTo>
                  <a:lnTo>
                    <a:pt x="776063" y="764848"/>
                  </a:lnTo>
                  <a:lnTo>
                    <a:pt x="750878" y="736019"/>
                  </a:lnTo>
                  <a:lnTo>
                    <a:pt x="707280" y="690873"/>
                  </a:lnTo>
                  <a:lnTo>
                    <a:pt x="676510" y="660022"/>
                  </a:lnTo>
                  <a:lnTo>
                    <a:pt x="592895" y="577445"/>
                  </a:lnTo>
                  <a:lnTo>
                    <a:pt x="216509" y="208915"/>
                  </a:lnTo>
                  <a:lnTo>
                    <a:pt x="72382" y="69417"/>
                  </a:lnTo>
                  <a:lnTo>
                    <a:pt x="0" y="0"/>
                  </a:lnTo>
                  <a:close/>
                </a:path>
              </a:pathLst>
            </a:custGeom>
            <a:solidFill>
              <a:srgbClr val="BCBCBC"/>
            </a:solidFill>
          </p:spPr>
          <p:txBody>
            <a:bodyPr wrap="square" lIns="0" tIns="0" rIns="0" bIns="0" rtlCol="0"/>
            <a:lstStyle/>
            <a:p>
              <a:endParaRPr sz="1224">
                <a:latin typeface="Century Gothic" panose="020B0502020202020204" pitchFamily="34" charset="0"/>
              </a:endParaRPr>
            </a:p>
          </p:txBody>
        </p:sp>
        <p:sp>
          <p:nvSpPr>
            <p:cNvPr id="45" name="object 45"/>
            <p:cNvSpPr/>
            <p:nvPr/>
          </p:nvSpPr>
          <p:spPr>
            <a:xfrm>
              <a:off x="7827733" y="5082514"/>
              <a:ext cx="17145" cy="135890"/>
            </a:xfrm>
            <a:custGeom>
              <a:avLst/>
              <a:gdLst/>
              <a:ahLst/>
              <a:cxnLst/>
              <a:rect l="l" t="t" r="r" b="b"/>
              <a:pathLst>
                <a:path w="17145" h="135889">
                  <a:moveTo>
                    <a:pt x="16840" y="0"/>
                  </a:moveTo>
                  <a:lnTo>
                    <a:pt x="0" y="135737"/>
                  </a:lnTo>
                </a:path>
              </a:pathLst>
            </a:custGeom>
            <a:solidFill>
              <a:srgbClr val="F49F1A"/>
            </a:solidFill>
          </p:spPr>
          <p:txBody>
            <a:bodyPr wrap="square" lIns="0" tIns="0" rIns="0" bIns="0" rtlCol="0"/>
            <a:lstStyle/>
            <a:p>
              <a:endParaRPr sz="1224">
                <a:latin typeface="Century Gothic" panose="020B0502020202020204" pitchFamily="34" charset="0"/>
              </a:endParaRPr>
            </a:p>
          </p:txBody>
        </p:sp>
        <p:pic>
          <p:nvPicPr>
            <p:cNvPr id="46" name="object 46"/>
            <p:cNvPicPr/>
            <p:nvPr/>
          </p:nvPicPr>
          <p:blipFill>
            <a:blip r:embed="rId14" cstate="print"/>
            <a:stretch>
              <a:fillRect/>
            </a:stretch>
          </p:blipFill>
          <p:spPr>
            <a:xfrm>
              <a:off x="7482395" y="3779913"/>
              <a:ext cx="908547" cy="926075"/>
            </a:xfrm>
            <a:prstGeom prst="rect">
              <a:avLst/>
            </a:prstGeom>
          </p:spPr>
        </p:pic>
        <p:sp>
          <p:nvSpPr>
            <p:cNvPr id="47" name="object 47"/>
            <p:cNvSpPr/>
            <p:nvPr/>
          </p:nvSpPr>
          <p:spPr>
            <a:xfrm>
              <a:off x="7398548" y="3701951"/>
              <a:ext cx="944880" cy="944880"/>
            </a:xfrm>
            <a:custGeom>
              <a:avLst/>
              <a:gdLst/>
              <a:ahLst/>
              <a:cxnLst/>
              <a:rect l="l" t="t" r="r" b="b"/>
              <a:pathLst>
                <a:path w="944879" h="944879">
                  <a:moveTo>
                    <a:pt x="465229" y="0"/>
                  </a:moveTo>
                  <a:lnTo>
                    <a:pt x="419987" y="2843"/>
                  </a:lnTo>
                  <a:lnTo>
                    <a:pt x="375147" y="10004"/>
                  </a:lnTo>
                  <a:lnTo>
                    <a:pt x="331042" y="21479"/>
                  </a:lnTo>
                  <a:lnTo>
                    <a:pt x="288010" y="37262"/>
                  </a:lnTo>
                  <a:lnTo>
                    <a:pt x="246385" y="57349"/>
                  </a:lnTo>
                  <a:lnTo>
                    <a:pt x="206503" y="81734"/>
                  </a:lnTo>
                  <a:lnTo>
                    <a:pt x="168701" y="110413"/>
                  </a:lnTo>
                  <a:lnTo>
                    <a:pt x="133313" y="143379"/>
                  </a:lnTo>
                  <a:lnTo>
                    <a:pt x="101430" y="179736"/>
                  </a:lnTo>
                  <a:lnTo>
                    <a:pt x="73905" y="218379"/>
                  </a:lnTo>
                  <a:lnTo>
                    <a:pt x="50734" y="258971"/>
                  </a:lnTo>
                  <a:lnTo>
                    <a:pt x="31911" y="301178"/>
                  </a:lnTo>
                  <a:lnTo>
                    <a:pt x="17431" y="344663"/>
                  </a:lnTo>
                  <a:lnTo>
                    <a:pt x="7289" y="389090"/>
                  </a:lnTo>
                  <a:lnTo>
                    <a:pt x="1480" y="434125"/>
                  </a:lnTo>
                  <a:lnTo>
                    <a:pt x="0" y="479431"/>
                  </a:lnTo>
                  <a:lnTo>
                    <a:pt x="2842" y="524672"/>
                  </a:lnTo>
                  <a:lnTo>
                    <a:pt x="10002" y="569513"/>
                  </a:lnTo>
                  <a:lnTo>
                    <a:pt x="21475" y="613618"/>
                  </a:lnTo>
                  <a:lnTo>
                    <a:pt x="37256" y="656651"/>
                  </a:lnTo>
                  <a:lnTo>
                    <a:pt x="57340" y="698276"/>
                  </a:lnTo>
                  <a:lnTo>
                    <a:pt x="81722" y="738158"/>
                  </a:lnTo>
                  <a:lnTo>
                    <a:pt x="110396" y="775961"/>
                  </a:lnTo>
                  <a:lnTo>
                    <a:pt x="143359" y="811349"/>
                  </a:lnTo>
                  <a:lnTo>
                    <a:pt x="179718" y="843232"/>
                  </a:lnTo>
                  <a:lnTo>
                    <a:pt x="218363" y="870757"/>
                  </a:lnTo>
                  <a:lnTo>
                    <a:pt x="258957" y="893929"/>
                  </a:lnTo>
                  <a:lnTo>
                    <a:pt x="301166" y="912753"/>
                  </a:lnTo>
                  <a:lnTo>
                    <a:pt x="344653" y="927234"/>
                  </a:lnTo>
                  <a:lnTo>
                    <a:pt x="389083" y="937377"/>
                  </a:lnTo>
                  <a:lnTo>
                    <a:pt x="434119" y="943188"/>
                  </a:lnTo>
                  <a:lnTo>
                    <a:pt x="479426" y="944670"/>
                  </a:lnTo>
                  <a:lnTo>
                    <a:pt x="524668" y="941830"/>
                  </a:lnTo>
                  <a:lnTo>
                    <a:pt x="569510" y="934671"/>
                  </a:lnTo>
                  <a:lnTo>
                    <a:pt x="613615" y="923200"/>
                  </a:lnTo>
                  <a:lnTo>
                    <a:pt x="656648" y="907421"/>
                  </a:lnTo>
                  <a:lnTo>
                    <a:pt x="698273" y="887340"/>
                  </a:lnTo>
                  <a:lnTo>
                    <a:pt x="738154" y="862960"/>
                  </a:lnTo>
                  <a:lnTo>
                    <a:pt x="775955" y="834288"/>
                  </a:lnTo>
                  <a:lnTo>
                    <a:pt x="811341" y="801328"/>
                  </a:lnTo>
                  <a:lnTo>
                    <a:pt x="843226" y="764965"/>
                  </a:lnTo>
                  <a:lnTo>
                    <a:pt x="870752" y="726316"/>
                  </a:lnTo>
                  <a:lnTo>
                    <a:pt x="893925" y="685719"/>
                  </a:lnTo>
                  <a:lnTo>
                    <a:pt x="912750" y="643508"/>
                  </a:lnTo>
                  <a:lnTo>
                    <a:pt x="927231" y="600019"/>
                  </a:lnTo>
                  <a:lnTo>
                    <a:pt x="937374" y="555588"/>
                  </a:lnTo>
                  <a:lnTo>
                    <a:pt x="943184" y="510551"/>
                  </a:lnTo>
                  <a:lnTo>
                    <a:pt x="944665" y="465243"/>
                  </a:lnTo>
                  <a:lnTo>
                    <a:pt x="941823" y="420001"/>
                  </a:lnTo>
                  <a:lnTo>
                    <a:pt x="934664" y="375159"/>
                  </a:lnTo>
                  <a:lnTo>
                    <a:pt x="923191" y="331053"/>
                  </a:lnTo>
                  <a:lnTo>
                    <a:pt x="907410" y="288019"/>
                  </a:lnTo>
                  <a:lnTo>
                    <a:pt x="887326" y="246394"/>
                  </a:lnTo>
                  <a:lnTo>
                    <a:pt x="862944" y="206512"/>
                  </a:lnTo>
                  <a:lnTo>
                    <a:pt x="834270" y="168709"/>
                  </a:lnTo>
                  <a:lnTo>
                    <a:pt x="801308" y="133321"/>
                  </a:lnTo>
                  <a:lnTo>
                    <a:pt x="764944" y="101436"/>
                  </a:lnTo>
                  <a:lnTo>
                    <a:pt x="726296" y="73909"/>
                  </a:lnTo>
                  <a:lnTo>
                    <a:pt x="685699" y="50736"/>
                  </a:lnTo>
                  <a:lnTo>
                    <a:pt x="643489" y="31912"/>
                  </a:lnTo>
                  <a:lnTo>
                    <a:pt x="600001" y="17431"/>
                  </a:lnTo>
                  <a:lnTo>
                    <a:pt x="555572" y="7289"/>
                  </a:lnTo>
                  <a:lnTo>
                    <a:pt x="510536" y="1480"/>
                  </a:lnTo>
                  <a:lnTo>
                    <a:pt x="465229" y="0"/>
                  </a:lnTo>
                  <a:close/>
                </a:path>
              </a:pathLst>
            </a:custGeom>
            <a:solidFill>
              <a:srgbClr val="0C1892"/>
            </a:solidFill>
          </p:spPr>
          <p:txBody>
            <a:bodyPr wrap="square" lIns="0" tIns="0" rIns="0" bIns="0" rtlCol="0"/>
            <a:lstStyle/>
            <a:p>
              <a:endParaRPr sz="1224">
                <a:latin typeface="Century Gothic" panose="020B0502020202020204" pitchFamily="34" charset="0"/>
              </a:endParaRPr>
            </a:p>
          </p:txBody>
        </p:sp>
        <p:sp>
          <p:nvSpPr>
            <p:cNvPr id="48" name="object 48"/>
            <p:cNvSpPr/>
            <p:nvPr/>
          </p:nvSpPr>
          <p:spPr>
            <a:xfrm>
              <a:off x="7398765" y="4001236"/>
              <a:ext cx="945515" cy="647700"/>
            </a:xfrm>
            <a:custGeom>
              <a:avLst/>
              <a:gdLst/>
              <a:ahLst/>
              <a:cxnLst/>
              <a:rect l="l" t="t" r="r" b="b"/>
              <a:pathLst>
                <a:path w="945515" h="647700">
                  <a:moveTo>
                    <a:pt x="911771" y="0"/>
                  </a:moveTo>
                  <a:lnTo>
                    <a:pt x="927210" y="46531"/>
                  </a:lnTo>
                  <a:lnTo>
                    <a:pt x="937621" y="93760"/>
                  </a:lnTo>
                  <a:lnTo>
                    <a:pt x="943103" y="141323"/>
                  </a:lnTo>
                  <a:lnTo>
                    <a:pt x="943756" y="188855"/>
                  </a:lnTo>
                  <a:lnTo>
                    <a:pt x="939677" y="235990"/>
                  </a:lnTo>
                  <a:lnTo>
                    <a:pt x="930967" y="282365"/>
                  </a:lnTo>
                  <a:lnTo>
                    <a:pt x="917724" y="327613"/>
                  </a:lnTo>
                  <a:lnTo>
                    <a:pt x="900046" y="371371"/>
                  </a:lnTo>
                  <a:lnTo>
                    <a:pt x="878034" y="413274"/>
                  </a:lnTo>
                  <a:lnTo>
                    <a:pt x="851786" y="452955"/>
                  </a:lnTo>
                  <a:lnTo>
                    <a:pt x="821400" y="490052"/>
                  </a:lnTo>
                  <a:lnTo>
                    <a:pt x="786977" y="524198"/>
                  </a:lnTo>
                  <a:lnTo>
                    <a:pt x="748614" y="555029"/>
                  </a:lnTo>
                  <a:lnTo>
                    <a:pt x="706412" y="582180"/>
                  </a:lnTo>
                  <a:lnTo>
                    <a:pt x="664135" y="603723"/>
                  </a:lnTo>
                  <a:lnTo>
                    <a:pt x="620939" y="620579"/>
                  </a:lnTo>
                  <a:lnTo>
                    <a:pt x="577105" y="632872"/>
                  </a:lnTo>
                  <a:lnTo>
                    <a:pt x="532917" y="640722"/>
                  </a:lnTo>
                  <a:lnTo>
                    <a:pt x="488658" y="644254"/>
                  </a:lnTo>
                  <a:lnTo>
                    <a:pt x="444613" y="643588"/>
                  </a:lnTo>
                  <a:lnTo>
                    <a:pt x="401063" y="638848"/>
                  </a:lnTo>
                  <a:lnTo>
                    <a:pt x="358294" y="630156"/>
                  </a:lnTo>
                  <a:lnTo>
                    <a:pt x="316587" y="617634"/>
                  </a:lnTo>
                  <a:lnTo>
                    <a:pt x="276226" y="601405"/>
                  </a:lnTo>
                  <a:lnTo>
                    <a:pt x="237495" y="581590"/>
                  </a:lnTo>
                  <a:lnTo>
                    <a:pt x="200677" y="558313"/>
                  </a:lnTo>
                  <a:lnTo>
                    <a:pt x="166055" y="531696"/>
                  </a:lnTo>
                  <a:lnTo>
                    <a:pt x="133913" y="501861"/>
                  </a:lnTo>
                  <a:lnTo>
                    <a:pt x="104535" y="468930"/>
                  </a:lnTo>
                  <a:lnTo>
                    <a:pt x="78202" y="433027"/>
                  </a:lnTo>
                  <a:lnTo>
                    <a:pt x="55199" y="394272"/>
                  </a:lnTo>
                  <a:lnTo>
                    <a:pt x="35810" y="352789"/>
                  </a:lnTo>
                  <a:lnTo>
                    <a:pt x="20317" y="308700"/>
                  </a:lnTo>
                  <a:lnTo>
                    <a:pt x="9004" y="262128"/>
                  </a:lnTo>
                  <a:lnTo>
                    <a:pt x="1583" y="206585"/>
                  </a:lnTo>
                  <a:lnTo>
                    <a:pt x="777" y="150531"/>
                  </a:lnTo>
                  <a:lnTo>
                    <a:pt x="6568" y="94751"/>
                  </a:lnTo>
                  <a:lnTo>
                    <a:pt x="18935" y="40030"/>
                  </a:lnTo>
                  <a:lnTo>
                    <a:pt x="6185" y="94684"/>
                  </a:lnTo>
                  <a:lnTo>
                    <a:pt x="0" y="150491"/>
                  </a:lnTo>
                  <a:lnTo>
                    <a:pt x="415" y="206665"/>
                  </a:lnTo>
                  <a:lnTo>
                    <a:pt x="7467" y="262420"/>
                  </a:lnTo>
                  <a:lnTo>
                    <a:pt x="18033" y="306933"/>
                  </a:lnTo>
                  <a:lnTo>
                    <a:pt x="32433" y="349236"/>
                  </a:lnTo>
                  <a:lnTo>
                    <a:pt x="50421" y="389216"/>
                  </a:lnTo>
                  <a:lnTo>
                    <a:pt x="71751" y="426762"/>
                  </a:lnTo>
                  <a:lnTo>
                    <a:pt x="96179" y="461762"/>
                  </a:lnTo>
                  <a:lnTo>
                    <a:pt x="123458" y="494104"/>
                  </a:lnTo>
                  <a:lnTo>
                    <a:pt x="153342" y="523678"/>
                  </a:lnTo>
                  <a:lnTo>
                    <a:pt x="185586" y="550372"/>
                  </a:lnTo>
                  <a:lnTo>
                    <a:pt x="219945" y="574073"/>
                  </a:lnTo>
                  <a:lnTo>
                    <a:pt x="256172" y="594671"/>
                  </a:lnTo>
                  <a:lnTo>
                    <a:pt x="294023" y="612054"/>
                  </a:lnTo>
                  <a:lnTo>
                    <a:pt x="333250" y="626111"/>
                  </a:lnTo>
                  <a:lnTo>
                    <a:pt x="373610" y="636729"/>
                  </a:lnTo>
                  <a:lnTo>
                    <a:pt x="414855" y="643798"/>
                  </a:lnTo>
                  <a:lnTo>
                    <a:pt x="456741" y="647205"/>
                  </a:lnTo>
                  <a:lnTo>
                    <a:pt x="499021" y="646840"/>
                  </a:lnTo>
                  <a:lnTo>
                    <a:pt x="541450" y="642590"/>
                  </a:lnTo>
                  <a:lnTo>
                    <a:pt x="583783" y="634344"/>
                  </a:lnTo>
                  <a:lnTo>
                    <a:pt x="625774" y="621991"/>
                  </a:lnTo>
                  <a:lnTo>
                    <a:pt x="667176" y="605419"/>
                  </a:lnTo>
                  <a:lnTo>
                    <a:pt x="707745" y="584517"/>
                  </a:lnTo>
                  <a:lnTo>
                    <a:pt x="749502" y="557542"/>
                  </a:lnTo>
                  <a:lnTo>
                    <a:pt x="787604" y="526878"/>
                  </a:lnTo>
                  <a:lnTo>
                    <a:pt x="821920" y="492879"/>
                  </a:lnTo>
                  <a:lnTo>
                    <a:pt x="852317" y="455899"/>
                  </a:lnTo>
                  <a:lnTo>
                    <a:pt x="878665" y="416291"/>
                  </a:lnTo>
                  <a:lnTo>
                    <a:pt x="900830" y="374411"/>
                  </a:lnTo>
                  <a:lnTo>
                    <a:pt x="918681" y="330611"/>
                  </a:lnTo>
                  <a:lnTo>
                    <a:pt x="932086" y="285245"/>
                  </a:lnTo>
                  <a:lnTo>
                    <a:pt x="940914" y="238668"/>
                  </a:lnTo>
                  <a:lnTo>
                    <a:pt x="945032" y="191234"/>
                  </a:lnTo>
                  <a:lnTo>
                    <a:pt x="944309" y="143296"/>
                  </a:lnTo>
                  <a:lnTo>
                    <a:pt x="938612" y="95208"/>
                  </a:lnTo>
                  <a:lnTo>
                    <a:pt x="927810" y="47325"/>
                  </a:lnTo>
                  <a:lnTo>
                    <a:pt x="911771" y="0"/>
                  </a:lnTo>
                  <a:close/>
                </a:path>
              </a:pathLst>
            </a:custGeom>
            <a:solidFill>
              <a:srgbClr val="A0A0A0"/>
            </a:solidFill>
          </p:spPr>
          <p:txBody>
            <a:bodyPr wrap="square" lIns="0" tIns="0" rIns="0" bIns="0" rtlCol="0"/>
            <a:lstStyle/>
            <a:p>
              <a:endParaRPr sz="1224">
                <a:latin typeface="Century Gothic" panose="020B0502020202020204" pitchFamily="34" charset="0"/>
              </a:endParaRPr>
            </a:p>
          </p:txBody>
        </p:sp>
      </p:grpSp>
      <p:sp>
        <p:nvSpPr>
          <p:cNvPr id="49" name="object 49"/>
          <p:cNvSpPr txBox="1"/>
          <p:nvPr/>
        </p:nvSpPr>
        <p:spPr>
          <a:xfrm>
            <a:off x="6033920" y="3573416"/>
            <a:ext cx="510032" cy="165687"/>
          </a:xfrm>
          <a:prstGeom prst="rect">
            <a:avLst/>
          </a:prstGeom>
        </p:spPr>
        <p:txBody>
          <a:bodyPr vert="horz" wrap="square" lIns="0" tIns="8637" rIns="0" bIns="0" rtlCol="0">
            <a:spAutoFit/>
          </a:bodyPr>
          <a:lstStyle/>
          <a:p>
            <a:pPr marL="8637">
              <a:spcBef>
                <a:spcPts val="68"/>
              </a:spcBef>
            </a:pPr>
            <a:r>
              <a:rPr sz="1020" b="1" spc="-126">
                <a:solidFill>
                  <a:srgbClr val="005E94"/>
                </a:solidFill>
                <a:latin typeface="Century Gothic" panose="020B0502020202020204" pitchFamily="34" charset="0"/>
                <a:cs typeface="Verdana"/>
              </a:rPr>
              <a:t>Startups</a:t>
            </a:r>
            <a:endParaRPr sz="1020">
              <a:latin typeface="Century Gothic" panose="020B0502020202020204" pitchFamily="34" charset="0"/>
              <a:cs typeface="Verdana"/>
            </a:endParaRPr>
          </a:p>
        </p:txBody>
      </p:sp>
      <p:sp>
        <p:nvSpPr>
          <p:cNvPr id="60" name="object 60"/>
          <p:cNvSpPr txBox="1"/>
          <p:nvPr/>
        </p:nvSpPr>
        <p:spPr>
          <a:xfrm>
            <a:off x="5867904" y="4848593"/>
            <a:ext cx="45778" cy="120790"/>
          </a:xfrm>
          <a:prstGeom prst="rect">
            <a:avLst/>
          </a:prstGeom>
        </p:spPr>
        <p:txBody>
          <a:bodyPr vert="horz" wrap="square" lIns="0" tIns="432" rIns="0" bIns="0" rtlCol="0">
            <a:spAutoFit/>
          </a:bodyPr>
          <a:lstStyle/>
          <a:p>
            <a:pPr marL="8637">
              <a:spcBef>
                <a:spcPts val="4"/>
              </a:spcBef>
            </a:pPr>
            <a:r>
              <a:rPr sz="782" b="1" spc="-34">
                <a:solidFill>
                  <a:srgbClr val="FFFFFF"/>
                </a:solidFill>
              </a:rPr>
              <a:t>|</a:t>
            </a:r>
            <a:endParaRPr sz="782"/>
          </a:p>
        </p:txBody>
      </p:sp>
      <p:sp>
        <p:nvSpPr>
          <p:cNvPr id="61" name="object 61"/>
          <p:cNvSpPr txBox="1">
            <a:spLocks noGrp="1"/>
          </p:cNvSpPr>
          <p:nvPr>
            <p:ph type="ftr" sz="quarter" idx="5"/>
          </p:nvPr>
        </p:nvSpPr>
        <p:spPr>
          <a:xfrm>
            <a:off x="6574683" y="5346920"/>
            <a:ext cx="671036" cy="132793"/>
          </a:xfrm>
          <a:prstGeom prst="rect">
            <a:avLst/>
          </a:prstGeom>
        </p:spPr>
        <p:txBody>
          <a:bodyPr vert="horz" wrap="square" lIns="0" tIns="0" rIns="0" bIns="0" rtlCol="0">
            <a:spAutoFit/>
          </a:bodyPr>
          <a:lstStyle>
            <a:defPPr>
              <a:defRPr kern="0"/>
            </a:defPPr>
            <a:lvl1pPr>
              <a:defRPr sz="863" b="1" i="0">
                <a:solidFill>
                  <a:schemeClr val="bg1"/>
                </a:solidFill>
                <a:latin typeface="Arial"/>
                <a:cs typeface="Arial"/>
              </a:defRPr>
            </a:lvl1pPr>
          </a:lstStyle>
          <a:p>
            <a:pPr marL="8637">
              <a:spcBef>
                <a:spcPts val="4"/>
              </a:spcBef>
            </a:pPr>
            <a:r>
              <a:rPr lang="en-US" spc="-8"/>
              <a:t>@CbkKenya</a:t>
            </a:r>
            <a:endParaRPr spc="-7"/>
          </a:p>
        </p:txBody>
      </p:sp>
      <p:sp>
        <p:nvSpPr>
          <p:cNvPr id="50" name="object 50"/>
          <p:cNvSpPr txBox="1"/>
          <p:nvPr/>
        </p:nvSpPr>
        <p:spPr>
          <a:xfrm>
            <a:off x="4853895" y="3777860"/>
            <a:ext cx="968671" cy="310037"/>
          </a:xfrm>
          <a:prstGeom prst="rect">
            <a:avLst/>
          </a:prstGeom>
        </p:spPr>
        <p:txBody>
          <a:bodyPr vert="horz" wrap="square" lIns="0" tIns="27639" rIns="0" bIns="0" rtlCol="0">
            <a:spAutoFit/>
          </a:bodyPr>
          <a:lstStyle/>
          <a:p>
            <a:pPr marL="8637" marR="3455" indent="202112">
              <a:lnSpc>
                <a:spcPts val="1088"/>
              </a:lnSpc>
              <a:spcBef>
                <a:spcPts val="217"/>
              </a:spcBef>
            </a:pPr>
            <a:r>
              <a:rPr sz="1020" b="1" spc="-68">
                <a:solidFill>
                  <a:srgbClr val="231F20"/>
                </a:solidFill>
                <a:latin typeface="Century Gothic" panose="020B0502020202020204" pitchFamily="34" charset="0"/>
                <a:cs typeface="Verdana"/>
              </a:rPr>
              <a:t>Investors </a:t>
            </a:r>
            <a:r>
              <a:rPr sz="1020" b="1" spc="-65">
                <a:solidFill>
                  <a:srgbClr val="231F20"/>
                </a:solidFill>
                <a:latin typeface="Century Gothic" panose="020B0502020202020204" pitchFamily="34" charset="0"/>
                <a:cs typeface="Verdana"/>
              </a:rPr>
              <a:t>and</a:t>
            </a:r>
            <a:r>
              <a:rPr sz="1020" b="1" spc="-47">
                <a:solidFill>
                  <a:srgbClr val="231F20"/>
                </a:solidFill>
                <a:latin typeface="Century Gothic" panose="020B0502020202020204" pitchFamily="34" charset="0"/>
                <a:cs typeface="Verdana"/>
              </a:rPr>
              <a:t> </a:t>
            </a:r>
            <a:r>
              <a:rPr sz="1020" b="1" spc="-109">
                <a:solidFill>
                  <a:srgbClr val="231F20"/>
                </a:solidFill>
                <a:latin typeface="Century Gothic" panose="020B0502020202020204" pitchFamily="34" charset="0"/>
                <a:cs typeface="Verdana"/>
              </a:rPr>
              <a:t>Incubators</a:t>
            </a:r>
            <a:endParaRPr sz="1020">
              <a:latin typeface="Century Gothic" panose="020B0502020202020204" pitchFamily="34" charset="0"/>
              <a:cs typeface="Verdana"/>
            </a:endParaRPr>
          </a:p>
        </p:txBody>
      </p:sp>
      <p:sp>
        <p:nvSpPr>
          <p:cNvPr id="51" name="object 51"/>
          <p:cNvSpPr txBox="1"/>
          <p:nvPr/>
        </p:nvSpPr>
        <p:spPr>
          <a:xfrm>
            <a:off x="6752326" y="3836291"/>
            <a:ext cx="958307" cy="310037"/>
          </a:xfrm>
          <a:prstGeom prst="rect">
            <a:avLst/>
          </a:prstGeom>
        </p:spPr>
        <p:txBody>
          <a:bodyPr vert="horz" wrap="square" lIns="0" tIns="27639" rIns="0" bIns="0" rtlCol="0">
            <a:spAutoFit/>
          </a:bodyPr>
          <a:lstStyle/>
          <a:p>
            <a:pPr marL="8637" marR="3455" indent="120490">
              <a:lnSpc>
                <a:spcPts val="1088"/>
              </a:lnSpc>
              <a:spcBef>
                <a:spcPts val="217"/>
              </a:spcBef>
            </a:pPr>
            <a:r>
              <a:rPr sz="1020" b="1" spc="-27">
                <a:solidFill>
                  <a:srgbClr val="231F20"/>
                </a:solidFill>
                <a:latin typeface="Century Gothic" panose="020B0502020202020204" pitchFamily="34" charset="0"/>
                <a:cs typeface="Verdana"/>
              </a:rPr>
              <a:t>Consumers </a:t>
            </a:r>
            <a:r>
              <a:rPr sz="1020" b="1" spc="-65">
                <a:solidFill>
                  <a:srgbClr val="231F20"/>
                </a:solidFill>
                <a:latin typeface="Century Gothic" panose="020B0502020202020204" pitchFamily="34" charset="0"/>
                <a:cs typeface="Verdana"/>
              </a:rPr>
              <a:t>and</a:t>
            </a:r>
            <a:r>
              <a:rPr sz="1020" b="1" spc="-47">
                <a:solidFill>
                  <a:srgbClr val="231F20"/>
                </a:solidFill>
                <a:latin typeface="Century Gothic" panose="020B0502020202020204" pitchFamily="34" charset="0"/>
                <a:cs typeface="Verdana"/>
              </a:rPr>
              <a:t> </a:t>
            </a:r>
            <a:r>
              <a:rPr sz="1020" b="1" spc="-102">
                <a:solidFill>
                  <a:srgbClr val="231F20"/>
                </a:solidFill>
                <a:latin typeface="Century Gothic" panose="020B0502020202020204" pitchFamily="34" charset="0"/>
                <a:cs typeface="Verdana"/>
              </a:rPr>
              <a:t>Tech</a:t>
            </a:r>
            <a:r>
              <a:rPr sz="1020" b="1" spc="-47">
                <a:solidFill>
                  <a:srgbClr val="231F20"/>
                </a:solidFill>
                <a:latin typeface="Century Gothic" panose="020B0502020202020204" pitchFamily="34" charset="0"/>
                <a:cs typeface="Verdana"/>
              </a:rPr>
              <a:t> </a:t>
            </a:r>
            <a:r>
              <a:rPr sz="1020" b="1" spc="-136">
                <a:solidFill>
                  <a:srgbClr val="231F20"/>
                </a:solidFill>
                <a:latin typeface="Century Gothic" panose="020B0502020202020204" pitchFamily="34" charset="0"/>
                <a:cs typeface="Verdana"/>
              </a:rPr>
              <a:t>Users</a:t>
            </a:r>
            <a:endParaRPr sz="1020">
              <a:latin typeface="Century Gothic" panose="020B0502020202020204" pitchFamily="34" charset="0"/>
              <a:cs typeface="Verdana"/>
            </a:endParaRPr>
          </a:p>
        </p:txBody>
      </p:sp>
      <p:sp>
        <p:nvSpPr>
          <p:cNvPr id="52" name="object 52"/>
          <p:cNvSpPr txBox="1"/>
          <p:nvPr/>
        </p:nvSpPr>
        <p:spPr>
          <a:xfrm>
            <a:off x="4900018" y="1543871"/>
            <a:ext cx="805427" cy="451102"/>
          </a:xfrm>
          <a:prstGeom prst="rect">
            <a:avLst/>
          </a:prstGeom>
        </p:spPr>
        <p:txBody>
          <a:bodyPr vert="horz" wrap="square" lIns="0" tIns="27639" rIns="0" bIns="0" rtlCol="0">
            <a:spAutoFit/>
          </a:bodyPr>
          <a:lstStyle/>
          <a:p>
            <a:pPr marL="8637" marR="3455" indent="-432" algn="ctr">
              <a:lnSpc>
                <a:spcPts val="1088"/>
              </a:lnSpc>
              <a:spcBef>
                <a:spcPts val="217"/>
              </a:spcBef>
            </a:pPr>
            <a:r>
              <a:rPr sz="1020" b="1" spc="-44">
                <a:solidFill>
                  <a:srgbClr val="231F20"/>
                </a:solidFill>
                <a:latin typeface="Century Gothic" panose="020B0502020202020204" pitchFamily="34" charset="0"/>
                <a:cs typeface="Verdana"/>
              </a:rPr>
              <a:t>Regulators </a:t>
            </a:r>
            <a:r>
              <a:rPr sz="1020" b="1" spc="-17">
                <a:solidFill>
                  <a:srgbClr val="231F20"/>
                </a:solidFill>
                <a:latin typeface="Century Gothic" panose="020B0502020202020204" pitchFamily="34" charset="0"/>
                <a:cs typeface="Verdana"/>
              </a:rPr>
              <a:t>and </a:t>
            </a:r>
            <a:r>
              <a:rPr sz="1020" b="1" spc="-92">
                <a:solidFill>
                  <a:srgbClr val="231F20"/>
                </a:solidFill>
                <a:latin typeface="Century Gothic" panose="020B0502020202020204" pitchFamily="34" charset="0"/>
                <a:cs typeface="Verdana"/>
              </a:rPr>
              <a:t>Government</a:t>
            </a:r>
            <a:endParaRPr sz="1020">
              <a:latin typeface="Century Gothic" panose="020B0502020202020204" pitchFamily="34" charset="0"/>
              <a:cs typeface="Verdana"/>
            </a:endParaRPr>
          </a:p>
        </p:txBody>
      </p:sp>
      <p:sp>
        <p:nvSpPr>
          <p:cNvPr id="53" name="object 53"/>
          <p:cNvSpPr txBox="1"/>
          <p:nvPr/>
        </p:nvSpPr>
        <p:spPr>
          <a:xfrm>
            <a:off x="6854785" y="1575578"/>
            <a:ext cx="846885" cy="310037"/>
          </a:xfrm>
          <a:prstGeom prst="rect">
            <a:avLst/>
          </a:prstGeom>
        </p:spPr>
        <p:txBody>
          <a:bodyPr vert="horz" wrap="square" lIns="0" tIns="27639" rIns="0" bIns="0" rtlCol="0">
            <a:spAutoFit/>
          </a:bodyPr>
          <a:lstStyle/>
          <a:p>
            <a:pPr marL="8637" marR="3455" indent="117899">
              <a:lnSpc>
                <a:spcPts val="1088"/>
              </a:lnSpc>
              <a:spcBef>
                <a:spcPts val="217"/>
              </a:spcBef>
            </a:pPr>
            <a:r>
              <a:rPr sz="1020" b="1" spc="-27">
                <a:solidFill>
                  <a:srgbClr val="231F20"/>
                </a:solidFill>
                <a:latin typeface="Century Gothic" panose="020B0502020202020204" pitchFamily="34" charset="0"/>
                <a:cs typeface="Verdana"/>
              </a:rPr>
              <a:t>Emerging </a:t>
            </a:r>
            <a:r>
              <a:rPr sz="1020" b="1" spc="-89">
                <a:solidFill>
                  <a:srgbClr val="231F20"/>
                </a:solidFill>
                <a:latin typeface="Century Gothic" panose="020B0502020202020204" pitchFamily="34" charset="0"/>
                <a:cs typeface="Verdana"/>
              </a:rPr>
              <a:t>Technologies</a:t>
            </a:r>
            <a:endParaRPr sz="1020">
              <a:latin typeface="Century Gothic" panose="020B0502020202020204" pitchFamily="34" charset="0"/>
              <a:cs typeface="Verdana"/>
            </a:endParaRPr>
          </a:p>
        </p:txBody>
      </p:sp>
      <p:sp>
        <p:nvSpPr>
          <p:cNvPr id="54" name="object 54"/>
          <p:cNvSpPr txBox="1"/>
          <p:nvPr/>
        </p:nvSpPr>
        <p:spPr>
          <a:xfrm>
            <a:off x="5081401" y="2675828"/>
            <a:ext cx="867615" cy="451102"/>
          </a:xfrm>
          <a:prstGeom prst="rect">
            <a:avLst/>
          </a:prstGeom>
        </p:spPr>
        <p:txBody>
          <a:bodyPr vert="horz" wrap="square" lIns="0" tIns="27639" rIns="0" bIns="0" rtlCol="0">
            <a:spAutoFit/>
          </a:bodyPr>
          <a:lstStyle/>
          <a:p>
            <a:pPr marL="8206" marR="3455" indent="-432" algn="ctr">
              <a:lnSpc>
                <a:spcPts val="1088"/>
              </a:lnSpc>
              <a:spcBef>
                <a:spcPts val="217"/>
              </a:spcBef>
            </a:pPr>
            <a:r>
              <a:rPr sz="1020" b="1" spc="-109">
                <a:solidFill>
                  <a:srgbClr val="005E94"/>
                </a:solidFill>
                <a:latin typeface="Century Gothic" panose="020B0502020202020204" pitchFamily="34" charset="0"/>
                <a:cs typeface="Verdana"/>
              </a:rPr>
              <a:t>Banks,</a:t>
            </a:r>
            <a:r>
              <a:rPr sz="1020" b="1" spc="-65">
                <a:solidFill>
                  <a:srgbClr val="005E94"/>
                </a:solidFill>
                <a:latin typeface="Century Gothic" panose="020B0502020202020204" pitchFamily="34" charset="0"/>
                <a:cs typeface="Verdana"/>
              </a:rPr>
              <a:t> </a:t>
            </a:r>
            <a:r>
              <a:rPr sz="1020" b="1" spc="-191">
                <a:solidFill>
                  <a:srgbClr val="005E94"/>
                </a:solidFill>
                <a:latin typeface="Century Gothic" panose="020B0502020202020204" pitchFamily="34" charset="0"/>
                <a:cs typeface="Verdana"/>
              </a:rPr>
              <a:t>PSPs </a:t>
            </a:r>
            <a:r>
              <a:rPr sz="1020" b="1" spc="-65">
                <a:solidFill>
                  <a:srgbClr val="005E94"/>
                </a:solidFill>
                <a:latin typeface="Century Gothic" panose="020B0502020202020204" pitchFamily="34" charset="0"/>
                <a:cs typeface="Verdana"/>
              </a:rPr>
              <a:t>and</a:t>
            </a:r>
            <a:r>
              <a:rPr sz="1020" b="1" spc="-47">
                <a:solidFill>
                  <a:srgbClr val="005E94"/>
                </a:solidFill>
                <a:latin typeface="Century Gothic" panose="020B0502020202020204" pitchFamily="34" charset="0"/>
                <a:cs typeface="Verdana"/>
              </a:rPr>
              <a:t> </a:t>
            </a:r>
            <a:r>
              <a:rPr sz="1020" b="1" spc="-77">
                <a:solidFill>
                  <a:srgbClr val="005E94"/>
                </a:solidFill>
                <a:latin typeface="Century Gothic" panose="020B0502020202020204" pitchFamily="34" charset="0"/>
                <a:cs typeface="Verdana"/>
              </a:rPr>
              <a:t>Financial </a:t>
            </a:r>
            <a:r>
              <a:rPr sz="1020" b="1" spc="-89">
                <a:solidFill>
                  <a:srgbClr val="005E94"/>
                </a:solidFill>
                <a:latin typeface="Century Gothic" panose="020B0502020202020204" pitchFamily="34" charset="0"/>
                <a:cs typeface="Verdana"/>
              </a:rPr>
              <a:t>Institutions</a:t>
            </a:r>
            <a:endParaRPr sz="1020">
              <a:latin typeface="Century Gothic" panose="020B0502020202020204" pitchFamily="34" charset="0"/>
              <a:cs typeface="Verdana"/>
            </a:endParaRPr>
          </a:p>
        </p:txBody>
      </p:sp>
      <p:sp>
        <p:nvSpPr>
          <p:cNvPr id="55" name="object 55"/>
          <p:cNvSpPr txBox="1"/>
          <p:nvPr/>
        </p:nvSpPr>
        <p:spPr>
          <a:xfrm>
            <a:off x="5968881" y="1881761"/>
            <a:ext cx="585176" cy="328874"/>
          </a:xfrm>
          <a:prstGeom prst="rect">
            <a:avLst/>
          </a:prstGeom>
        </p:spPr>
        <p:txBody>
          <a:bodyPr vert="horz" wrap="square" lIns="0" tIns="8637" rIns="0" bIns="0" rtlCol="0">
            <a:spAutoFit/>
          </a:bodyPr>
          <a:lstStyle/>
          <a:p>
            <a:pPr marL="8637" marR="3455" indent="145106">
              <a:lnSpc>
                <a:spcPct val="105600"/>
              </a:lnSpc>
              <a:spcBef>
                <a:spcPts val="68"/>
              </a:spcBef>
            </a:pPr>
            <a:r>
              <a:rPr sz="1020" b="1" spc="-24" dirty="0">
                <a:solidFill>
                  <a:srgbClr val="005E94"/>
                </a:solidFill>
                <a:latin typeface="Century Gothic" panose="020B0502020202020204" pitchFamily="34" charset="0"/>
                <a:cs typeface="Verdana"/>
              </a:rPr>
              <a:t>Infra </a:t>
            </a:r>
            <a:r>
              <a:rPr sz="1020" b="1" spc="-119" dirty="0">
                <a:solidFill>
                  <a:srgbClr val="005E94"/>
                </a:solidFill>
                <a:latin typeface="Century Gothic" panose="020B0502020202020204" pitchFamily="34" charset="0"/>
                <a:cs typeface="Verdana"/>
              </a:rPr>
              <a:t>Providers</a:t>
            </a:r>
            <a:endParaRPr sz="1020" dirty="0">
              <a:latin typeface="Century Gothic" panose="020B0502020202020204" pitchFamily="34" charset="0"/>
              <a:cs typeface="Verdana"/>
            </a:endParaRPr>
          </a:p>
        </p:txBody>
      </p:sp>
      <p:sp>
        <p:nvSpPr>
          <p:cNvPr id="56" name="object 56"/>
          <p:cNvSpPr txBox="1"/>
          <p:nvPr/>
        </p:nvSpPr>
        <p:spPr>
          <a:xfrm>
            <a:off x="6809850" y="2732447"/>
            <a:ext cx="585176" cy="310037"/>
          </a:xfrm>
          <a:prstGeom prst="rect">
            <a:avLst/>
          </a:prstGeom>
        </p:spPr>
        <p:txBody>
          <a:bodyPr vert="horz" wrap="square" lIns="0" tIns="27639" rIns="0" bIns="0" rtlCol="0">
            <a:spAutoFit/>
          </a:bodyPr>
          <a:lstStyle/>
          <a:p>
            <a:pPr marL="8637" marR="3455" indent="134741">
              <a:lnSpc>
                <a:spcPts val="1088"/>
              </a:lnSpc>
              <a:spcBef>
                <a:spcPts val="217"/>
              </a:spcBef>
            </a:pPr>
            <a:r>
              <a:rPr sz="1020" b="1" spc="-14">
                <a:solidFill>
                  <a:srgbClr val="005E94"/>
                </a:solidFill>
                <a:latin typeface="Century Gothic" panose="020B0502020202020204" pitchFamily="34" charset="0"/>
                <a:cs typeface="Verdana"/>
              </a:rPr>
              <a:t>Tech </a:t>
            </a:r>
            <a:r>
              <a:rPr sz="1020" b="1" spc="-119">
                <a:solidFill>
                  <a:srgbClr val="005E94"/>
                </a:solidFill>
                <a:latin typeface="Century Gothic" panose="020B0502020202020204" pitchFamily="34" charset="0"/>
                <a:cs typeface="Verdana"/>
              </a:rPr>
              <a:t>Providers</a:t>
            </a:r>
            <a:endParaRPr sz="1020">
              <a:latin typeface="Century Gothic" panose="020B0502020202020204" pitchFamily="34" charset="0"/>
              <a:cs typeface="Verdana"/>
            </a:endParaRPr>
          </a:p>
        </p:txBody>
      </p:sp>
      <p:sp>
        <p:nvSpPr>
          <p:cNvPr id="57" name="object 57"/>
          <p:cNvSpPr txBox="1"/>
          <p:nvPr/>
        </p:nvSpPr>
        <p:spPr>
          <a:xfrm>
            <a:off x="6039563" y="2624773"/>
            <a:ext cx="658169" cy="343557"/>
          </a:xfrm>
          <a:prstGeom prst="rect">
            <a:avLst/>
          </a:prstGeom>
        </p:spPr>
        <p:txBody>
          <a:bodyPr vert="horz" wrap="square" lIns="0" tIns="8637" rIns="0" bIns="0" rtlCol="0">
            <a:spAutoFit/>
          </a:bodyPr>
          <a:lstStyle/>
          <a:p>
            <a:pPr marL="8637">
              <a:spcBef>
                <a:spcPts val="68"/>
              </a:spcBef>
            </a:pPr>
            <a:r>
              <a:rPr lang="en-US" sz="1050" b="1" spc="-113" dirty="0">
                <a:solidFill>
                  <a:schemeClr val="bg1"/>
                </a:solidFill>
                <a:latin typeface="Century Gothic" panose="020B0502020202020204" pitchFamily="34" charset="0"/>
                <a:cs typeface="Verdana"/>
              </a:rPr>
              <a:t>Payment Ecosystem</a:t>
            </a:r>
            <a:endParaRPr sz="1050" dirty="0">
              <a:solidFill>
                <a:schemeClr val="bg1"/>
              </a:solidFill>
              <a:latin typeface="Century Gothic" panose="020B0502020202020204" pitchFamily="34" charset="0"/>
              <a:cs typeface="Verdana"/>
            </a:endParaRPr>
          </a:p>
        </p:txBody>
      </p:sp>
      <p:cxnSp>
        <p:nvCxnSpPr>
          <p:cNvPr id="62" name="Straight Connector 61">
            <a:extLst>
              <a:ext uri="{FF2B5EF4-FFF2-40B4-BE49-F238E27FC236}">
                <a16:creationId xmlns:a16="http://schemas.microsoft.com/office/drawing/2014/main" id="{218A09F1-A54A-E2C8-CE2D-B1F455B51EAF}"/>
              </a:ext>
            </a:extLst>
          </p:cNvPr>
          <p:cNvCxnSpPr>
            <a:cxnSpLocks/>
          </p:cNvCxnSpPr>
          <p:nvPr/>
        </p:nvCxnSpPr>
        <p:spPr>
          <a:xfrm>
            <a:off x="0" y="449833"/>
            <a:ext cx="9144000" cy="0"/>
          </a:xfrm>
          <a:prstGeom prst="line">
            <a:avLst/>
          </a:prstGeom>
          <a:noFill/>
          <a:ln w="19050" cap="flat" cmpd="sng" algn="ctr">
            <a:solidFill>
              <a:srgbClr val="F19D19"/>
            </a:solidFill>
            <a:prstDash val="solid"/>
            <a:miter lim="800000"/>
          </a:ln>
          <a:effectLst/>
        </p:spPr>
      </p:cxnSp>
      <p:pic>
        <p:nvPicPr>
          <p:cNvPr id="63" name="Picture 62">
            <a:extLst>
              <a:ext uri="{FF2B5EF4-FFF2-40B4-BE49-F238E27FC236}">
                <a16:creationId xmlns:a16="http://schemas.microsoft.com/office/drawing/2014/main" id="{EEB1B201-09EF-4957-084C-1DA5D56F850E}"/>
              </a:ext>
            </a:extLst>
          </p:cNvPr>
          <p:cNvPicPr>
            <a:picLocks noChangeAspect="1"/>
          </p:cNvPicPr>
          <p:nvPr/>
        </p:nvPicPr>
        <p:blipFill>
          <a:blip r:embed="rId15"/>
          <a:stretch>
            <a:fillRect/>
          </a:stretch>
        </p:blipFill>
        <p:spPr>
          <a:xfrm>
            <a:off x="8645937" y="49555"/>
            <a:ext cx="463336" cy="371888"/>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E8578-75FF-CF16-6729-9A0BB102867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3992C4-A753-C530-3016-4D7AD0210140}"/>
              </a:ext>
            </a:extLst>
          </p:cNvPr>
          <p:cNvSpPr>
            <a:spLocks noGrp="1"/>
          </p:cNvSpPr>
          <p:nvPr>
            <p:ph type="sldNum" sz="quarter" idx="12"/>
          </p:nvPr>
        </p:nvSpPr>
        <p:spPr>
          <a:xfrm>
            <a:off x="6665237" y="4223128"/>
            <a:ext cx="1759297" cy="234165"/>
          </a:xfrm>
          <a:prstGeom prst="rect">
            <a:avLst/>
          </a:prstGeom>
        </p:spPr>
        <p:txBody>
          <a:bodyPr vert="horz" lIns="58643" tIns="29322" rIns="58643" bIns="29322" rtlCol="0" anchor="ctr"/>
          <a:lstStyle>
            <a:defPPr>
              <a:defRPr lang="en-US"/>
            </a:defPPr>
            <a:lvl1pPr marL="0" algn="r" defTabSz="586436" rtl="0" eaLnBrk="1" latinLnBrk="0" hangingPunct="1">
              <a:defRPr sz="770" b="1" kern="1200">
                <a:solidFill>
                  <a:srgbClr val="002060"/>
                </a:solidFill>
                <a:latin typeface="Times New Roman" panose="02020603050405020304" pitchFamily="18" charset="0"/>
                <a:ea typeface="+mn-ea"/>
                <a:cs typeface="Times New Roman" panose="02020603050405020304" pitchFamily="18" charset="0"/>
              </a:defRPr>
            </a:lvl1pPr>
            <a:lvl2pPr marL="293218" algn="l" defTabSz="586436" rtl="0" eaLnBrk="1" latinLnBrk="0" hangingPunct="1">
              <a:defRPr sz="1154" kern="1200">
                <a:solidFill>
                  <a:schemeClr val="tx1"/>
                </a:solidFill>
                <a:latin typeface="+mn-lt"/>
                <a:ea typeface="+mn-ea"/>
                <a:cs typeface="+mn-cs"/>
              </a:defRPr>
            </a:lvl2pPr>
            <a:lvl3pPr marL="586436" algn="l" defTabSz="586436" rtl="0" eaLnBrk="1" latinLnBrk="0" hangingPunct="1">
              <a:defRPr sz="1154" kern="1200">
                <a:solidFill>
                  <a:schemeClr val="tx1"/>
                </a:solidFill>
                <a:latin typeface="+mn-lt"/>
                <a:ea typeface="+mn-ea"/>
                <a:cs typeface="+mn-cs"/>
              </a:defRPr>
            </a:lvl3pPr>
            <a:lvl4pPr marL="879654" algn="l" defTabSz="586436" rtl="0" eaLnBrk="1" latinLnBrk="0" hangingPunct="1">
              <a:defRPr sz="1154" kern="1200">
                <a:solidFill>
                  <a:schemeClr val="tx1"/>
                </a:solidFill>
                <a:latin typeface="+mn-lt"/>
                <a:ea typeface="+mn-ea"/>
                <a:cs typeface="+mn-cs"/>
              </a:defRPr>
            </a:lvl4pPr>
            <a:lvl5pPr marL="1172872" algn="l" defTabSz="586436" rtl="0" eaLnBrk="1" latinLnBrk="0" hangingPunct="1">
              <a:defRPr sz="1154" kern="1200">
                <a:solidFill>
                  <a:schemeClr val="tx1"/>
                </a:solidFill>
                <a:latin typeface="+mn-lt"/>
                <a:ea typeface="+mn-ea"/>
                <a:cs typeface="+mn-cs"/>
              </a:defRPr>
            </a:lvl5pPr>
            <a:lvl6pPr marL="1466090" algn="l" defTabSz="586436" rtl="0" eaLnBrk="1" latinLnBrk="0" hangingPunct="1">
              <a:defRPr sz="1154" kern="1200">
                <a:solidFill>
                  <a:schemeClr val="tx1"/>
                </a:solidFill>
                <a:latin typeface="+mn-lt"/>
                <a:ea typeface="+mn-ea"/>
                <a:cs typeface="+mn-cs"/>
              </a:defRPr>
            </a:lvl6pPr>
            <a:lvl7pPr marL="1759309" algn="l" defTabSz="586436" rtl="0" eaLnBrk="1" latinLnBrk="0" hangingPunct="1">
              <a:defRPr sz="1154" kern="1200">
                <a:solidFill>
                  <a:schemeClr val="tx1"/>
                </a:solidFill>
                <a:latin typeface="+mn-lt"/>
                <a:ea typeface="+mn-ea"/>
                <a:cs typeface="+mn-cs"/>
              </a:defRPr>
            </a:lvl7pPr>
            <a:lvl8pPr marL="2052526" algn="l" defTabSz="586436" rtl="0" eaLnBrk="1" latinLnBrk="0" hangingPunct="1">
              <a:defRPr sz="1154" kern="1200">
                <a:solidFill>
                  <a:schemeClr val="tx1"/>
                </a:solidFill>
                <a:latin typeface="+mn-lt"/>
                <a:ea typeface="+mn-ea"/>
                <a:cs typeface="+mn-cs"/>
              </a:defRPr>
            </a:lvl8pPr>
            <a:lvl9pPr marL="2345744" algn="l" defTabSz="586436" rtl="0" eaLnBrk="1" latinLnBrk="0" hangingPunct="1">
              <a:defRPr sz="1154" kern="1200">
                <a:solidFill>
                  <a:schemeClr val="tx1"/>
                </a:solidFill>
                <a:latin typeface="+mn-lt"/>
                <a:ea typeface="+mn-ea"/>
                <a:cs typeface="+mn-cs"/>
              </a:defRPr>
            </a:lvl9pPr>
          </a:lstStyle>
          <a:p>
            <a:pPr>
              <a:buClrTx/>
            </a:pPr>
            <a:fld id="{C76F338D-BC86-4233-92CA-2A3281189AB6}" type="slidenum">
              <a:rPr lang="en-US"/>
              <a:pPr>
                <a:buClrTx/>
              </a:pPr>
              <a:t>40</a:t>
            </a:fld>
            <a:endParaRPr lang="en-US" dirty="0"/>
          </a:p>
        </p:txBody>
      </p:sp>
      <p:sp>
        <p:nvSpPr>
          <p:cNvPr id="6" name="TextBox 5">
            <a:extLst>
              <a:ext uri="{FF2B5EF4-FFF2-40B4-BE49-F238E27FC236}">
                <a16:creationId xmlns:a16="http://schemas.microsoft.com/office/drawing/2014/main" id="{A26A25BD-7983-93D6-2938-B4814E8C0861}"/>
              </a:ext>
            </a:extLst>
          </p:cNvPr>
          <p:cNvSpPr txBox="1"/>
          <p:nvPr/>
        </p:nvSpPr>
        <p:spPr>
          <a:xfrm>
            <a:off x="5048847" y="1396856"/>
            <a:ext cx="2569157" cy="404085"/>
          </a:xfrm>
          <a:prstGeom prst="rect">
            <a:avLst/>
          </a:prstGeom>
          <a:noFill/>
        </p:spPr>
        <p:txBody>
          <a:bodyPr wrap="square" rtlCol="0">
            <a:spAutoFit/>
          </a:bodyPr>
          <a:lstStyle/>
          <a:p>
            <a:pPr marL="160738" indent="-160738" defTabSz="621883">
              <a:buClrTx/>
              <a:buFont typeface="Arial" panose="020B0604020202020204" pitchFamily="34" charset="0"/>
              <a:buChar char="•"/>
            </a:pPr>
            <a:endParaRPr lang="en-US" sz="1013" kern="1200" dirty="0">
              <a:solidFill>
                <a:prstClr val="black"/>
              </a:solidFill>
              <a:latin typeface="Times New Roman" panose="02020603050405020304" pitchFamily="18" charset="0"/>
              <a:ea typeface="+mn-ea"/>
              <a:cs typeface="Times New Roman" panose="02020603050405020304" pitchFamily="18" charset="0"/>
            </a:endParaRPr>
          </a:p>
          <a:p>
            <a:pPr defTabSz="621883">
              <a:buClrTx/>
            </a:pPr>
            <a:endParaRPr lang="en-US" sz="1013" kern="1200" dirty="0">
              <a:solidFill>
                <a:prstClr val="black"/>
              </a:solidFill>
              <a:latin typeface="Times New Roman" panose="02020603050405020304" pitchFamily="18" charset="0"/>
              <a:ea typeface="+mn-ea"/>
              <a:cs typeface="Times New Roman" panose="02020603050405020304" pitchFamily="18" charset="0"/>
            </a:endParaRPr>
          </a:p>
        </p:txBody>
      </p:sp>
      <p:sp>
        <p:nvSpPr>
          <p:cNvPr id="8" name="Title 7">
            <a:extLst>
              <a:ext uri="{FF2B5EF4-FFF2-40B4-BE49-F238E27FC236}">
                <a16:creationId xmlns:a16="http://schemas.microsoft.com/office/drawing/2014/main" id="{7FD0564D-173B-44BE-4139-4FD3513CACDE}"/>
              </a:ext>
            </a:extLst>
          </p:cNvPr>
          <p:cNvSpPr>
            <a:spLocks noGrp="1"/>
          </p:cNvSpPr>
          <p:nvPr>
            <p:ph type="title"/>
          </p:nvPr>
        </p:nvSpPr>
        <p:spPr>
          <a:xfrm>
            <a:off x="2352741" y="327600"/>
            <a:ext cx="5434537" cy="276229"/>
          </a:xfrm>
        </p:spPr>
        <p:txBody>
          <a:bodyPr/>
          <a:lstStyle/>
          <a:p>
            <a:pPr algn="ctr"/>
            <a:r>
              <a:rPr lang="en-US" sz="1795" dirty="0">
                <a:latin typeface="Abadi" panose="020B0604020104020204" pitchFamily="34" charset="0"/>
              </a:rPr>
              <a:t>Analysis of Social Engineering Frauds 2025</a:t>
            </a:r>
          </a:p>
        </p:txBody>
      </p:sp>
      <p:sp>
        <p:nvSpPr>
          <p:cNvPr id="7" name="TextBox 6">
            <a:extLst>
              <a:ext uri="{FF2B5EF4-FFF2-40B4-BE49-F238E27FC236}">
                <a16:creationId xmlns:a16="http://schemas.microsoft.com/office/drawing/2014/main" id="{728D2708-110D-5467-4ECF-2BEF6BF9E08F}"/>
              </a:ext>
            </a:extLst>
          </p:cNvPr>
          <p:cNvSpPr txBox="1"/>
          <p:nvPr/>
        </p:nvSpPr>
        <p:spPr>
          <a:xfrm>
            <a:off x="6004524" y="892781"/>
            <a:ext cx="1735840" cy="277614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defTabSz="621883">
              <a:buClrTx/>
            </a:pPr>
            <a:r>
              <a:rPr lang="en-US" sz="1090" kern="1200" dirty="0">
                <a:solidFill>
                  <a:prstClr val="white"/>
                </a:solidFill>
                <a:latin typeface="Abadi" panose="020B0604020104020204" pitchFamily="34" charset="0"/>
              </a:rPr>
              <a:t>The graph shows social engineering frauds where fraudsters manipulate individual often through calls, SMS, or messaging apps into voluntarily sharing confidential information such as mobile money PINs, ID numbers, bank details to making unauthorized transactions. </a:t>
            </a:r>
          </a:p>
          <a:p>
            <a:pPr defTabSz="621883">
              <a:buClrTx/>
            </a:pPr>
            <a:r>
              <a:rPr lang="en-US" sz="1090" kern="1200" dirty="0">
                <a:solidFill>
                  <a:prstClr val="white"/>
                </a:solidFill>
                <a:latin typeface="Abadi" panose="020B0604020104020204" pitchFamily="34" charset="0"/>
              </a:rPr>
              <a:t>These frauds exploit trust, urgency, or fear, rather than hacking systems, to trick victims.</a:t>
            </a:r>
          </a:p>
        </p:txBody>
      </p:sp>
      <p:sp>
        <p:nvSpPr>
          <p:cNvPr id="9" name="TextBox 8">
            <a:extLst>
              <a:ext uri="{FF2B5EF4-FFF2-40B4-BE49-F238E27FC236}">
                <a16:creationId xmlns:a16="http://schemas.microsoft.com/office/drawing/2014/main" id="{5CD20E2C-6363-6DBE-5063-09AE09935536}"/>
              </a:ext>
            </a:extLst>
          </p:cNvPr>
          <p:cNvSpPr txBox="1"/>
          <p:nvPr/>
        </p:nvSpPr>
        <p:spPr>
          <a:xfrm>
            <a:off x="5990953" y="3572827"/>
            <a:ext cx="1735840" cy="98039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defTabSz="621883">
              <a:buClrTx/>
            </a:pPr>
            <a:r>
              <a:rPr lang="en-US" sz="1154" kern="1200" dirty="0">
                <a:solidFill>
                  <a:prstClr val="white"/>
                </a:solidFill>
                <a:latin typeface="Abadi" panose="020B0604020104020204" pitchFamily="34" charset="0"/>
              </a:rPr>
              <a:t>Over the last eight months in 2025  reported </a:t>
            </a:r>
            <a:r>
              <a:rPr lang="en-US" sz="1154" b="1" kern="1200" dirty="0">
                <a:solidFill>
                  <a:prstClr val="white"/>
                </a:solidFill>
                <a:latin typeface="Abadi" panose="020B0604020104020204" pitchFamily="34" charset="0"/>
              </a:rPr>
              <a:t>199,484 </a:t>
            </a:r>
            <a:r>
              <a:rPr lang="en-US" sz="1154" kern="1200" dirty="0">
                <a:solidFill>
                  <a:prstClr val="white"/>
                </a:solidFill>
                <a:latin typeface="Abadi" panose="020B0604020104020204" pitchFamily="34" charset="0"/>
              </a:rPr>
              <a:t>fraud incidents valued </a:t>
            </a:r>
            <a:r>
              <a:rPr lang="en-US" sz="1154" b="1" kern="1200" dirty="0">
                <a:solidFill>
                  <a:prstClr val="white"/>
                </a:solidFill>
                <a:latin typeface="Abadi" panose="020B0604020104020204" pitchFamily="34" charset="0"/>
              </a:rPr>
              <a:t>819.8 Million </a:t>
            </a:r>
          </a:p>
        </p:txBody>
      </p:sp>
      <p:graphicFrame>
        <p:nvGraphicFramePr>
          <p:cNvPr id="4" name="Chart 3">
            <a:extLst>
              <a:ext uri="{FF2B5EF4-FFF2-40B4-BE49-F238E27FC236}">
                <a16:creationId xmlns:a16="http://schemas.microsoft.com/office/drawing/2014/main" id="{5EDF9857-44D7-5CC8-CA51-77233B675260}"/>
              </a:ext>
            </a:extLst>
          </p:cNvPr>
          <p:cNvGraphicFramePr>
            <a:graphicFrameLocks/>
          </p:cNvGraphicFramePr>
          <p:nvPr/>
        </p:nvGraphicFramePr>
        <p:xfrm>
          <a:off x="1525996" y="1014528"/>
          <a:ext cx="4187478" cy="344276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167961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257A1D71-3BC9-404C-9AC0-99544400E972}"/>
              </a:ext>
            </a:extLst>
          </p:cNvPr>
          <p:cNvSpPr txBox="1"/>
          <p:nvPr/>
        </p:nvSpPr>
        <p:spPr>
          <a:xfrm>
            <a:off x="2239935" y="173242"/>
            <a:ext cx="5441486" cy="440378"/>
          </a:xfrm>
          <a:prstGeom prst="rect">
            <a:avLst/>
          </a:prstGeom>
        </p:spPr>
        <p:txBody>
          <a:bodyPr vert="horz" wrap="square" lIns="0" tIns="8637" rIns="0" bIns="0" rtlCol="0">
            <a:spAutoFit/>
          </a:bodyPr>
          <a:lstStyle/>
          <a:p>
            <a:pPr marL="34091" lvl="1" defTabSz="545454">
              <a:lnSpc>
                <a:spcPct val="150000"/>
              </a:lnSpc>
              <a:buClrTx/>
            </a:pPr>
            <a:r>
              <a:rPr lang="en-US" altLang="en-US" sz="2040" kern="1200" dirty="0">
                <a:solidFill>
                  <a:prstClr val="white"/>
                </a:solidFill>
                <a:latin typeface="Daytona" panose="020B0604030500040204" pitchFamily="34" charset="0"/>
                <a:ea typeface="+mn-ea"/>
                <a:cs typeface="Times New Roman" panose="02020603050405020304" pitchFamily="18" charset="0"/>
              </a:rPr>
              <a:t>Why an FPS for Kenya- The Future</a:t>
            </a:r>
          </a:p>
        </p:txBody>
      </p:sp>
      <p:sp>
        <p:nvSpPr>
          <p:cNvPr id="4" name="Title 10">
            <a:extLst>
              <a:ext uri="{FF2B5EF4-FFF2-40B4-BE49-F238E27FC236}">
                <a16:creationId xmlns:a16="http://schemas.microsoft.com/office/drawing/2014/main" id="{B3DAD0B6-DAB5-4A4A-8231-CC79B7A50478}"/>
              </a:ext>
            </a:extLst>
          </p:cNvPr>
          <p:cNvSpPr>
            <a:spLocks noGrp="1"/>
          </p:cNvSpPr>
          <p:nvPr>
            <p:ph type="title"/>
          </p:nvPr>
        </p:nvSpPr>
        <p:spPr>
          <a:xfrm>
            <a:off x="1462580" y="317497"/>
            <a:ext cx="484808" cy="313932"/>
          </a:xfrm>
        </p:spPr>
        <p:txBody>
          <a:bodyPr/>
          <a:lstStyle/>
          <a:p>
            <a:r>
              <a:rPr lang="en-US" sz="2040" b="0" dirty="0">
                <a:latin typeface="Daytona" panose="020B0604030500040204" pitchFamily="34" charset="0"/>
              </a:rPr>
              <a:t>39</a:t>
            </a:r>
          </a:p>
        </p:txBody>
      </p:sp>
      <p:sp>
        <p:nvSpPr>
          <p:cNvPr id="19" name="Round Diagonal Corner of Rectangle 7">
            <a:extLst>
              <a:ext uri="{FF2B5EF4-FFF2-40B4-BE49-F238E27FC236}">
                <a16:creationId xmlns:a16="http://schemas.microsoft.com/office/drawing/2014/main" id="{7C3D5DF9-05D9-7FAE-86CC-75B6AC2B9789}"/>
              </a:ext>
            </a:extLst>
          </p:cNvPr>
          <p:cNvSpPr/>
          <p:nvPr/>
        </p:nvSpPr>
        <p:spPr>
          <a:xfrm>
            <a:off x="1189887" y="940323"/>
            <a:ext cx="875029" cy="436021"/>
          </a:xfrm>
          <a:prstGeom prst="round2DiagRect">
            <a:avLst>
              <a:gd name="adj1" fmla="val 21266"/>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b="1" kern="1200" dirty="0">
                <a:solidFill>
                  <a:prstClr val="black"/>
                </a:solidFill>
                <a:latin typeface="Daytona" panose="020B0604030500040204" pitchFamily="34" charset="0"/>
              </a:rPr>
              <a:t>Vision</a:t>
            </a:r>
          </a:p>
        </p:txBody>
      </p:sp>
      <p:sp>
        <p:nvSpPr>
          <p:cNvPr id="25" name="Round Diagonal Corner of Rectangle 7">
            <a:extLst>
              <a:ext uri="{FF2B5EF4-FFF2-40B4-BE49-F238E27FC236}">
                <a16:creationId xmlns:a16="http://schemas.microsoft.com/office/drawing/2014/main" id="{0857C91C-C8A8-A4F3-75FA-5DBDAD209906}"/>
              </a:ext>
            </a:extLst>
          </p:cNvPr>
          <p:cNvSpPr/>
          <p:nvPr/>
        </p:nvSpPr>
        <p:spPr>
          <a:xfrm>
            <a:off x="1210349" y="1511117"/>
            <a:ext cx="884956" cy="390386"/>
          </a:xfrm>
          <a:prstGeom prst="round2DiagRect">
            <a:avLst>
              <a:gd name="adj1" fmla="val 21266"/>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b="1" kern="1200" dirty="0">
                <a:solidFill>
                  <a:prstClr val="black"/>
                </a:solidFill>
                <a:latin typeface="Daytona" panose="020B0604030500040204" pitchFamily="34" charset="0"/>
              </a:rPr>
              <a:t>Benefits</a:t>
            </a:r>
          </a:p>
        </p:txBody>
      </p:sp>
      <p:sp>
        <p:nvSpPr>
          <p:cNvPr id="26" name="Round Diagonal Corner of Rectangle 7">
            <a:extLst>
              <a:ext uri="{FF2B5EF4-FFF2-40B4-BE49-F238E27FC236}">
                <a16:creationId xmlns:a16="http://schemas.microsoft.com/office/drawing/2014/main" id="{925AF7AB-0DFD-CF24-D37A-933ACB2D85E8}"/>
              </a:ext>
            </a:extLst>
          </p:cNvPr>
          <p:cNvSpPr/>
          <p:nvPr/>
        </p:nvSpPr>
        <p:spPr>
          <a:xfrm>
            <a:off x="1189887" y="3637881"/>
            <a:ext cx="875029" cy="390386"/>
          </a:xfrm>
          <a:prstGeom prst="round2DiagRect">
            <a:avLst>
              <a:gd name="adj1" fmla="val 21266"/>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b="1" kern="1200" dirty="0">
                <a:solidFill>
                  <a:prstClr val="black"/>
                </a:solidFill>
                <a:latin typeface="Daytona" panose="020B0604030500040204" pitchFamily="34" charset="0"/>
              </a:rPr>
              <a:t>Outcome</a:t>
            </a:r>
          </a:p>
        </p:txBody>
      </p:sp>
      <p:sp>
        <p:nvSpPr>
          <p:cNvPr id="28" name="Round Diagonal Corner of Rectangle 1">
            <a:extLst>
              <a:ext uri="{FF2B5EF4-FFF2-40B4-BE49-F238E27FC236}">
                <a16:creationId xmlns:a16="http://schemas.microsoft.com/office/drawing/2014/main" id="{2A934882-A2D8-AF9C-D01B-3C823C34823B}"/>
              </a:ext>
            </a:extLst>
          </p:cNvPr>
          <p:cNvSpPr/>
          <p:nvPr/>
        </p:nvSpPr>
        <p:spPr>
          <a:xfrm>
            <a:off x="2064916" y="932827"/>
            <a:ext cx="5878091" cy="440442"/>
          </a:xfrm>
          <a:prstGeom prst="round2DiagRect">
            <a:avLst>
              <a:gd name="adj1" fmla="val 50000"/>
              <a:gd name="adj2" fmla="val 0"/>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1224" kern="1200" dirty="0">
                <a:solidFill>
                  <a:prstClr val="white"/>
                </a:solidFill>
                <a:latin typeface="Daytona" panose="020B0604030500040204" pitchFamily="34" charset="0"/>
              </a:rPr>
              <a:t>Kenyans seamlessly paying and being paid by Anyone, Anywhere, Anytime</a:t>
            </a:r>
          </a:p>
        </p:txBody>
      </p:sp>
      <p:sp>
        <p:nvSpPr>
          <p:cNvPr id="29" name="Round Diagonal Corner of Rectangle 7">
            <a:extLst>
              <a:ext uri="{FF2B5EF4-FFF2-40B4-BE49-F238E27FC236}">
                <a16:creationId xmlns:a16="http://schemas.microsoft.com/office/drawing/2014/main" id="{C6A62B54-1D8C-5298-9316-D5FE6282311D}"/>
              </a:ext>
            </a:extLst>
          </p:cNvPr>
          <p:cNvSpPr/>
          <p:nvPr/>
        </p:nvSpPr>
        <p:spPr>
          <a:xfrm>
            <a:off x="2063567" y="1511117"/>
            <a:ext cx="1050047" cy="651497"/>
          </a:xfrm>
          <a:prstGeom prst="round2DiagRect">
            <a:avLst>
              <a:gd name="adj1" fmla="val 21266"/>
              <a:gd name="adj2" fmla="val 0"/>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kern="1200" dirty="0">
                <a:solidFill>
                  <a:prstClr val="white"/>
                </a:solidFill>
                <a:latin typeface="Daytona" panose="020B0604030500040204" pitchFamily="34" charset="0"/>
              </a:rPr>
              <a:t>Open &amp;</a:t>
            </a:r>
          </a:p>
          <a:p>
            <a:pPr algn="ctr" defTabSz="621883">
              <a:buClrTx/>
            </a:pPr>
            <a:r>
              <a:rPr lang="en-US" sz="952" kern="1200" dirty="0">
                <a:solidFill>
                  <a:prstClr val="white"/>
                </a:solidFill>
                <a:latin typeface="Daytona" panose="020B0604030500040204" pitchFamily="34" charset="0"/>
              </a:rPr>
              <a:t>Interoperable systems</a:t>
            </a:r>
          </a:p>
        </p:txBody>
      </p:sp>
      <p:sp>
        <p:nvSpPr>
          <p:cNvPr id="30" name="Round Diagonal Corner of Rectangle 10">
            <a:extLst>
              <a:ext uri="{FF2B5EF4-FFF2-40B4-BE49-F238E27FC236}">
                <a16:creationId xmlns:a16="http://schemas.microsoft.com/office/drawing/2014/main" id="{33037DC9-0C3E-4E2E-FEB6-5A4A26ECE463}"/>
              </a:ext>
            </a:extLst>
          </p:cNvPr>
          <p:cNvSpPr/>
          <p:nvPr/>
        </p:nvSpPr>
        <p:spPr>
          <a:xfrm>
            <a:off x="3196439" y="1511117"/>
            <a:ext cx="1050047" cy="651497"/>
          </a:xfrm>
          <a:prstGeom prst="round2DiagRect">
            <a:avLst>
              <a:gd name="adj1" fmla="val 21266"/>
              <a:gd name="adj2" fmla="val 0"/>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kern="1200" dirty="0">
                <a:solidFill>
                  <a:prstClr val="white"/>
                </a:solidFill>
                <a:latin typeface="Daytona" panose="020B0604030500040204" pitchFamily="34" charset="0"/>
              </a:rPr>
              <a:t>Financial Sovereignty</a:t>
            </a:r>
          </a:p>
        </p:txBody>
      </p:sp>
      <p:sp>
        <p:nvSpPr>
          <p:cNvPr id="31" name="Round Diagonal Corner of Rectangle 12">
            <a:extLst>
              <a:ext uri="{FF2B5EF4-FFF2-40B4-BE49-F238E27FC236}">
                <a16:creationId xmlns:a16="http://schemas.microsoft.com/office/drawing/2014/main" id="{1B0C1DB9-1C85-3E7A-F41F-E496588990B1}"/>
              </a:ext>
            </a:extLst>
          </p:cNvPr>
          <p:cNvSpPr/>
          <p:nvPr/>
        </p:nvSpPr>
        <p:spPr>
          <a:xfrm>
            <a:off x="4391236" y="1500011"/>
            <a:ext cx="1050047" cy="651497"/>
          </a:xfrm>
          <a:prstGeom prst="round2DiagRect">
            <a:avLst>
              <a:gd name="adj1" fmla="val 21266"/>
              <a:gd name="adj2" fmla="val 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kern="1200" dirty="0">
                <a:solidFill>
                  <a:prstClr val="white"/>
                </a:solidFill>
                <a:latin typeface="Daytona" panose="020B0604030500040204" pitchFamily="34" charset="0"/>
              </a:rPr>
              <a:t>Transparency &amp; formalization</a:t>
            </a:r>
          </a:p>
        </p:txBody>
      </p:sp>
      <p:sp>
        <p:nvSpPr>
          <p:cNvPr id="33" name="Round Diagonal Corner of Rectangle 13">
            <a:extLst>
              <a:ext uri="{FF2B5EF4-FFF2-40B4-BE49-F238E27FC236}">
                <a16:creationId xmlns:a16="http://schemas.microsoft.com/office/drawing/2014/main" id="{74339BAB-E301-96A7-075C-68F224ED5AC3}"/>
              </a:ext>
            </a:extLst>
          </p:cNvPr>
          <p:cNvSpPr/>
          <p:nvPr/>
        </p:nvSpPr>
        <p:spPr>
          <a:xfrm>
            <a:off x="6661914" y="1497322"/>
            <a:ext cx="1050047" cy="651497"/>
          </a:xfrm>
          <a:prstGeom prst="round2DiagRect">
            <a:avLst>
              <a:gd name="adj1" fmla="val 21266"/>
              <a:gd name="adj2" fmla="val 0"/>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kern="1200" dirty="0">
                <a:solidFill>
                  <a:prstClr val="white"/>
                </a:solidFill>
                <a:latin typeface="Daytona" panose="020B0604030500040204" pitchFamily="34" charset="0"/>
              </a:rPr>
              <a:t>Open Banking and Finance</a:t>
            </a:r>
          </a:p>
        </p:txBody>
      </p:sp>
      <p:sp>
        <p:nvSpPr>
          <p:cNvPr id="35" name="Round Diagonal Corner of Rectangle 14">
            <a:extLst>
              <a:ext uri="{FF2B5EF4-FFF2-40B4-BE49-F238E27FC236}">
                <a16:creationId xmlns:a16="http://schemas.microsoft.com/office/drawing/2014/main" id="{8222D032-3421-2ADC-D104-D706290404A5}"/>
              </a:ext>
            </a:extLst>
          </p:cNvPr>
          <p:cNvSpPr/>
          <p:nvPr/>
        </p:nvSpPr>
        <p:spPr>
          <a:xfrm>
            <a:off x="5487167" y="1500441"/>
            <a:ext cx="1050047" cy="651497"/>
          </a:xfrm>
          <a:prstGeom prst="round2DiagRect">
            <a:avLst>
              <a:gd name="adj1" fmla="val 21266"/>
              <a:gd name="adj2" fmla="val 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952" kern="1200" dirty="0">
                <a:solidFill>
                  <a:prstClr val="white"/>
                </a:solidFill>
                <a:latin typeface="Daytona" panose="020B0604030500040204" pitchFamily="34" charset="0"/>
              </a:rPr>
              <a:t>Cross-border Linkages</a:t>
            </a:r>
          </a:p>
        </p:txBody>
      </p:sp>
      <p:sp>
        <p:nvSpPr>
          <p:cNvPr id="36" name="Round Diagonal Corner of Rectangle 8">
            <a:extLst>
              <a:ext uri="{FF2B5EF4-FFF2-40B4-BE49-F238E27FC236}">
                <a16:creationId xmlns:a16="http://schemas.microsoft.com/office/drawing/2014/main" id="{FABCD8A7-28B4-2E6F-78B1-7B468FEBD78B}"/>
              </a:ext>
            </a:extLst>
          </p:cNvPr>
          <p:cNvSpPr/>
          <p:nvPr/>
        </p:nvSpPr>
        <p:spPr>
          <a:xfrm>
            <a:off x="2014474" y="2182293"/>
            <a:ext cx="1132872" cy="1455589"/>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884" kern="1200" dirty="0">
                <a:solidFill>
                  <a:prstClr val="black"/>
                </a:solidFill>
                <a:latin typeface="Daytona" panose="020B0604030500040204" pitchFamily="34" charset="0"/>
              </a:rPr>
              <a:t>Open shared infrastructure with multilateral agreements moving from closed loop systems with bilateral agreements.</a:t>
            </a:r>
          </a:p>
        </p:txBody>
      </p:sp>
      <p:sp>
        <p:nvSpPr>
          <p:cNvPr id="37" name="Round Diagonal Corner of Rectangle 8">
            <a:extLst>
              <a:ext uri="{FF2B5EF4-FFF2-40B4-BE49-F238E27FC236}">
                <a16:creationId xmlns:a16="http://schemas.microsoft.com/office/drawing/2014/main" id="{86B49A22-BCF5-482A-E056-1E078597483F}"/>
              </a:ext>
            </a:extLst>
          </p:cNvPr>
          <p:cNvSpPr/>
          <p:nvPr/>
        </p:nvSpPr>
        <p:spPr>
          <a:xfrm>
            <a:off x="3161752" y="2184977"/>
            <a:ext cx="1132872" cy="1455589"/>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884" kern="1200" dirty="0">
                <a:solidFill>
                  <a:prstClr val="black"/>
                </a:solidFill>
                <a:latin typeface="Daytona" panose="020B0604030500040204" pitchFamily="34" charset="0"/>
              </a:rPr>
              <a:t>Autonomy from international schemes. Having the ability to process all domestic transactions domestically.</a:t>
            </a:r>
          </a:p>
        </p:txBody>
      </p:sp>
      <p:sp>
        <p:nvSpPr>
          <p:cNvPr id="39" name="Round Diagonal Corner of Rectangle 8">
            <a:extLst>
              <a:ext uri="{FF2B5EF4-FFF2-40B4-BE49-F238E27FC236}">
                <a16:creationId xmlns:a16="http://schemas.microsoft.com/office/drawing/2014/main" id="{5D013677-5C04-A6F3-06BC-C195E664C015}"/>
              </a:ext>
            </a:extLst>
          </p:cNvPr>
          <p:cNvSpPr/>
          <p:nvPr/>
        </p:nvSpPr>
        <p:spPr>
          <a:xfrm>
            <a:off x="4322739" y="2197953"/>
            <a:ext cx="1219247" cy="1455589"/>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884" kern="1200" dirty="0">
                <a:solidFill>
                  <a:prstClr val="black"/>
                </a:solidFill>
                <a:latin typeface="Daytona" panose="020B0604030500040204" pitchFamily="34" charset="0"/>
              </a:rPr>
              <a:t>Enhanced visibility of payments and improved efficiency in government collection.</a:t>
            </a:r>
          </a:p>
        </p:txBody>
      </p:sp>
      <p:sp>
        <p:nvSpPr>
          <p:cNvPr id="41" name="Round Diagonal Corner of Rectangle 8">
            <a:extLst>
              <a:ext uri="{FF2B5EF4-FFF2-40B4-BE49-F238E27FC236}">
                <a16:creationId xmlns:a16="http://schemas.microsoft.com/office/drawing/2014/main" id="{E8B5542B-C002-2B95-ACBF-D077F0EC4A3F}"/>
              </a:ext>
            </a:extLst>
          </p:cNvPr>
          <p:cNvSpPr/>
          <p:nvPr/>
        </p:nvSpPr>
        <p:spPr>
          <a:xfrm>
            <a:off x="5445754" y="2196754"/>
            <a:ext cx="1132872" cy="1455589"/>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884" kern="1200" dirty="0">
                <a:solidFill>
                  <a:prstClr val="black"/>
                </a:solidFill>
                <a:latin typeface="Daytona" panose="020B0604030500040204" pitchFamily="34" charset="0"/>
              </a:rPr>
              <a:t>Point to point linkage to regional and cross border systems resulting in increased remittances.</a:t>
            </a:r>
          </a:p>
        </p:txBody>
      </p:sp>
      <p:sp>
        <p:nvSpPr>
          <p:cNvPr id="43" name="Round Diagonal Corner of Rectangle 8">
            <a:extLst>
              <a:ext uri="{FF2B5EF4-FFF2-40B4-BE49-F238E27FC236}">
                <a16:creationId xmlns:a16="http://schemas.microsoft.com/office/drawing/2014/main" id="{51E2C9C2-B751-658A-0DF8-96D802100416}"/>
              </a:ext>
            </a:extLst>
          </p:cNvPr>
          <p:cNvSpPr/>
          <p:nvPr/>
        </p:nvSpPr>
        <p:spPr>
          <a:xfrm>
            <a:off x="6603587" y="2182291"/>
            <a:ext cx="1132872" cy="1455589"/>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884" kern="1200" dirty="0">
                <a:solidFill>
                  <a:prstClr val="black"/>
                </a:solidFill>
                <a:latin typeface="Daytona" panose="020B0604030500040204" pitchFamily="34" charset="0"/>
              </a:rPr>
              <a:t>Promote an ecosystem of collaboration, driving better financial products, greater efficiency, and more inclusivity.</a:t>
            </a:r>
          </a:p>
          <a:p>
            <a:pPr marL="120922" indent="-120922" defTabSz="621883">
              <a:spcBef>
                <a:spcPts val="2040"/>
              </a:spcBef>
              <a:buClrTx/>
              <a:buFont typeface="Arial" panose="020B0604020202020204" pitchFamily="34" charset="0"/>
              <a:buChar char="•"/>
            </a:pPr>
            <a:endParaRPr lang="en-US" sz="952" kern="1200" dirty="0">
              <a:solidFill>
                <a:prstClr val="black"/>
              </a:solidFill>
              <a:latin typeface="Daytona" panose="020B0604030500040204" pitchFamily="34" charset="0"/>
            </a:endParaRPr>
          </a:p>
        </p:txBody>
      </p:sp>
      <p:sp>
        <p:nvSpPr>
          <p:cNvPr id="46" name="Round Diagonal Corner of Rectangle 1">
            <a:extLst>
              <a:ext uri="{FF2B5EF4-FFF2-40B4-BE49-F238E27FC236}">
                <a16:creationId xmlns:a16="http://schemas.microsoft.com/office/drawing/2014/main" id="{85EC9711-3E86-9D09-9160-2B8FB87D60D2}"/>
              </a:ext>
            </a:extLst>
          </p:cNvPr>
          <p:cNvSpPr/>
          <p:nvPr/>
        </p:nvSpPr>
        <p:spPr>
          <a:xfrm>
            <a:off x="2064916" y="3579381"/>
            <a:ext cx="5878091" cy="440442"/>
          </a:xfrm>
          <a:prstGeom prst="round2DiagRect">
            <a:avLst>
              <a:gd name="adj1" fmla="val 50000"/>
              <a:gd name="adj2" fmla="val 0"/>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r>
              <a:rPr lang="en-US" sz="1224" kern="1200" dirty="0">
                <a:solidFill>
                  <a:prstClr val="white"/>
                </a:solidFill>
                <a:latin typeface="Daytona" panose="020B0604030500040204" pitchFamily="34" charset="0"/>
              </a:rPr>
              <a:t>A robust, inclusive, resilient and globally competitive economy</a:t>
            </a:r>
          </a:p>
        </p:txBody>
      </p:sp>
      <p:sp>
        <p:nvSpPr>
          <p:cNvPr id="48" name="Round Diagonal Corner of Rectangle 8">
            <a:extLst>
              <a:ext uri="{FF2B5EF4-FFF2-40B4-BE49-F238E27FC236}">
                <a16:creationId xmlns:a16="http://schemas.microsoft.com/office/drawing/2014/main" id="{AD1AA5F3-6324-EAD4-4E79-93CEFC23370A}"/>
              </a:ext>
            </a:extLst>
          </p:cNvPr>
          <p:cNvSpPr/>
          <p:nvPr/>
        </p:nvSpPr>
        <p:spPr>
          <a:xfrm>
            <a:off x="2218119" y="4073418"/>
            <a:ext cx="1132813" cy="613083"/>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952" kern="1200" dirty="0">
                <a:solidFill>
                  <a:prstClr val="black"/>
                </a:solidFill>
                <a:latin typeface="Daytona" panose="020B0604030500040204" pitchFamily="34" charset="0"/>
              </a:rPr>
              <a:t>Financial Inclusion and Health (Usage, Impact, Access)</a:t>
            </a:r>
          </a:p>
        </p:txBody>
      </p:sp>
      <p:sp>
        <p:nvSpPr>
          <p:cNvPr id="49" name="Arrow: Up 48">
            <a:extLst>
              <a:ext uri="{FF2B5EF4-FFF2-40B4-BE49-F238E27FC236}">
                <a16:creationId xmlns:a16="http://schemas.microsoft.com/office/drawing/2014/main" id="{4CAF2F93-F2E2-2F13-1E33-D11D18399D67}"/>
              </a:ext>
            </a:extLst>
          </p:cNvPr>
          <p:cNvSpPr/>
          <p:nvPr/>
        </p:nvSpPr>
        <p:spPr>
          <a:xfrm>
            <a:off x="2129864" y="4061064"/>
            <a:ext cx="110071" cy="613083"/>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endParaRPr lang="en-US" sz="1224" kern="1200">
              <a:solidFill>
                <a:prstClr val="white"/>
              </a:solidFill>
              <a:latin typeface="Calibri"/>
            </a:endParaRPr>
          </a:p>
        </p:txBody>
      </p:sp>
      <p:sp>
        <p:nvSpPr>
          <p:cNvPr id="50" name="Round Diagonal Corner of Rectangle 8">
            <a:extLst>
              <a:ext uri="{FF2B5EF4-FFF2-40B4-BE49-F238E27FC236}">
                <a16:creationId xmlns:a16="http://schemas.microsoft.com/office/drawing/2014/main" id="{FD4532F3-E686-2A43-8724-34BEEC8994F7}"/>
              </a:ext>
            </a:extLst>
          </p:cNvPr>
          <p:cNvSpPr/>
          <p:nvPr/>
        </p:nvSpPr>
        <p:spPr>
          <a:xfrm>
            <a:off x="3439187" y="4112121"/>
            <a:ext cx="1017423" cy="613083"/>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952" kern="1200" dirty="0">
                <a:solidFill>
                  <a:prstClr val="black"/>
                </a:solidFill>
                <a:latin typeface="Daytona" panose="020B0604030500040204" pitchFamily="34" charset="0"/>
              </a:rPr>
              <a:t>Cash Displacement</a:t>
            </a:r>
          </a:p>
        </p:txBody>
      </p:sp>
      <p:sp>
        <p:nvSpPr>
          <p:cNvPr id="51" name="Arrow: Up 50">
            <a:extLst>
              <a:ext uri="{FF2B5EF4-FFF2-40B4-BE49-F238E27FC236}">
                <a16:creationId xmlns:a16="http://schemas.microsoft.com/office/drawing/2014/main" id="{72B3A45D-1ACA-98CF-072B-40501DD2803B}"/>
              </a:ext>
            </a:extLst>
          </p:cNvPr>
          <p:cNvSpPr/>
          <p:nvPr/>
        </p:nvSpPr>
        <p:spPr>
          <a:xfrm>
            <a:off x="3350932" y="4063610"/>
            <a:ext cx="110071" cy="613083"/>
          </a:xfrm>
          <a:prstGeom prst="up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21883">
              <a:buClrTx/>
            </a:pPr>
            <a:endParaRPr lang="en-US" sz="1224" kern="1200">
              <a:solidFill>
                <a:prstClr val="white"/>
              </a:solidFill>
              <a:latin typeface="Calibri"/>
            </a:endParaRPr>
          </a:p>
        </p:txBody>
      </p:sp>
      <p:sp>
        <p:nvSpPr>
          <p:cNvPr id="52" name="Round Diagonal Corner of Rectangle 8">
            <a:extLst>
              <a:ext uri="{FF2B5EF4-FFF2-40B4-BE49-F238E27FC236}">
                <a16:creationId xmlns:a16="http://schemas.microsoft.com/office/drawing/2014/main" id="{CE5D0266-1C29-0BD1-6E52-C8E086E461FF}"/>
              </a:ext>
            </a:extLst>
          </p:cNvPr>
          <p:cNvSpPr/>
          <p:nvPr/>
        </p:nvSpPr>
        <p:spPr>
          <a:xfrm>
            <a:off x="4415852" y="4075279"/>
            <a:ext cx="1017423" cy="613083"/>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952" kern="1200" dirty="0">
                <a:solidFill>
                  <a:prstClr val="black"/>
                </a:solidFill>
                <a:latin typeface="Daytona" panose="020B0604030500040204" pitchFamily="34" charset="0"/>
              </a:rPr>
              <a:t>Vibrant Fintech Ecosystem</a:t>
            </a:r>
          </a:p>
        </p:txBody>
      </p:sp>
      <p:sp>
        <p:nvSpPr>
          <p:cNvPr id="53" name="Round Diagonal Corner of Rectangle 8">
            <a:extLst>
              <a:ext uri="{FF2B5EF4-FFF2-40B4-BE49-F238E27FC236}">
                <a16:creationId xmlns:a16="http://schemas.microsoft.com/office/drawing/2014/main" id="{C599C295-27D0-81A1-47D4-43C14D187D07}"/>
              </a:ext>
            </a:extLst>
          </p:cNvPr>
          <p:cNvSpPr/>
          <p:nvPr/>
        </p:nvSpPr>
        <p:spPr>
          <a:xfrm>
            <a:off x="5487166" y="4060816"/>
            <a:ext cx="1017423" cy="613083"/>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952" kern="1200" dirty="0">
                <a:solidFill>
                  <a:prstClr val="black"/>
                </a:solidFill>
                <a:latin typeface="Daytona" panose="020B0604030500040204" pitchFamily="34" charset="0"/>
              </a:rPr>
              <a:t>Convenient and affordable digital payments</a:t>
            </a:r>
          </a:p>
        </p:txBody>
      </p:sp>
      <p:sp>
        <p:nvSpPr>
          <p:cNvPr id="54" name="Round Diagonal Corner of Rectangle 8">
            <a:extLst>
              <a:ext uri="{FF2B5EF4-FFF2-40B4-BE49-F238E27FC236}">
                <a16:creationId xmlns:a16="http://schemas.microsoft.com/office/drawing/2014/main" id="{574678A6-5C50-DD8F-88B9-79FB83851C61}"/>
              </a:ext>
            </a:extLst>
          </p:cNvPr>
          <p:cNvSpPr/>
          <p:nvPr/>
        </p:nvSpPr>
        <p:spPr>
          <a:xfrm>
            <a:off x="6661311" y="4075279"/>
            <a:ext cx="1017423" cy="613083"/>
          </a:xfrm>
          <a:prstGeom prst="round2DiagRect">
            <a:avLst>
              <a:gd name="adj1" fmla="val 7137"/>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defTabSz="621883">
              <a:spcBef>
                <a:spcPts val="2040"/>
              </a:spcBef>
              <a:buClrTx/>
            </a:pPr>
            <a:r>
              <a:rPr lang="en-US" sz="952" kern="1200" dirty="0">
                <a:solidFill>
                  <a:prstClr val="black"/>
                </a:solidFill>
                <a:latin typeface="Daytona" panose="020B0604030500040204" pitchFamily="34" charset="0"/>
              </a:rPr>
              <a:t>Multiplier of economic activity</a:t>
            </a:r>
          </a:p>
        </p:txBody>
      </p:sp>
    </p:spTree>
    <p:extLst>
      <p:ext uri="{BB962C8B-B14F-4D97-AF65-F5344CB8AC3E}">
        <p14:creationId xmlns:p14="http://schemas.microsoft.com/office/powerpoint/2010/main" val="32309646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481076-F470-EE91-2220-1DA3A04316EB}"/>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25533AF4-36DB-74E8-A4C9-B9648F8642E3}"/>
              </a:ext>
            </a:extLst>
          </p:cNvPr>
          <p:cNvGrpSpPr/>
          <p:nvPr/>
        </p:nvGrpSpPr>
        <p:grpSpPr>
          <a:xfrm>
            <a:off x="5330" y="-32425"/>
            <a:ext cx="9130876" cy="3169732"/>
            <a:chOff x="5330" y="-32425"/>
            <a:chExt cx="9130876" cy="3169732"/>
          </a:xfrm>
        </p:grpSpPr>
        <p:grpSp>
          <p:nvGrpSpPr>
            <p:cNvPr id="32" name="Group 31">
              <a:extLst>
                <a:ext uri="{FF2B5EF4-FFF2-40B4-BE49-F238E27FC236}">
                  <a16:creationId xmlns:a16="http://schemas.microsoft.com/office/drawing/2014/main" id="{8E3A83B2-633C-D055-0B08-CB87C38494B0}"/>
                </a:ext>
              </a:extLst>
            </p:cNvPr>
            <p:cNvGrpSpPr/>
            <p:nvPr/>
          </p:nvGrpSpPr>
          <p:grpSpPr>
            <a:xfrm>
              <a:off x="685265" y="1676204"/>
              <a:ext cx="1435597" cy="1461103"/>
              <a:chOff x="1386295" y="2060457"/>
              <a:chExt cx="1498691" cy="1119037"/>
            </a:xfrm>
            <a:effectLst>
              <a:outerShdw blurRad="50800" dist="38100" algn="l" rotWithShape="0">
                <a:prstClr val="black">
                  <a:alpha val="40000"/>
                </a:prstClr>
              </a:outerShdw>
            </a:effectLst>
            <a:scene3d>
              <a:camera prst="orthographicFront">
                <a:rot lat="0" lon="0" rev="0"/>
              </a:camera>
              <a:lightRig rig="glow" dir="t">
                <a:rot lat="0" lon="0" rev="4800000"/>
              </a:lightRig>
            </a:scene3d>
          </p:grpSpPr>
          <p:sp>
            <p:nvSpPr>
              <p:cNvPr id="14" name="TextBox 13">
                <a:extLst>
                  <a:ext uri="{FF2B5EF4-FFF2-40B4-BE49-F238E27FC236}">
                    <a16:creationId xmlns:a16="http://schemas.microsoft.com/office/drawing/2014/main" id="{6485F64E-D05C-C2CF-99B3-196C69DC77CA}"/>
                  </a:ext>
                </a:extLst>
              </p:cNvPr>
              <p:cNvSpPr txBox="1"/>
              <p:nvPr/>
            </p:nvSpPr>
            <p:spPr>
              <a:xfrm>
                <a:off x="1386295" y="2060457"/>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sp>
            <p:nvSpPr>
              <p:cNvPr id="23" name="TextBox 22">
                <a:extLst>
                  <a:ext uri="{FF2B5EF4-FFF2-40B4-BE49-F238E27FC236}">
                    <a16:creationId xmlns:a16="http://schemas.microsoft.com/office/drawing/2014/main" id="{1A944710-F945-3617-744E-16E21A6C0B2F}"/>
                  </a:ext>
                </a:extLst>
              </p:cNvPr>
              <p:cNvSpPr txBox="1"/>
              <p:nvPr/>
            </p:nvSpPr>
            <p:spPr>
              <a:xfrm>
                <a:off x="1448072" y="2960065"/>
                <a:ext cx="1436914" cy="219429"/>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rtlCol="0">
                <a:spAutoFit/>
              </a:bodyPr>
              <a:lstStyle/>
              <a:p>
                <a:endParaRPr lang="en-US" sz="900"/>
              </a:p>
            </p:txBody>
          </p:sp>
        </p:grpSp>
        <p:sp>
          <p:nvSpPr>
            <p:cNvPr id="31" name="TextBox 30">
              <a:extLst>
                <a:ext uri="{FF2B5EF4-FFF2-40B4-BE49-F238E27FC236}">
                  <a16:creationId xmlns:a16="http://schemas.microsoft.com/office/drawing/2014/main" id="{5A3C3852-9EE8-6544-1B6A-207297519926}"/>
                </a:ext>
              </a:extLst>
            </p:cNvPr>
            <p:cNvSpPr txBox="1"/>
            <p:nvPr/>
          </p:nvSpPr>
          <p:spPr>
            <a:xfrm>
              <a:off x="801220" y="329"/>
              <a:ext cx="6663138" cy="369332"/>
            </a:xfrm>
            <a:prstGeom prst="rect">
              <a:avLst/>
            </a:prstGeom>
            <a:noFill/>
          </p:spPr>
          <p:txBody>
            <a:bodyPr wrap="square" rtlCol="0">
              <a:spAutoFit/>
            </a:bodyPr>
            <a:lstStyle/>
            <a:p>
              <a:pPr algn="ctr"/>
              <a:r>
                <a:rPr lang="en-US" sz="1800" b="1" dirty="0">
                  <a:solidFill>
                    <a:schemeClr val="tx1"/>
                  </a:solidFill>
                  <a:latin typeface="Century Gothic" panose="020B0502020202020204" pitchFamily="34" charset="0"/>
                  <a:ea typeface="Aptos" panose="020B0004020202020204" pitchFamily="34" charset="0"/>
                  <a:cs typeface="Times New Roman" panose="02020603050405020304" pitchFamily="18" charset="0"/>
                </a:rPr>
                <a:t>Key Lessons Learnt</a:t>
              </a:r>
              <a:endParaRPr lang="en-US" dirty="0">
                <a:solidFill>
                  <a:schemeClr val="tx1"/>
                </a:solidFill>
                <a:latin typeface="Century Gothic" panose="020B0502020202020204" pitchFamily="34" charset="0"/>
              </a:endParaRPr>
            </a:p>
          </p:txBody>
        </p:sp>
        <p:pic>
          <p:nvPicPr>
            <p:cNvPr id="3" name="Picture 2">
              <a:extLst>
                <a:ext uri="{FF2B5EF4-FFF2-40B4-BE49-F238E27FC236}">
                  <a16:creationId xmlns:a16="http://schemas.microsoft.com/office/drawing/2014/main" id="{595E2181-8B74-23A1-DDA8-FE256E744BA1}"/>
                </a:ext>
              </a:extLst>
            </p:cNvPr>
            <p:cNvPicPr>
              <a:picLocks noChangeAspect="1"/>
            </p:cNvPicPr>
            <p:nvPr/>
          </p:nvPicPr>
          <p:blipFill>
            <a:blip r:embed="rId3"/>
            <a:stretch>
              <a:fillRect/>
            </a:stretch>
          </p:blipFill>
          <p:spPr>
            <a:xfrm>
              <a:off x="8660486" y="-32425"/>
              <a:ext cx="475720" cy="376986"/>
            </a:xfrm>
            <a:prstGeom prst="rect">
              <a:avLst/>
            </a:prstGeom>
          </p:spPr>
        </p:pic>
        <p:sp>
          <p:nvSpPr>
            <p:cNvPr id="9" name="Title 10">
              <a:extLst>
                <a:ext uri="{FF2B5EF4-FFF2-40B4-BE49-F238E27FC236}">
                  <a16:creationId xmlns:a16="http://schemas.microsoft.com/office/drawing/2014/main" id="{7B5130F8-7739-FFEB-48D2-AF05C720B4C5}"/>
                </a:ext>
              </a:extLst>
            </p:cNvPr>
            <p:cNvSpPr txBox="1">
              <a:spLocks/>
            </p:cNvSpPr>
            <p:nvPr/>
          </p:nvSpPr>
          <p:spPr>
            <a:xfrm>
              <a:off x="5330" y="-21234"/>
              <a:ext cx="653995" cy="32688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40</a:t>
              </a:r>
              <a:r>
                <a:rPr lang="en-US" sz="1904" b="1" dirty="0">
                  <a:solidFill>
                    <a:schemeClr val="tx1"/>
                  </a:solidFill>
                  <a:latin typeface="Century Gothic" panose="020B0502020202020204" pitchFamily="34" charset="0"/>
                </a:rPr>
                <a:t>.</a:t>
              </a:r>
            </a:p>
          </p:txBody>
        </p:sp>
      </p:grpSp>
      <p:sp>
        <p:nvSpPr>
          <p:cNvPr id="13" name="TextBox 12">
            <a:extLst>
              <a:ext uri="{FF2B5EF4-FFF2-40B4-BE49-F238E27FC236}">
                <a16:creationId xmlns:a16="http://schemas.microsoft.com/office/drawing/2014/main" id="{FF784E56-05C8-3FCE-4EE8-9F435ADCA03E}"/>
              </a:ext>
            </a:extLst>
          </p:cNvPr>
          <p:cNvSpPr txBox="1"/>
          <p:nvPr/>
        </p:nvSpPr>
        <p:spPr>
          <a:xfrm>
            <a:off x="139546" y="530580"/>
            <a:ext cx="8896714" cy="4355103"/>
          </a:xfrm>
          <a:prstGeom prst="rect">
            <a:avLst/>
          </a:prstGeom>
          <a:solidFill>
            <a:schemeClr val="bg1"/>
          </a:solidFill>
          <a:ln>
            <a:solidFill>
              <a:schemeClr val="bg1"/>
            </a:solidFill>
          </a:ln>
        </p:spPr>
        <p:style>
          <a:lnRef idx="1">
            <a:schemeClr val="accent1"/>
          </a:lnRef>
          <a:fillRef idx="2">
            <a:schemeClr val="accent1"/>
          </a:fillRef>
          <a:effectRef idx="1">
            <a:schemeClr val="accent1"/>
          </a:effectRef>
          <a:fontRef idx="minor">
            <a:schemeClr val="dk1"/>
          </a:fontRef>
        </p:style>
        <p:txBody>
          <a:bodyPr wrap="square">
            <a:spAutoFit/>
          </a:bodyPr>
          <a:lstStyle/>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rPr>
              <a:t>Customer centricity </a:t>
            </a:r>
            <a:r>
              <a:rPr lang="en-US" spc="-195" dirty="0">
                <a:solidFill>
                  <a:schemeClr val="tx1"/>
                </a:solidFill>
                <a:latin typeface="Century Gothic" panose="020B0502020202020204" pitchFamily="34" charset="0"/>
                <a:cs typeface="Verdana"/>
              </a:rPr>
              <a:t>–</a:t>
            </a:r>
            <a:r>
              <a:rPr lang="en-US" spc="-82" dirty="0">
                <a:solidFill>
                  <a:schemeClr val="tx1"/>
                </a:solidFill>
                <a:latin typeface="Century Gothic" panose="020B0502020202020204" pitchFamily="34" charset="0"/>
                <a:cs typeface="Verdana"/>
              </a:rPr>
              <a:t> </a:t>
            </a:r>
            <a:r>
              <a:rPr lang="en-US" spc="-9" dirty="0">
                <a:solidFill>
                  <a:schemeClr val="tx1"/>
                </a:solidFill>
                <a:latin typeface="Century Gothic" panose="020B0502020202020204" pitchFamily="34" charset="0"/>
              </a:rPr>
              <a:t>CBK’s vision is for a payments system that is secure, efficient and widely available to and works for Kenyans.</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rPr>
              <a:t>The usefulness of technology </a:t>
            </a:r>
            <a:r>
              <a:rPr lang="en-US" spc="-9" dirty="0">
                <a:solidFill>
                  <a:schemeClr val="tx1"/>
                </a:solidFill>
                <a:latin typeface="Century Gothic" panose="020B0502020202020204" pitchFamily="34" charset="0"/>
              </a:rPr>
              <a:t>does not lie in its uniqueness, but in its ability to solve a pressing societal problem.</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Country context </a:t>
            </a:r>
            <a:r>
              <a:rPr lang="en-US" spc="-9" dirty="0">
                <a:solidFill>
                  <a:schemeClr val="tx1"/>
                </a:solidFill>
                <a:latin typeface="Century Gothic" panose="020B0502020202020204" pitchFamily="34" charset="0"/>
                <a:cs typeface="Verdana"/>
              </a:rPr>
              <a:t>– one size does not fit all.</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Consumer protection </a:t>
            </a:r>
            <a:r>
              <a:rPr lang="en-US" spc="-9" dirty="0">
                <a:solidFill>
                  <a:schemeClr val="tx1"/>
                </a:solidFill>
                <a:latin typeface="Century Gothic" panose="020B0502020202020204" pitchFamily="34" charset="0"/>
                <a:cs typeface="Verdana"/>
              </a:rPr>
              <a:t>in the face of innovations must be a key focus.</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Regulators should clearly understand new innovations and risks therein </a:t>
            </a:r>
            <a:r>
              <a:rPr lang="en-US" spc="-9" dirty="0">
                <a:solidFill>
                  <a:schemeClr val="tx1"/>
                </a:solidFill>
                <a:latin typeface="Century Gothic" panose="020B0502020202020204" pitchFamily="34" charset="0"/>
                <a:cs typeface="Verdana"/>
              </a:rPr>
              <a:t>- ‘‘Test and learn’ ’or “walking alongside innovators” approach..</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Collaboration</a:t>
            </a:r>
            <a:r>
              <a:rPr lang="en-US" spc="-9" dirty="0">
                <a:solidFill>
                  <a:schemeClr val="tx1"/>
                </a:solidFill>
                <a:latin typeface="Century Gothic" panose="020B0502020202020204" pitchFamily="34" charset="0"/>
                <a:cs typeface="Verdana"/>
              </a:rPr>
              <a:t> </a:t>
            </a:r>
            <a:r>
              <a:rPr lang="en-US" spc="-9" dirty="0">
                <a:solidFill>
                  <a:schemeClr val="tx1"/>
                </a:solidFill>
                <a:latin typeface="Century Gothic" panose="020B0502020202020204" pitchFamily="34" charset="0"/>
              </a:rPr>
              <a:t>with other central banks and regulators.</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Leveraging data to identify customer needs</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rPr>
              <a:t>It is not about institutions but ecosystems</a:t>
            </a:r>
          </a:p>
          <a:p>
            <a:pPr marL="354416" marR="4607" indent="-342900">
              <a:lnSpc>
                <a:spcPct val="150000"/>
              </a:lnSpc>
              <a:spcBef>
                <a:spcPts val="91"/>
              </a:spcBef>
              <a:buFont typeface="+mj-lt"/>
              <a:buAutoNum type="arabicPeriod"/>
            </a:pPr>
            <a:r>
              <a:rPr lang="en-US" b="1" spc="-9" dirty="0">
                <a:solidFill>
                  <a:schemeClr val="tx1"/>
                </a:solidFill>
                <a:latin typeface="Century Gothic" panose="020B0502020202020204" pitchFamily="34" charset="0"/>
                <a:cs typeface="Verdana"/>
              </a:rPr>
              <a:t>Activity based supervision</a:t>
            </a:r>
            <a:r>
              <a:rPr lang="en-US" spc="-9" dirty="0">
                <a:solidFill>
                  <a:schemeClr val="tx1"/>
                </a:solidFill>
                <a:latin typeface="Century Gothic" panose="020B0502020202020204" pitchFamily="34" charset="0"/>
                <a:cs typeface="Verdana"/>
              </a:rPr>
              <a:t>, focus on risks from activities – Proportionate supervision of similar activities.</a:t>
            </a:r>
          </a:p>
        </p:txBody>
      </p:sp>
      <p:cxnSp>
        <p:nvCxnSpPr>
          <p:cNvPr id="2" name="Straight Connector 1">
            <a:extLst>
              <a:ext uri="{FF2B5EF4-FFF2-40B4-BE49-F238E27FC236}">
                <a16:creationId xmlns:a16="http://schemas.microsoft.com/office/drawing/2014/main" id="{483A843F-6499-168D-CE0E-194CFF6599AC}"/>
              </a:ext>
            </a:extLst>
          </p:cNvPr>
          <p:cNvCxnSpPr>
            <a:cxnSpLocks/>
          </p:cNvCxnSpPr>
          <p:nvPr/>
        </p:nvCxnSpPr>
        <p:spPr>
          <a:xfrm>
            <a:off x="15903" y="365635"/>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766948733"/>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A2C63-ED91-4467-A23F-FCBC506263DD}"/>
              </a:ext>
            </a:extLst>
          </p:cNvPr>
          <p:cNvSpPr>
            <a:spLocks noGrp="1"/>
          </p:cNvSpPr>
          <p:nvPr>
            <p:ph type="title"/>
          </p:nvPr>
        </p:nvSpPr>
        <p:spPr>
          <a:xfrm>
            <a:off x="616527" y="69825"/>
            <a:ext cx="7794656" cy="293047"/>
          </a:xfrm>
        </p:spPr>
        <p:txBody>
          <a:bodyPr/>
          <a:lstStyle/>
          <a:p>
            <a:pPr algn="ctr"/>
            <a:r>
              <a:rPr lang="en-US" sz="2400" dirty="0">
                <a:solidFill>
                  <a:schemeClr val="tx1"/>
                </a:solidFill>
                <a:latin typeface="Century Gothic" panose="020B0502020202020204" pitchFamily="34" charset="0"/>
                <a:cs typeface="Times New Roman" panose="02020603050405020304" pitchFamily="18" charset="0"/>
              </a:rPr>
              <a:t>Policy Initiatives to Enhance Payment Services</a:t>
            </a:r>
            <a:endParaRPr lang="en-US" sz="2000" dirty="0">
              <a:solidFill>
                <a:schemeClr val="tx1"/>
              </a:solidFill>
              <a:latin typeface="Century Gothic" panose="020B0502020202020204" pitchFamily="34" charset="0"/>
            </a:endParaRPr>
          </a:p>
        </p:txBody>
      </p:sp>
      <p:sp>
        <p:nvSpPr>
          <p:cNvPr id="3" name="Text Placeholder 2">
            <a:extLst>
              <a:ext uri="{FF2B5EF4-FFF2-40B4-BE49-F238E27FC236}">
                <a16:creationId xmlns:a16="http://schemas.microsoft.com/office/drawing/2014/main" id="{84AB704A-DF9A-468C-A5F3-920E044EB69F}"/>
              </a:ext>
            </a:extLst>
          </p:cNvPr>
          <p:cNvSpPr>
            <a:spLocks noGrp="1"/>
          </p:cNvSpPr>
          <p:nvPr>
            <p:ph type="body" idx="1"/>
          </p:nvPr>
        </p:nvSpPr>
        <p:spPr>
          <a:xfrm>
            <a:off x="112130" y="872393"/>
            <a:ext cx="8887691" cy="3957187"/>
          </a:xfrm>
        </p:spPr>
        <p:txBody>
          <a:bodyPr/>
          <a:lstStyle/>
          <a:p>
            <a:pPr marL="800100" lvl="1" indent="-342900">
              <a:lnSpc>
                <a:spcPct val="150000"/>
              </a:lnSpc>
              <a:buFont typeface="Wingdings" panose="05000000000000000000" pitchFamily="2" charset="2"/>
              <a:buChar char="v"/>
            </a:pPr>
            <a:r>
              <a:rPr lang="en-US" sz="1500" b="1" dirty="0">
                <a:latin typeface="Century Gothic" panose="020B0502020202020204" pitchFamily="34" charset="0"/>
                <a:cs typeface="Times New Roman" panose="02020603050405020304" pitchFamily="18" charset="0"/>
              </a:rPr>
              <a:t>Review of the NPS Law and Regulatory framework</a:t>
            </a:r>
            <a:r>
              <a:rPr lang="en-US" sz="1500" dirty="0">
                <a:latin typeface="Century Gothic" panose="020B0502020202020204" pitchFamily="34" charset="0"/>
                <a:cs typeface="Times New Roman" panose="02020603050405020304" pitchFamily="18" charset="0"/>
              </a:rPr>
              <a:t> to align it </a:t>
            </a:r>
            <a:r>
              <a:rPr lang="en-US" sz="15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with the current developments and emerging realities in the payments sector, domestically and globally.</a:t>
            </a:r>
          </a:p>
          <a:p>
            <a:pPr marL="800100" lvl="1" indent="-342900">
              <a:lnSpc>
                <a:spcPct val="150000"/>
              </a:lnSpc>
              <a:buFont typeface="Wingdings" panose="05000000000000000000" pitchFamily="2" charset="2"/>
              <a:buChar char="v"/>
            </a:pPr>
            <a:r>
              <a:rPr lang="en-US" sz="1500" b="1" dirty="0">
                <a:latin typeface="Century Gothic" panose="020B0502020202020204" pitchFamily="34" charset="0"/>
                <a:cs typeface="Times New Roman" panose="02020603050405020304" pitchFamily="18" charset="0"/>
              </a:rPr>
              <a:t>Implementation of Interoperable Fast Payment System</a:t>
            </a:r>
            <a:r>
              <a:rPr lang="en-US" sz="1500" dirty="0">
                <a:solidFill>
                  <a:schemeClr val="bg1"/>
                </a:solidFill>
                <a:latin typeface="Century Gothic" panose="020B0502020202020204" pitchFamily="34" charset="0"/>
                <a:cs typeface="Times New Roman" panose="02020603050405020304" pitchFamily="18" charset="0"/>
              </a:rPr>
              <a:t>: </a:t>
            </a:r>
            <a:r>
              <a:rPr lang="en-US" sz="1500" dirty="0">
                <a:solidFill>
                  <a:srgbClr val="000000"/>
                </a:solidFill>
                <a:latin typeface="Century Gothic" panose="020B0502020202020204" pitchFamily="34" charset="0"/>
                <a:cs typeface="Times New Roman" panose="02020603050405020304" pitchFamily="18" charset="0"/>
              </a:rPr>
              <a:t>CBK is currently coordinating the implementation of an industry-wide interoperability through the implementation of national fast payment system (national switch) for all retail payments in Kenya.</a:t>
            </a:r>
          </a:p>
          <a:p>
            <a:pPr marL="800100" lvl="1" indent="-342900">
              <a:lnSpc>
                <a:spcPct val="150000"/>
              </a:lnSpc>
              <a:buFont typeface="Wingdings" panose="05000000000000000000" pitchFamily="2" charset="2"/>
              <a:buChar char="v"/>
            </a:pPr>
            <a:r>
              <a:rPr lang="en-US" sz="1500" b="1" dirty="0">
                <a:latin typeface="Century Gothic" panose="020B0502020202020204" pitchFamily="34" charset="0"/>
                <a:cs typeface="Times New Roman" panose="02020603050405020304" pitchFamily="18" charset="0"/>
              </a:rPr>
              <a:t>Review of KEPSS Operational Framework </a:t>
            </a:r>
            <a:r>
              <a:rPr lang="en-US" sz="1500" dirty="0">
                <a:solidFill>
                  <a:srgbClr val="000000"/>
                </a:solidFill>
                <a:latin typeface="Century Gothic" panose="020B0502020202020204" pitchFamily="34" charset="0"/>
                <a:cs typeface="Times New Roman" panose="02020603050405020304" pitchFamily="18" charset="0"/>
              </a:rPr>
              <a:t> Extension of KEPSS operating hours to 7am –to- 7pm(implemented) and progressing towards 24/7 and onboarding of Non-bank FSPs.</a:t>
            </a:r>
          </a:p>
          <a:p>
            <a:pPr marL="800100" lvl="1" indent="-342900">
              <a:lnSpc>
                <a:spcPct val="150000"/>
              </a:lnSpc>
              <a:buFont typeface="Wingdings" panose="05000000000000000000" pitchFamily="2" charset="2"/>
              <a:buChar char="v"/>
            </a:pPr>
            <a:r>
              <a:rPr lang="en-US" sz="1500" dirty="0">
                <a:latin typeface="Century Gothic" panose="020B0502020202020204" pitchFamily="34" charset="0"/>
                <a:cs typeface="Times New Roman" panose="02020603050405020304" pitchFamily="18" charset="0"/>
              </a:rPr>
              <a:t> </a:t>
            </a:r>
            <a:r>
              <a:rPr lang="en-US" sz="1500" b="1" dirty="0">
                <a:latin typeface="Century Gothic" panose="020B0502020202020204" pitchFamily="34" charset="0"/>
                <a:cs typeface="Times New Roman" panose="02020603050405020304" pitchFamily="18" charset="0"/>
              </a:rPr>
              <a:t>Implementation of VPN </a:t>
            </a:r>
            <a:r>
              <a:rPr lang="en-US" sz="1500" dirty="0">
                <a:solidFill>
                  <a:srgbClr val="000000"/>
                </a:solidFill>
                <a:latin typeface="Century Gothic" panose="020B0502020202020204" pitchFamily="34" charset="0"/>
                <a:cs typeface="Times New Roman" panose="02020603050405020304" pitchFamily="18" charset="0"/>
              </a:rPr>
              <a:t>De-risking of the national payment system large value payment system (RTGS) through implementation of a Virtual Private Network.</a:t>
            </a:r>
          </a:p>
          <a:p>
            <a:pPr marL="233206" indent="-233206">
              <a:lnSpc>
                <a:spcPct val="100000"/>
              </a:lnSpc>
              <a:buFont typeface="Arial" panose="020B0604020202020204" pitchFamily="34" charset="0"/>
              <a:buChar char="•"/>
            </a:pPr>
            <a:endParaRPr lang="en-US" sz="1400" dirty="0">
              <a:latin typeface="Century Gothic" panose="020B0502020202020204" pitchFamily="34" charset="0"/>
              <a:cs typeface="Times New Roman" panose="02020603050405020304" pitchFamily="18" charset="0"/>
            </a:endParaRPr>
          </a:p>
          <a:p>
            <a:pPr marL="233206" indent="-233206">
              <a:lnSpc>
                <a:spcPct val="100000"/>
              </a:lnSpc>
              <a:buFont typeface="Arial" panose="020B0604020202020204" pitchFamily="34" charset="0"/>
              <a:buChar char="•"/>
            </a:pPr>
            <a:endParaRPr lang="en-US" sz="1500" dirty="0">
              <a:latin typeface="Century Gothic" panose="020B0502020202020204" pitchFamily="34" charset="0"/>
              <a:cs typeface="Times New Roman" panose="02020603050405020304" pitchFamily="18" charset="0"/>
            </a:endParaRPr>
          </a:p>
          <a:p>
            <a:pPr marL="233206" indent="-233206">
              <a:lnSpc>
                <a:spcPct val="100000"/>
              </a:lnSpc>
              <a:buFont typeface="Arial" panose="020B0604020202020204" pitchFamily="34" charset="0"/>
              <a:buChar char="•"/>
            </a:pPr>
            <a:endParaRPr lang="en-US" sz="1800" dirty="0">
              <a:latin typeface="Century Gothic" panose="020B0502020202020204" pitchFamily="34" charset="0"/>
              <a:cs typeface="Times New Roman" panose="02020603050405020304" pitchFamily="18" charset="0"/>
            </a:endParaRPr>
          </a:p>
          <a:p>
            <a:pPr marL="233206" indent="-233206">
              <a:buFont typeface="Arial" panose="020B0604020202020204" pitchFamily="34" charset="0"/>
              <a:buChar char="•"/>
            </a:pPr>
            <a:endParaRPr lang="en-US" sz="1700" dirty="0">
              <a:solidFill>
                <a:srgbClr val="000000"/>
              </a:solidFill>
              <a:latin typeface="Century Gothic" panose="020B0502020202020204" pitchFamily="34" charset="0"/>
              <a:cs typeface="Times New Roman" panose="02020603050405020304" pitchFamily="18" charset="0"/>
            </a:endParaRPr>
          </a:p>
        </p:txBody>
      </p:sp>
      <p:sp>
        <p:nvSpPr>
          <p:cNvPr id="5" name="Title 10">
            <a:extLst>
              <a:ext uri="{FF2B5EF4-FFF2-40B4-BE49-F238E27FC236}">
                <a16:creationId xmlns:a16="http://schemas.microsoft.com/office/drawing/2014/main" id="{4CC22C2F-7671-5144-50CF-8DFC692C431C}"/>
              </a:ext>
            </a:extLst>
          </p:cNvPr>
          <p:cNvSpPr txBox="1">
            <a:spLocks/>
          </p:cNvSpPr>
          <p:nvPr/>
        </p:nvSpPr>
        <p:spPr>
          <a:xfrm>
            <a:off x="-25940" y="-43379"/>
            <a:ext cx="642467"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41.</a:t>
            </a:r>
          </a:p>
        </p:txBody>
      </p:sp>
      <p:pic>
        <p:nvPicPr>
          <p:cNvPr id="6" name="Picture 5">
            <a:extLst>
              <a:ext uri="{FF2B5EF4-FFF2-40B4-BE49-F238E27FC236}">
                <a16:creationId xmlns:a16="http://schemas.microsoft.com/office/drawing/2014/main" id="{B193AA5A-7E9C-C3F2-69A9-C5973D07CC0C}"/>
              </a:ext>
            </a:extLst>
          </p:cNvPr>
          <p:cNvPicPr>
            <a:picLocks noChangeAspect="1"/>
          </p:cNvPicPr>
          <p:nvPr/>
        </p:nvPicPr>
        <p:blipFill>
          <a:blip r:embed="rId3"/>
          <a:stretch>
            <a:fillRect/>
          </a:stretch>
        </p:blipFill>
        <p:spPr>
          <a:xfrm>
            <a:off x="8637754" y="-37224"/>
            <a:ext cx="506245" cy="400096"/>
          </a:xfrm>
          <a:prstGeom prst="rect">
            <a:avLst/>
          </a:prstGeom>
        </p:spPr>
      </p:pic>
      <p:cxnSp>
        <p:nvCxnSpPr>
          <p:cNvPr id="4" name="Straight Connector 3">
            <a:extLst>
              <a:ext uri="{FF2B5EF4-FFF2-40B4-BE49-F238E27FC236}">
                <a16:creationId xmlns:a16="http://schemas.microsoft.com/office/drawing/2014/main" id="{14B8BCD8-BFB4-98E3-A1AF-B31B1FEB6D2F}"/>
              </a:ext>
            </a:extLst>
          </p:cNvPr>
          <p:cNvCxnSpPr>
            <a:cxnSpLocks/>
          </p:cNvCxnSpPr>
          <p:nvPr/>
        </p:nvCxnSpPr>
        <p:spPr>
          <a:xfrm>
            <a:off x="0" y="388848"/>
            <a:ext cx="9144000"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1715731735"/>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AB0B1-55A5-599E-7E3D-25A590AD96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A63139-971E-B794-2490-1FDE2D00EDAE}"/>
              </a:ext>
            </a:extLst>
          </p:cNvPr>
          <p:cNvSpPr>
            <a:spLocks noGrp="1"/>
          </p:cNvSpPr>
          <p:nvPr>
            <p:ph type="title"/>
          </p:nvPr>
        </p:nvSpPr>
        <p:spPr>
          <a:xfrm>
            <a:off x="616527" y="56855"/>
            <a:ext cx="7688323" cy="293047"/>
          </a:xfrm>
        </p:spPr>
        <p:txBody>
          <a:bodyPr/>
          <a:lstStyle/>
          <a:p>
            <a:pPr algn="ctr"/>
            <a:r>
              <a:rPr lang="en-US" sz="2400" dirty="0">
                <a:solidFill>
                  <a:schemeClr val="tx1"/>
                </a:solidFill>
                <a:latin typeface="Century Gothic" panose="020B0502020202020204" pitchFamily="34" charset="0"/>
                <a:cs typeface="Times New Roman" panose="02020603050405020304" pitchFamily="18" charset="0"/>
              </a:rPr>
              <a:t>Policy Initiatives to Enhance Payment Services</a:t>
            </a:r>
            <a:endParaRPr lang="en-US" sz="2000" dirty="0">
              <a:solidFill>
                <a:schemeClr val="tx1"/>
              </a:solidFill>
              <a:latin typeface="Century Gothic" panose="020B0502020202020204" pitchFamily="34" charset="0"/>
            </a:endParaRPr>
          </a:p>
        </p:txBody>
      </p:sp>
      <p:sp>
        <p:nvSpPr>
          <p:cNvPr id="3" name="Text Placeholder 2">
            <a:extLst>
              <a:ext uri="{FF2B5EF4-FFF2-40B4-BE49-F238E27FC236}">
                <a16:creationId xmlns:a16="http://schemas.microsoft.com/office/drawing/2014/main" id="{8B187CFD-33DC-D5C1-4356-E896AE372693}"/>
              </a:ext>
            </a:extLst>
          </p:cNvPr>
          <p:cNvSpPr>
            <a:spLocks noGrp="1"/>
          </p:cNvSpPr>
          <p:nvPr>
            <p:ph type="body" idx="1"/>
          </p:nvPr>
        </p:nvSpPr>
        <p:spPr>
          <a:xfrm>
            <a:off x="144179" y="750917"/>
            <a:ext cx="8887691" cy="4244938"/>
          </a:xfrm>
        </p:spPr>
        <p:txBody>
          <a:bodyPr/>
          <a:lstStyle/>
          <a:p>
            <a:pPr marL="800100" lvl="1" indent="-342900">
              <a:lnSpc>
                <a:spcPct val="150000"/>
              </a:lnSpc>
              <a:buFont typeface="Wingdings" panose="05000000000000000000" pitchFamily="2" charset="2"/>
              <a:buChar char="v"/>
            </a:pPr>
            <a:r>
              <a:rPr lang="en-US" sz="1500" b="1" dirty="0">
                <a:latin typeface="Century Gothic" panose="020B0502020202020204" pitchFamily="34" charset="0"/>
                <a:cs typeface="Times New Roman" panose="02020603050405020304" pitchFamily="18" charset="0"/>
              </a:rPr>
              <a:t>Conduct enhanced and more frequent on-site inspections</a:t>
            </a:r>
            <a:r>
              <a:rPr lang="en-US" sz="1500" dirty="0">
                <a:latin typeface="Century Gothic" panose="020B0502020202020204" pitchFamily="34" charset="0"/>
                <a:cs typeface="Times New Roman" panose="02020603050405020304" pitchFamily="18" charset="0"/>
              </a:rPr>
              <a:t> on institutions, including improving the risk-based AML framework.</a:t>
            </a:r>
          </a:p>
          <a:p>
            <a:pPr marL="800100" lvl="1" indent="-342900">
              <a:lnSpc>
                <a:spcPct val="150000"/>
              </a:lnSpc>
              <a:buFont typeface="Wingdings" panose="05000000000000000000" pitchFamily="2" charset="2"/>
              <a:buChar char="v"/>
            </a:pPr>
            <a:r>
              <a:rPr lang="en-US" sz="1400" b="1" dirty="0">
                <a:latin typeface="Century Gothic" panose="020B0502020202020204" pitchFamily="34" charset="0"/>
                <a:cs typeface="Times New Roman" panose="02020603050405020304" pitchFamily="18" charset="0"/>
              </a:rPr>
              <a:t>Development a consumer protection framework ongoing </a:t>
            </a:r>
            <a:r>
              <a:rPr lang="en-US" sz="1400" dirty="0">
                <a:latin typeface="Century Gothic" panose="020B0502020202020204" pitchFamily="34" charset="0"/>
                <a:cs typeface="Times New Roman" panose="02020603050405020304" pitchFamily="18" charset="0"/>
              </a:rPr>
              <a:t>to safeguard the consumers against exploitations and to fast-track consumer complaint handling. </a:t>
            </a:r>
          </a:p>
          <a:p>
            <a:pPr marL="800100" lvl="1" indent="-342900">
              <a:lnSpc>
                <a:spcPct val="150000"/>
              </a:lnSpc>
              <a:buFont typeface="Wingdings" panose="05000000000000000000" pitchFamily="2" charset="2"/>
              <a:buChar char="v"/>
            </a:pPr>
            <a:r>
              <a:rPr lang="en-US" sz="1400" b="1" dirty="0">
                <a:latin typeface="Century Gothic" panose="020B0502020202020204" pitchFamily="34" charset="0"/>
                <a:cs typeface="Times New Roman" panose="02020603050405020304" pitchFamily="18" charset="0"/>
              </a:rPr>
              <a:t>Conduct targeted industry engagements</a:t>
            </a:r>
            <a:r>
              <a:rPr lang="en-US" sz="1400" dirty="0">
                <a:latin typeface="Century Gothic" panose="020B0502020202020204" pitchFamily="34" charset="0"/>
                <a:cs typeface="Times New Roman" panose="02020603050405020304" pitchFamily="18" charset="0"/>
              </a:rPr>
              <a:t>/capacity building programs on cyber-security, AML/CFT/CPF, data protection and governance as focus areas.</a:t>
            </a:r>
          </a:p>
          <a:p>
            <a:pPr marL="800100" lvl="1" indent="-342900">
              <a:lnSpc>
                <a:spcPct val="150000"/>
              </a:lnSpc>
              <a:buFont typeface="Wingdings" panose="05000000000000000000" pitchFamily="2" charset="2"/>
              <a:buChar char="v"/>
            </a:pPr>
            <a:r>
              <a:rPr lang="en-US" sz="1400" b="1" dirty="0">
                <a:latin typeface="Century Gothic" panose="020B0502020202020204" pitchFamily="34" charset="0"/>
                <a:cs typeface="Times New Roman" panose="02020603050405020304" pitchFamily="18" charset="0"/>
              </a:rPr>
              <a:t>Implementation of Granular Data Integration (GDI)</a:t>
            </a:r>
            <a:r>
              <a:rPr lang="en-US" sz="1400" dirty="0">
                <a:latin typeface="Century Gothic" panose="020B0502020202020204" pitchFamily="34" charset="0"/>
                <a:cs typeface="Times New Roman" panose="02020603050405020304" pitchFamily="18" charset="0"/>
              </a:rPr>
              <a:t> project to collect granular data to support policy and oversight of payment systems.</a:t>
            </a:r>
          </a:p>
          <a:p>
            <a:pPr marL="800100" lvl="1" indent="-342900">
              <a:lnSpc>
                <a:spcPct val="110000"/>
              </a:lnSpc>
              <a:buFont typeface="Wingdings" panose="05000000000000000000" pitchFamily="2" charset="2"/>
              <a:buChar char="v"/>
            </a:pPr>
            <a:r>
              <a:rPr lang="en-US" sz="1400" b="1" dirty="0">
                <a:latin typeface="Century Gothic" panose="020B0502020202020204" pitchFamily="34" charset="0"/>
                <a:cs typeface="Times New Roman" panose="02020603050405020304" pitchFamily="18" charset="0"/>
              </a:rPr>
              <a:t>The EAC Masterplan </a:t>
            </a:r>
            <a:r>
              <a:rPr lang="en-US" sz="1400" dirty="0">
                <a:latin typeface="Century Gothic" panose="020B0502020202020204" pitchFamily="34" charset="0"/>
                <a:cs typeface="Times New Roman" panose="02020603050405020304" pitchFamily="18" charset="0"/>
              </a:rPr>
              <a:t>is a five-year strategic framework with 20 initiatives implemented in short (1-2 years), medium (3-5 years), and long-term (beyond 5 years) phases. It is built on four pillars: Governance &amp; regulatory framework, Infrastructure, Inclusivity, and Capacity building. Success will be  measured by faster transactions, lower costs, greater accessibility, and improved transparency in EAC cross-border payments.</a:t>
            </a:r>
            <a:endParaRPr lang="en-US" sz="1700" dirty="0">
              <a:solidFill>
                <a:srgbClr val="000000"/>
              </a:solidFill>
              <a:latin typeface="Century Gothic" panose="020B0502020202020204" pitchFamily="34" charset="0"/>
              <a:cs typeface="Times New Roman" panose="02020603050405020304" pitchFamily="18" charset="0"/>
            </a:endParaRPr>
          </a:p>
        </p:txBody>
      </p:sp>
      <p:sp>
        <p:nvSpPr>
          <p:cNvPr id="5" name="Title 10">
            <a:extLst>
              <a:ext uri="{FF2B5EF4-FFF2-40B4-BE49-F238E27FC236}">
                <a16:creationId xmlns:a16="http://schemas.microsoft.com/office/drawing/2014/main" id="{870D4B67-E91A-AA10-3A0F-023F7BE91474}"/>
              </a:ext>
            </a:extLst>
          </p:cNvPr>
          <p:cNvSpPr txBox="1">
            <a:spLocks/>
          </p:cNvSpPr>
          <p:nvPr/>
        </p:nvSpPr>
        <p:spPr>
          <a:xfrm>
            <a:off x="0" y="-62834"/>
            <a:ext cx="681644"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43.</a:t>
            </a:r>
          </a:p>
        </p:txBody>
      </p:sp>
      <p:pic>
        <p:nvPicPr>
          <p:cNvPr id="6" name="Picture 5">
            <a:extLst>
              <a:ext uri="{FF2B5EF4-FFF2-40B4-BE49-F238E27FC236}">
                <a16:creationId xmlns:a16="http://schemas.microsoft.com/office/drawing/2014/main" id="{1A3340D7-1F20-4DEA-6024-EE24661556CF}"/>
              </a:ext>
            </a:extLst>
          </p:cNvPr>
          <p:cNvPicPr>
            <a:picLocks noChangeAspect="1"/>
          </p:cNvPicPr>
          <p:nvPr/>
        </p:nvPicPr>
        <p:blipFill>
          <a:blip r:embed="rId3"/>
          <a:stretch>
            <a:fillRect/>
          </a:stretch>
        </p:blipFill>
        <p:spPr>
          <a:xfrm>
            <a:off x="8527473" y="-82153"/>
            <a:ext cx="612327" cy="483936"/>
          </a:xfrm>
          <a:prstGeom prst="rect">
            <a:avLst/>
          </a:prstGeom>
        </p:spPr>
      </p:pic>
      <p:cxnSp>
        <p:nvCxnSpPr>
          <p:cNvPr id="4" name="Straight Connector 3">
            <a:extLst>
              <a:ext uri="{FF2B5EF4-FFF2-40B4-BE49-F238E27FC236}">
                <a16:creationId xmlns:a16="http://schemas.microsoft.com/office/drawing/2014/main" id="{32316181-F8E8-28EB-6394-4E990A72F315}"/>
              </a:ext>
            </a:extLst>
          </p:cNvPr>
          <p:cNvCxnSpPr>
            <a:cxnSpLocks/>
          </p:cNvCxnSpPr>
          <p:nvPr/>
        </p:nvCxnSpPr>
        <p:spPr>
          <a:xfrm>
            <a:off x="0" y="401818"/>
            <a:ext cx="9139801"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3898877556"/>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4D4D2-1D6E-A447-4AAC-3BBB76A3D5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F3221D-D0AB-1FD2-35CE-9B34C85B5BB6}"/>
              </a:ext>
            </a:extLst>
          </p:cNvPr>
          <p:cNvSpPr>
            <a:spLocks noGrp="1"/>
          </p:cNvSpPr>
          <p:nvPr>
            <p:ph type="title"/>
          </p:nvPr>
        </p:nvSpPr>
        <p:spPr>
          <a:xfrm>
            <a:off x="839150" y="43885"/>
            <a:ext cx="7238050" cy="293047"/>
          </a:xfrm>
        </p:spPr>
        <p:txBody>
          <a:bodyPr/>
          <a:lstStyle/>
          <a:p>
            <a:pPr algn="ctr"/>
            <a:r>
              <a:rPr lang="en-US" sz="2400" dirty="0">
                <a:solidFill>
                  <a:schemeClr val="tx1"/>
                </a:solidFill>
                <a:latin typeface="Century Gothic" panose="020B0502020202020204" pitchFamily="34" charset="0"/>
                <a:cs typeface="Times New Roman" panose="02020603050405020304" pitchFamily="18" charset="0"/>
              </a:rPr>
              <a:t>Policy Initiatives to Enhance Payments Services</a:t>
            </a:r>
            <a:endParaRPr lang="en-US" sz="2000" dirty="0">
              <a:solidFill>
                <a:schemeClr val="tx1"/>
              </a:solidFill>
              <a:latin typeface="Century Gothic" panose="020B0502020202020204" pitchFamily="34" charset="0"/>
            </a:endParaRPr>
          </a:p>
        </p:txBody>
      </p:sp>
      <p:sp>
        <p:nvSpPr>
          <p:cNvPr id="3" name="Text Placeholder 2">
            <a:extLst>
              <a:ext uri="{FF2B5EF4-FFF2-40B4-BE49-F238E27FC236}">
                <a16:creationId xmlns:a16="http://schemas.microsoft.com/office/drawing/2014/main" id="{F22F1581-EF6A-19DE-2A62-E7FB31E94504}"/>
              </a:ext>
            </a:extLst>
          </p:cNvPr>
          <p:cNvSpPr>
            <a:spLocks noGrp="1"/>
          </p:cNvSpPr>
          <p:nvPr>
            <p:ph type="body" idx="1"/>
          </p:nvPr>
        </p:nvSpPr>
        <p:spPr>
          <a:xfrm>
            <a:off x="108019" y="744416"/>
            <a:ext cx="8927961" cy="4399084"/>
          </a:xfrm>
        </p:spPr>
        <p:txBody>
          <a:bodyPr/>
          <a:lstStyle/>
          <a:p>
            <a:pPr marL="742950" lvl="1" indent="-285750">
              <a:lnSpc>
                <a:spcPct val="150000"/>
              </a:lnSpc>
              <a:buFont typeface="Wingdings" panose="05000000000000000000" pitchFamily="2" charset="2"/>
              <a:buChar char="v"/>
            </a:pPr>
            <a:r>
              <a:rPr lang="en-US" sz="1350" dirty="0">
                <a:latin typeface="Century Gothic" panose="020B0502020202020204" pitchFamily="34" charset="0"/>
                <a:cs typeface="Times New Roman" panose="02020603050405020304" pitchFamily="18" charset="0"/>
              </a:rPr>
              <a:t>Finalizing a </a:t>
            </a:r>
            <a:r>
              <a:rPr lang="en-US" sz="1350" b="1" dirty="0">
                <a:latin typeface="Century Gothic" panose="020B0502020202020204" pitchFamily="34" charset="0"/>
                <a:cs typeface="Times New Roman" panose="02020603050405020304" pitchFamily="18" charset="0"/>
              </a:rPr>
              <a:t>framework to regulate and supervise Virtual Assets </a:t>
            </a:r>
            <a:r>
              <a:rPr lang="en-US" sz="1350" dirty="0">
                <a:latin typeface="Century Gothic" panose="020B0502020202020204" pitchFamily="34" charset="0"/>
                <a:cs typeface="Times New Roman" panose="02020603050405020304" pitchFamily="18" charset="0"/>
              </a:rPr>
              <a:t>and Virtual Asset service Providers (VASP)</a:t>
            </a:r>
          </a:p>
          <a:p>
            <a:pPr marL="742950" lvl="1" indent="-285750">
              <a:lnSpc>
                <a:spcPct val="150000"/>
              </a:lnSpc>
              <a:buFont typeface="Wingdings" panose="05000000000000000000" pitchFamily="2" charset="2"/>
              <a:buChar char="v"/>
            </a:pPr>
            <a:r>
              <a:rPr lang="en-US" sz="1350" b="1" dirty="0">
                <a:latin typeface="Century Gothic" panose="020B0502020202020204" pitchFamily="34" charset="0"/>
                <a:cs typeface="Times New Roman" panose="02020603050405020304" pitchFamily="18" charset="0"/>
              </a:rPr>
              <a:t>Enhance existing</a:t>
            </a:r>
            <a:r>
              <a:rPr lang="en-US" sz="1350" dirty="0">
                <a:latin typeface="Century Gothic" panose="020B0502020202020204" pitchFamily="34" charset="0"/>
                <a:cs typeface="Times New Roman" panose="02020603050405020304" pitchFamily="18" charset="0"/>
              </a:rPr>
              <a:t> </a:t>
            </a:r>
            <a:r>
              <a:rPr lang="en-US" sz="1350" b="1" dirty="0">
                <a:latin typeface="Century Gothic" panose="020B0502020202020204" pitchFamily="34" charset="0"/>
                <a:cs typeface="Times New Roman" panose="02020603050405020304" pitchFamily="18" charset="0"/>
              </a:rPr>
              <a:t>MOUs</a:t>
            </a:r>
            <a:r>
              <a:rPr lang="en-US" sz="1350" dirty="0">
                <a:latin typeface="Century Gothic" panose="020B0502020202020204" pitchFamily="34" charset="0"/>
                <a:cs typeface="Times New Roman" panose="02020603050405020304" pitchFamily="18" charset="0"/>
              </a:rPr>
              <a:t> </a:t>
            </a:r>
            <a:r>
              <a:rPr lang="en-US" sz="1350" b="1" dirty="0">
                <a:latin typeface="Century Gothic" panose="020B0502020202020204" pitchFamily="34" charset="0"/>
                <a:cs typeface="Times New Roman" panose="02020603050405020304" pitchFamily="18" charset="0"/>
              </a:rPr>
              <a:t>with existing and new regulators </a:t>
            </a:r>
            <a:r>
              <a:rPr lang="en-US" sz="1350" dirty="0">
                <a:latin typeface="Century Gothic" panose="020B0502020202020204" pitchFamily="34" charset="0"/>
                <a:cs typeface="Times New Roman" panose="02020603050405020304" pitchFamily="18" charset="0"/>
              </a:rPr>
              <a:t>e.g. The Office of the Data Protection Commissioner, Financial Reporting Centre (FRC), Communications Authority (CA), Capital Markets Authority (CMA), Insurance Regulatory Authority (IRA), SASRA, etc. to devise a common approach in supervision of AML/CFT/CPF.</a:t>
            </a:r>
          </a:p>
          <a:p>
            <a:pPr marL="742950" lvl="1" indent="-285750">
              <a:lnSpc>
                <a:spcPct val="150000"/>
              </a:lnSpc>
              <a:buFont typeface="Wingdings" panose="05000000000000000000" pitchFamily="2" charset="2"/>
              <a:buChar char="v"/>
            </a:pPr>
            <a:r>
              <a:rPr lang="en-US" sz="1350" dirty="0">
                <a:latin typeface="Century Gothic" panose="020B0502020202020204" pitchFamily="34" charset="0"/>
              </a:rPr>
              <a:t>Development of </a:t>
            </a:r>
            <a:r>
              <a:rPr lang="en-US" sz="1350" b="1" dirty="0">
                <a:latin typeface="Century Gothic" panose="020B0502020202020204" pitchFamily="34" charset="0"/>
              </a:rPr>
              <a:t>Cross-border payments tracking framework </a:t>
            </a:r>
            <a:r>
              <a:rPr lang="en-US" sz="1350" dirty="0">
                <a:latin typeface="Century Gothic" panose="020B0502020202020204" pitchFamily="34" charset="0"/>
              </a:rPr>
              <a:t>to align with the Financial Stability Board (FSB) /G20 Roadmap for Enhancing Cross-border Payments to aid in overcoming the </a:t>
            </a:r>
            <a:r>
              <a:rPr lang="en-US" sz="1350" dirty="0">
                <a:latin typeface="Century Gothic" panose="020B0502020202020204" pitchFamily="34" charset="0"/>
                <a:ea typeface="Times New Roman" panose="02020603050405020304" pitchFamily="18" charset="0"/>
              </a:rPr>
              <a:t>challenges of </a:t>
            </a:r>
            <a:r>
              <a:rPr lang="en-US" sz="1350" b="1" dirty="0">
                <a:latin typeface="Century Gothic" panose="020B0502020202020204" pitchFamily="34" charset="0"/>
                <a:ea typeface="Times New Roman" panose="02020603050405020304" pitchFamily="18" charset="0"/>
              </a:rPr>
              <a:t>High Cost, Low Speed, Limited Access, Insufficient Transparency</a:t>
            </a:r>
            <a:endParaRPr lang="en-US" sz="1350" dirty="0">
              <a:latin typeface="Century Gothic" panose="020B0502020202020204" pitchFamily="34" charset="0"/>
              <a:cs typeface="Times New Roman" panose="02020603050405020304" pitchFamily="18" charset="0"/>
            </a:endParaRPr>
          </a:p>
          <a:p>
            <a:pPr marL="742950" lvl="1" indent="-285750">
              <a:lnSpc>
                <a:spcPct val="150000"/>
              </a:lnSpc>
              <a:buFont typeface="Wingdings" panose="05000000000000000000" pitchFamily="2" charset="2"/>
              <a:buChar char="v"/>
            </a:pPr>
            <a:r>
              <a:rPr lang="en-US" sz="1350" dirty="0">
                <a:latin typeface="Century Gothic" panose="020B0502020202020204" pitchFamily="34" charset="0"/>
                <a:ea typeface="Times New Roman" panose="02020603050405020304" pitchFamily="18" charset="0"/>
              </a:rPr>
              <a:t>The </a:t>
            </a:r>
            <a:r>
              <a:rPr lang="en-US" sz="1350" b="1" dirty="0">
                <a:latin typeface="Century Gothic" panose="020B0502020202020204" pitchFamily="34" charset="0"/>
                <a:ea typeface="Times New Roman" panose="02020603050405020304" pitchFamily="18" charset="0"/>
              </a:rPr>
              <a:t>East African Payment System (EAPS)</a:t>
            </a:r>
            <a:r>
              <a:rPr lang="en-US" sz="1350" dirty="0">
                <a:latin typeface="Century Gothic" panose="020B0502020202020204" pitchFamily="34" charset="0"/>
                <a:ea typeface="Times New Roman" panose="02020603050405020304" pitchFamily="18" charset="0"/>
              </a:rPr>
              <a:t> </a:t>
            </a:r>
            <a:r>
              <a:rPr lang="en-US" sz="1350" dirty="0">
                <a:latin typeface="Century Gothic" panose="020B0502020202020204" pitchFamily="34" charset="0"/>
              </a:rPr>
              <a:t>for the East African Community. Settlement is in local currencies (KES, UGZ, TZS and RWF).</a:t>
            </a:r>
            <a:r>
              <a:rPr lang="en-US" sz="1350" dirty="0">
                <a:solidFill>
                  <a:schemeClr val="tx1"/>
                </a:solidFill>
                <a:latin typeface="Century Gothic" panose="020B0502020202020204" pitchFamily="34" charset="0"/>
              </a:rPr>
              <a:t>Upgrading EAPS to EAPS2 (Single shared platform </a:t>
            </a:r>
            <a:r>
              <a:rPr lang="en-US" sz="1350" dirty="0">
                <a:latin typeface="Century Gothic" panose="020B0502020202020204" pitchFamily="34" charset="0"/>
              </a:rPr>
              <a:t>and </a:t>
            </a:r>
            <a:r>
              <a:rPr lang="en-US" sz="1350" dirty="0">
                <a:solidFill>
                  <a:schemeClr val="tx1"/>
                </a:solidFill>
                <a:latin typeface="Century Gothic" panose="020B0502020202020204" pitchFamily="34" charset="0"/>
              </a:rPr>
              <a:t>EAPS Regional Publicity to increase awareness and hence uptake</a:t>
            </a:r>
          </a:p>
          <a:p>
            <a:pPr marL="233206" indent="-233206">
              <a:lnSpc>
                <a:spcPct val="100000"/>
              </a:lnSpc>
              <a:buFont typeface="Arial" panose="020B0604020202020204" pitchFamily="34" charset="0"/>
              <a:buChar char="•"/>
            </a:pPr>
            <a:endParaRPr lang="en-US" sz="1350" dirty="0">
              <a:latin typeface="Century Gothic" panose="020B0502020202020204" pitchFamily="34" charset="0"/>
              <a:cs typeface="Times New Roman" panose="02020603050405020304" pitchFamily="18" charset="0"/>
            </a:endParaRPr>
          </a:p>
          <a:p>
            <a:pPr marL="233206" indent="-233206">
              <a:lnSpc>
                <a:spcPct val="100000"/>
              </a:lnSpc>
              <a:buFont typeface="Arial" panose="020B0604020202020204" pitchFamily="34" charset="0"/>
              <a:buChar char="•"/>
            </a:pPr>
            <a:endParaRPr lang="en-US" sz="1600" dirty="0">
              <a:latin typeface="Century Gothic" panose="020B0502020202020204" pitchFamily="34" charset="0"/>
              <a:cs typeface="Times New Roman" panose="02020603050405020304" pitchFamily="18" charset="0"/>
            </a:endParaRPr>
          </a:p>
          <a:p>
            <a:pPr marL="233206" indent="-233206">
              <a:lnSpc>
                <a:spcPct val="100000"/>
              </a:lnSpc>
              <a:buFont typeface="Arial" panose="020B0604020202020204" pitchFamily="34" charset="0"/>
              <a:buChar char="•"/>
            </a:pPr>
            <a:endParaRPr lang="en-US" sz="1600" dirty="0">
              <a:latin typeface="Century Gothic" panose="020B0502020202020204" pitchFamily="34" charset="0"/>
              <a:cs typeface="Times New Roman" panose="02020603050405020304" pitchFamily="18" charset="0"/>
            </a:endParaRPr>
          </a:p>
        </p:txBody>
      </p:sp>
      <p:sp>
        <p:nvSpPr>
          <p:cNvPr id="5" name="Title 10">
            <a:extLst>
              <a:ext uri="{FF2B5EF4-FFF2-40B4-BE49-F238E27FC236}">
                <a16:creationId xmlns:a16="http://schemas.microsoft.com/office/drawing/2014/main" id="{CA089C64-237B-DB40-E752-04DE4D9221CD}"/>
              </a:ext>
            </a:extLst>
          </p:cNvPr>
          <p:cNvSpPr txBox="1">
            <a:spLocks/>
          </p:cNvSpPr>
          <p:nvPr/>
        </p:nvSpPr>
        <p:spPr>
          <a:xfrm>
            <a:off x="0" y="-62834"/>
            <a:ext cx="681644"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44.</a:t>
            </a:r>
          </a:p>
        </p:txBody>
      </p:sp>
      <p:pic>
        <p:nvPicPr>
          <p:cNvPr id="6" name="Picture 5">
            <a:extLst>
              <a:ext uri="{FF2B5EF4-FFF2-40B4-BE49-F238E27FC236}">
                <a16:creationId xmlns:a16="http://schemas.microsoft.com/office/drawing/2014/main" id="{ED018DFA-7C19-375B-84E1-856263D0269D}"/>
              </a:ext>
            </a:extLst>
          </p:cNvPr>
          <p:cNvPicPr>
            <a:picLocks noChangeAspect="1"/>
          </p:cNvPicPr>
          <p:nvPr/>
        </p:nvPicPr>
        <p:blipFill>
          <a:blip r:embed="rId3"/>
          <a:stretch>
            <a:fillRect/>
          </a:stretch>
        </p:blipFill>
        <p:spPr>
          <a:xfrm>
            <a:off x="8623879" y="-10760"/>
            <a:ext cx="513789" cy="406058"/>
          </a:xfrm>
          <a:prstGeom prst="rect">
            <a:avLst/>
          </a:prstGeom>
        </p:spPr>
      </p:pic>
      <p:cxnSp>
        <p:nvCxnSpPr>
          <p:cNvPr id="4" name="Straight Connector 3">
            <a:extLst>
              <a:ext uri="{FF2B5EF4-FFF2-40B4-BE49-F238E27FC236}">
                <a16:creationId xmlns:a16="http://schemas.microsoft.com/office/drawing/2014/main" id="{30953B9E-CD6D-77BA-4090-22D153EF9470}"/>
              </a:ext>
            </a:extLst>
          </p:cNvPr>
          <p:cNvCxnSpPr>
            <a:cxnSpLocks/>
          </p:cNvCxnSpPr>
          <p:nvPr/>
        </p:nvCxnSpPr>
        <p:spPr>
          <a:xfrm>
            <a:off x="0" y="421273"/>
            <a:ext cx="9137668" cy="0"/>
          </a:xfrm>
          <a:prstGeom prst="line">
            <a:avLst/>
          </a:prstGeom>
          <a:noFill/>
          <a:ln w="19050" cap="flat" cmpd="sng" algn="ctr">
            <a:solidFill>
              <a:srgbClr val="F19D19"/>
            </a:solidFill>
            <a:prstDash val="solid"/>
            <a:miter lim="800000"/>
          </a:ln>
          <a:effectLst/>
        </p:spPr>
      </p:cxnSp>
    </p:spTree>
    <p:extLst>
      <p:ext uri="{BB962C8B-B14F-4D97-AF65-F5344CB8AC3E}">
        <p14:creationId xmlns:p14="http://schemas.microsoft.com/office/powerpoint/2010/main" val="51506498"/>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3F5419FA-5504-5190-094D-447FA2B1B1B7}"/>
              </a:ext>
            </a:extLst>
          </p:cNvPr>
          <p:cNvSpPr txBox="1"/>
          <p:nvPr/>
        </p:nvSpPr>
        <p:spPr>
          <a:xfrm>
            <a:off x="466993" y="934241"/>
            <a:ext cx="7892003" cy="253916"/>
          </a:xfrm>
          <a:prstGeom prst="rect">
            <a:avLst/>
          </a:prstGeom>
          <a:solidFill>
            <a:srgbClr val="FFC000"/>
          </a:solidFill>
        </p:spPr>
        <p:txBody>
          <a:bodyPr wrap="square" rtlCol="0">
            <a:spAutoFit/>
          </a:bodyPr>
          <a:lstStyle/>
          <a:p>
            <a:endParaRPr lang="en-KE" sz="1050" dirty="0"/>
          </a:p>
        </p:txBody>
      </p:sp>
      <p:sp>
        <p:nvSpPr>
          <p:cNvPr id="4" name="Slide Number Placeholder 3">
            <a:extLst>
              <a:ext uri="{FF2B5EF4-FFF2-40B4-BE49-F238E27FC236}">
                <a16:creationId xmlns:a16="http://schemas.microsoft.com/office/drawing/2014/main" id="{7E7A702F-36B9-8602-1F0E-932103BF0DAD}"/>
              </a:ext>
            </a:extLst>
          </p:cNvPr>
          <p:cNvSpPr>
            <a:spLocks noGrp="1"/>
          </p:cNvSpPr>
          <p:nvPr>
            <p:ph type="sldNum" sz="quarter" idx="12"/>
          </p:nvPr>
        </p:nvSpPr>
        <p:spPr>
          <a:xfrm>
            <a:off x="113146" y="6393295"/>
            <a:ext cx="2743200" cy="365125"/>
          </a:xfrm>
          <a:prstGeom prst="rect">
            <a:avLst/>
          </a:prstGeom>
        </p:spPr>
        <p:txBody>
          <a:bodyPr vert="horz" lIns="91440" tIns="45720" rIns="91440" bIns="45720" rtlCol="0" anchor="ctr"/>
          <a:lstStyle>
            <a:defPPr>
              <a:defRPr lang="en-GB"/>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D79DE8D-6589-42C5-8BCD-3D4BE72CFF3B}" type="slidenum">
              <a:rPr lang="en-GB" smtClean="0"/>
              <a:pPr/>
              <a:t>46</a:t>
            </a:fld>
            <a:endParaRPr lang="en-GB"/>
          </a:p>
        </p:txBody>
      </p:sp>
      <p:pic>
        <p:nvPicPr>
          <p:cNvPr id="6" name="Picture 5">
            <a:extLst>
              <a:ext uri="{FF2B5EF4-FFF2-40B4-BE49-F238E27FC236}">
                <a16:creationId xmlns:a16="http://schemas.microsoft.com/office/drawing/2014/main" id="{42655384-FCB0-CEB1-3DA1-F7BE0C4F504C}"/>
              </a:ext>
            </a:extLst>
          </p:cNvPr>
          <p:cNvPicPr>
            <a:picLocks noChangeAspect="1"/>
          </p:cNvPicPr>
          <p:nvPr/>
        </p:nvPicPr>
        <p:blipFill>
          <a:blip r:embed="rId3"/>
          <a:stretch>
            <a:fillRect/>
          </a:stretch>
        </p:blipFill>
        <p:spPr>
          <a:xfrm>
            <a:off x="3657079" y="1395216"/>
            <a:ext cx="4701917" cy="3106178"/>
          </a:xfrm>
          <a:prstGeom prst="rect">
            <a:avLst/>
          </a:prstGeom>
          <a:ln>
            <a:noFill/>
          </a:ln>
          <a:effectLst>
            <a:outerShdw blurRad="292100" dist="139700" dir="2700000" algn="tl" rotWithShape="0">
              <a:srgbClr val="333333">
                <a:alpha val="65000"/>
              </a:srgbClr>
            </a:outerShdw>
          </a:effectLst>
        </p:spPr>
      </p:pic>
      <p:sp>
        <p:nvSpPr>
          <p:cNvPr id="8" name="Title 1">
            <a:extLst>
              <a:ext uri="{FF2B5EF4-FFF2-40B4-BE49-F238E27FC236}">
                <a16:creationId xmlns:a16="http://schemas.microsoft.com/office/drawing/2014/main" id="{AE24FB68-CA8B-EEB5-8BB3-BC97E25299E3}"/>
              </a:ext>
            </a:extLst>
          </p:cNvPr>
          <p:cNvSpPr txBox="1">
            <a:spLocks/>
          </p:cNvSpPr>
          <p:nvPr/>
        </p:nvSpPr>
        <p:spPr>
          <a:xfrm>
            <a:off x="369717" y="113133"/>
            <a:ext cx="8189016" cy="672263"/>
          </a:xfrm>
          <a:prstGeom prst="rect">
            <a:avLst/>
          </a:prstGeom>
          <a:solidFill>
            <a:schemeClr val="accent1">
              <a:lumMod val="20000"/>
              <a:lumOff val="80000"/>
            </a:schemeClr>
          </a:solidFill>
        </p:spPr>
        <p:txBody>
          <a:bodyPr vert="horz" lIns="68580" tIns="34290" rIns="68580" bIns="3429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r>
              <a:rPr lang="en-US" sz="2000" b="1" dirty="0">
                <a:solidFill>
                  <a:schemeClr val="accent2"/>
                </a:solidFill>
                <a:latin typeface="Century Gothic" panose="020B0502020202020204" pitchFamily="34" charset="0"/>
              </a:rPr>
              <a:t>ASANTE</a:t>
            </a:r>
            <a:r>
              <a:rPr lang="en-US" sz="2000" b="1" dirty="0">
                <a:latin typeface="Century Gothic" panose="020B0502020202020204" pitchFamily="34" charset="0"/>
              </a:rPr>
              <a:t> (THANK YOU)</a:t>
            </a:r>
            <a:endParaRPr lang="en-KE" sz="2000" b="1" dirty="0">
              <a:latin typeface="Century Gothic" panose="020B0502020202020204" pitchFamily="34" charset="0"/>
            </a:endParaRPr>
          </a:p>
        </p:txBody>
      </p:sp>
      <p:pic>
        <p:nvPicPr>
          <p:cNvPr id="9" name="Picture 8">
            <a:extLst>
              <a:ext uri="{FF2B5EF4-FFF2-40B4-BE49-F238E27FC236}">
                <a16:creationId xmlns:a16="http://schemas.microsoft.com/office/drawing/2014/main" id="{812B71F0-DBC7-2501-C270-BE4DF803EFFE}"/>
              </a:ext>
            </a:extLst>
          </p:cNvPr>
          <p:cNvPicPr>
            <a:picLocks noChangeAspect="1"/>
          </p:cNvPicPr>
          <p:nvPr/>
        </p:nvPicPr>
        <p:blipFill>
          <a:blip r:embed="rId4"/>
          <a:stretch>
            <a:fillRect/>
          </a:stretch>
        </p:blipFill>
        <p:spPr>
          <a:xfrm>
            <a:off x="466993" y="1395215"/>
            <a:ext cx="2987057" cy="3106179"/>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AD3F331-E07D-00AA-B37E-8F137E4A0DCB}"/>
              </a:ext>
            </a:extLst>
          </p:cNvPr>
          <p:cNvSpPr txBox="1"/>
          <p:nvPr/>
        </p:nvSpPr>
        <p:spPr>
          <a:xfrm>
            <a:off x="3561347" y="4627607"/>
            <a:ext cx="5582653" cy="253916"/>
          </a:xfrm>
          <a:prstGeom prst="rect">
            <a:avLst/>
          </a:prstGeom>
          <a:noFill/>
        </p:spPr>
        <p:txBody>
          <a:bodyPr wrap="square" rtlCol="0">
            <a:spAutoFit/>
          </a:bodyPr>
          <a:lstStyle/>
          <a:p>
            <a:r>
              <a:rPr lang="en-US" sz="1050" dirty="0">
                <a:latin typeface="Century Gothic" panose="020B0502020202020204" pitchFamily="34" charset="0"/>
              </a:rPr>
              <a:t>The famous wildebeest migration – crossing the crocodile infested Masai Mara river</a:t>
            </a:r>
            <a:endParaRPr lang="en-KE" sz="1050" dirty="0">
              <a:latin typeface="Century Gothic" panose="020B0502020202020204" pitchFamily="34" charset="0"/>
            </a:endParaRPr>
          </a:p>
        </p:txBody>
      </p:sp>
      <p:sp>
        <p:nvSpPr>
          <p:cNvPr id="25" name="TextBox 24">
            <a:extLst>
              <a:ext uri="{FF2B5EF4-FFF2-40B4-BE49-F238E27FC236}">
                <a16:creationId xmlns:a16="http://schemas.microsoft.com/office/drawing/2014/main" id="{DBDE24BB-8E80-183F-1620-A5489B7BBC4C}"/>
              </a:ext>
            </a:extLst>
          </p:cNvPr>
          <p:cNvSpPr txBox="1"/>
          <p:nvPr/>
        </p:nvSpPr>
        <p:spPr>
          <a:xfrm>
            <a:off x="466993" y="4708452"/>
            <a:ext cx="2832354" cy="246221"/>
          </a:xfrm>
          <a:prstGeom prst="rect">
            <a:avLst/>
          </a:prstGeom>
          <a:noFill/>
        </p:spPr>
        <p:txBody>
          <a:bodyPr wrap="square" rtlCol="0">
            <a:spAutoFit/>
          </a:bodyPr>
          <a:lstStyle/>
          <a:p>
            <a:r>
              <a:rPr lang="en-US" sz="1000" u="sng" dirty="0">
                <a:latin typeface="Century Gothic" panose="020B0502020202020204" pitchFamily="34" charset="0"/>
              </a:rPr>
              <a:t>All rights to the pictures acknowledged </a:t>
            </a:r>
            <a:endParaRPr lang="en-KE" sz="1000" u="sng" dirty="0">
              <a:latin typeface="Century Gothic" panose="020B0502020202020204" pitchFamily="34" charset="0"/>
            </a:endParaRPr>
          </a:p>
        </p:txBody>
      </p:sp>
      <p:pic>
        <p:nvPicPr>
          <p:cNvPr id="2" name="Picture 1">
            <a:extLst>
              <a:ext uri="{FF2B5EF4-FFF2-40B4-BE49-F238E27FC236}">
                <a16:creationId xmlns:a16="http://schemas.microsoft.com/office/drawing/2014/main" id="{888BDD7B-9FE0-A017-B976-071FB1D86C97}"/>
              </a:ext>
            </a:extLst>
          </p:cNvPr>
          <p:cNvPicPr>
            <a:picLocks noChangeAspect="1"/>
          </p:cNvPicPr>
          <p:nvPr/>
        </p:nvPicPr>
        <p:blipFill>
          <a:blip r:embed="rId5"/>
          <a:stretch>
            <a:fillRect/>
          </a:stretch>
        </p:blipFill>
        <p:spPr>
          <a:xfrm>
            <a:off x="8625191" y="30309"/>
            <a:ext cx="518809" cy="410723"/>
          </a:xfrm>
          <a:prstGeom prst="rect">
            <a:avLst/>
          </a:prstGeom>
        </p:spPr>
      </p:pic>
    </p:spTree>
    <p:extLst>
      <p:ext uri="{BB962C8B-B14F-4D97-AF65-F5344CB8AC3E}">
        <p14:creationId xmlns:p14="http://schemas.microsoft.com/office/powerpoint/2010/main" val="4164497796"/>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
            <a:ext cx="9144000" cy="5141556"/>
          </a:xfrm>
          <a:prstGeom prst="rect">
            <a:avLst/>
          </a:prstGeom>
          <a:blipFill>
            <a:blip r:embed="rId3" cstate="print"/>
            <a:stretch>
              <a:fillRect/>
            </a:stretch>
          </a:blipFill>
        </p:spPr>
        <p:txBody>
          <a:bodyPr wrap="square" lIns="0" tIns="0" rIns="0" bIns="0" rtlCol="0"/>
          <a:lstStyle/>
          <a:p>
            <a:endParaRPr sz="952"/>
          </a:p>
        </p:txBody>
      </p:sp>
      <p:sp>
        <p:nvSpPr>
          <p:cNvPr id="3" name="Footer Placeholder 2">
            <a:extLst>
              <a:ext uri="{FF2B5EF4-FFF2-40B4-BE49-F238E27FC236}">
                <a16:creationId xmlns:a16="http://schemas.microsoft.com/office/drawing/2014/main" id="{5DB0BBCF-B211-415E-806F-0C1AA9B7B708}"/>
              </a:ext>
            </a:extLst>
          </p:cNvPr>
          <p:cNvSpPr>
            <a:spLocks noGrp="1"/>
          </p:cNvSpPr>
          <p:nvPr>
            <p:ph type="ftr" sz="quarter" idx="5"/>
          </p:nvPr>
        </p:nvSpPr>
        <p:spPr/>
        <p:txBody>
          <a:bodyPr/>
          <a:lstStyle/>
          <a:p>
            <a:endParaRPr lang="en-US"/>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alpha val="10000"/>
          </a:schemeClr>
        </a:solidFill>
        <a:effectLst/>
      </p:bgPr>
    </p:bg>
    <p:spTree>
      <p:nvGrpSpPr>
        <p:cNvPr id="1" name="Shape 84">
          <a:extLst>
            <a:ext uri="{FF2B5EF4-FFF2-40B4-BE49-F238E27FC236}">
              <a16:creationId xmlns:a16="http://schemas.microsoft.com/office/drawing/2014/main" id="{4D0B83C6-1592-7C2C-A592-93BC6B814B16}"/>
            </a:ext>
          </a:extLst>
        </p:cNvPr>
        <p:cNvGrpSpPr/>
        <p:nvPr/>
      </p:nvGrpSpPr>
      <p:grpSpPr>
        <a:xfrm>
          <a:off x="0" y="0"/>
          <a:ext cx="0" cy="0"/>
          <a:chOff x="0" y="0"/>
          <a:chExt cx="0" cy="0"/>
        </a:xfrm>
      </p:grpSpPr>
      <p:pic>
        <p:nvPicPr>
          <p:cNvPr id="2" name="Picture 1" descr="A gold shield with lions and spears&#10;&#10;Description automatically generated">
            <a:extLst>
              <a:ext uri="{FF2B5EF4-FFF2-40B4-BE49-F238E27FC236}">
                <a16:creationId xmlns:a16="http://schemas.microsoft.com/office/drawing/2014/main" id="{5780C612-E917-7F67-E377-70F38C284C35}"/>
              </a:ext>
            </a:extLst>
          </p:cNvPr>
          <p:cNvPicPr>
            <a:picLocks noChangeAspect="1"/>
          </p:cNvPicPr>
          <p:nvPr/>
        </p:nvPicPr>
        <p:blipFill>
          <a:blip r:embed="rId3"/>
          <a:stretch>
            <a:fillRect/>
          </a:stretch>
        </p:blipFill>
        <p:spPr>
          <a:xfrm>
            <a:off x="8604492" y="-42877"/>
            <a:ext cx="539508" cy="428700"/>
          </a:xfrm>
          <a:prstGeom prst="rect">
            <a:avLst/>
          </a:prstGeom>
        </p:spPr>
      </p:pic>
      <p:sp>
        <p:nvSpPr>
          <p:cNvPr id="4" name="Slide Number Placeholder 3">
            <a:extLst>
              <a:ext uri="{FF2B5EF4-FFF2-40B4-BE49-F238E27FC236}">
                <a16:creationId xmlns:a16="http://schemas.microsoft.com/office/drawing/2014/main" id="{7F15C1AF-1025-04C3-10B5-8E8092C74B42}"/>
              </a:ext>
            </a:extLst>
          </p:cNvPr>
          <p:cNvSpPr>
            <a:spLocks noGrp="1"/>
          </p:cNvSpPr>
          <p:nvPr>
            <p:ph type="sldNum" sz="quarter" idx="12"/>
          </p:nvPr>
        </p:nvSpPr>
        <p:spPr bwMode="auto">
          <a:xfrm>
            <a:off x="7503513" y="6957122"/>
            <a:ext cx="2352887" cy="2035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529">
                <a:solidFill>
                  <a:schemeClr val="tx1"/>
                </a:solidFill>
                <a:latin typeface="Calibri" panose="020F0502020204030204" pitchFamily="34" charset="0"/>
              </a:defRPr>
            </a:lvl1pPr>
            <a:lvl2pPr marL="819325" indent="-315125">
              <a:spcBef>
                <a:spcPct val="20000"/>
              </a:spcBef>
              <a:buFont typeface="Arial" panose="020B0604020202020204" pitchFamily="34" charset="0"/>
              <a:buChar char="–"/>
              <a:defRPr sz="3088">
                <a:solidFill>
                  <a:schemeClr val="tx1"/>
                </a:solidFill>
                <a:latin typeface="Calibri" panose="020F0502020204030204" pitchFamily="34" charset="0"/>
              </a:defRPr>
            </a:lvl2pPr>
            <a:lvl3pPr marL="1260500" indent="-252100">
              <a:spcBef>
                <a:spcPct val="20000"/>
              </a:spcBef>
              <a:buFont typeface="Arial" panose="020B0604020202020204" pitchFamily="34" charset="0"/>
              <a:buChar char="•"/>
              <a:defRPr sz="2647">
                <a:solidFill>
                  <a:schemeClr val="tx1"/>
                </a:solidFill>
                <a:latin typeface="Calibri" panose="020F0502020204030204" pitchFamily="34" charset="0"/>
              </a:defRPr>
            </a:lvl3pPr>
            <a:lvl4pPr marL="1764701" indent="-252100">
              <a:spcBef>
                <a:spcPct val="20000"/>
              </a:spcBef>
              <a:buFont typeface="Arial" panose="020B0604020202020204" pitchFamily="34" charset="0"/>
              <a:buChar char="–"/>
              <a:defRPr sz="2206">
                <a:solidFill>
                  <a:schemeClr val="tx1"/>
                </a:solidFill>
                <a:latin typeface="Calibri" panose="020F0502020204030204" pitchFamily="34" charset="0"/>
              </a:defRPr>
            </a:lvl4pPr>
            <a:lvl5pPr marL="2268901" indent="-252100">
              <a:spcBef>
                <a:spcPct val="20000"/>
              </a:spcBef>
              <a:buFont typeface="Arial" panose="020B0604020202020204" pitchFamily="34" charset="0"/>
              <a:buChar char="»"/>
              <a:defRPr sz="2206">
                <a:solidFill>
                  <a:schemeClr val="tx1"/>
                </a:solidFill>
                <a:latin typeface="Calibri" panose="020F0502020204030204" pitchFamily="34" charset="0"/>
              </a:defRPr>
            </a:lvl5pPr>
            <a:lvl6pPr marL="27731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6pPr>
            <a:lvl7pPr marL="32773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7pPr>
            <a:lvl8pPr marL="37815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8pPr>
            <a:lvl9pPr marL="42857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9pPr>
          </a:lstStyle>
          <a:p>
            <a:pPr>
              <a:spcBef>
                <a:spcPct val="0"/>
              </a:spcBef>
              <a:buFontTx/>
              <a:buNone/>
            </a:pPr>
            <a:fld id="{3B6D56D0-D3B4-4ACD-B33D-DFC1F2DB6A27}" type="slidenum">
              <a:rPr lang="en-US" altLang="en-US" sz="1323">
                <a:solidFill>
                  <a:srgbClr val="898989"/>
                </a:solidFill>
                <a:latin typeface="Arial" panose="020B0604020202020204" pitchFamily="34" charset="0"/>
                <a:cs typeface="Arial" panose="020B0604020202020204" pitchFamily="34" charset="0"/>
              </a:rPr>
              <a:pPr>
                <a:spcBef>
                  <a:spcPct val="0"/>
                </a:spcBef>
                <a:buFontTx/>
                <a:buNone/>
              </a:pPr>
              <a:t>5</a:t>
            </a:fld>
            <a:endParaRPr lang="en-US" altLang="en-US" sz="1323">
              <a:solidFill>
                <a:srgbClr val="898989"/>
              </a:solidFill>
              <a:latin typeface="Arial" panose="020B0604020202020204" pitchFamily="34" charset="0"/>
              <a:cs typeface="Arial" panose="020B0604020202020204" pitchFamily="34" charset="0"/>
            </a:endParaRPr>
          </a:p>
        </p:txBody>
      </p:sp>
      <p:sp>
        <p:nvSpPr>
          <p:cNvPr id="5" name="object 3">
            <a:extLst>
              <a:ext uri="{FF2B5EF4-FFF2-40B4-BE49-F238E27FC236}">
                <a16:creationId xmlns:a16="http://schemas.microsoft.com/office/drawing/2014/main" id="{1050AADC-4A2F-3150-ED6C-4D1CB7DABC70}"/>
              </a:ext>
            </a:extLst>
          </p:cNvPr>
          <p:cNvSpPr txBox="1"/>
          <p:nvPr/>
        </p:nvSpPr>
        <p:spPr>
          <a:xfrm>
            <a:off x="746879" y="60553"/>
            <a:ext cx="7184405" cy="383474"/>
          </a:xfrm>
          <a:prstGeom prst="rect">
            <a:avLst/>
          </a:prstGeom>
        </p:spPr>
        <p:txBody>
          <a:bodyPr vert="horz" wrap="square" lIns="0" tIns="14005" rIns="0" bIns="0" rtlCol="0">
            <a:spAutoFit/>
          </a:bodyPr>
          <a:lstStyle/>
          <a:p>
            <a:pPr marL="14006" algn="ctr">
              <a:spcBef>
                <a:spcPts val="110"/>
              </a:spcBef>
            </a:pPr>
            <a:r>
              <a:rPr lang="en-US" sz="2400" b="1" kern="0" dirty="0">
                <a:solidFill>
                  <a:schemeClr val="tx1"/>
                </a:solidFill>
                <a:latin typeface="Century Gothic" panose="020B0502020202020204" pitchFamily="34" charset="0"/>
                <a:ea typeface="+mj-ea"/>
                <a:cs typeface="Times New Roman" panose="02020603050405020304" pitchFamily="18" charset="0"/>
              </a:rPr>
              <a:t>Collaboration with other Regulators</a:t>
            </a:r>
            <a:endParaRPr lang="en-US" sz="2400" b="1" dirty="0">
              <a:solidFill>
                <a:schemeClr val="tx1"/>
              </a:solidFill>
              <a:latin typeface="Century Gothic" panose="020B0502020202020204" pitchFamily="34" charset="0"/>
              <a:cs typeface="Times New Roman" panose="02020603050405020304" pitchFamily="18" charset="0"/>
            </a:endParaRPr>
          </a:p>
        </p:txBody>
      </p:sp>
      <p:grpSp>
        <p:nvGrpSpPr>
          <p:cNvPr id="20" name="Group 19">
            <a:extLst>
              <a:ext uri="{FF2B5EF4-FFF2-40B4-BE49-F238E27FC236}">
                <a16:creationId xmlns:a16="http://schemas.microsoft.com/office/drawing/2014/main" id="{AEE715FC-C976-FE86-C620-498476EABE7E}"/>
              </a:ext>
            </a:extLst>
          </p:cNvPr>
          <p:cNvGrpSpPr/>
          <p:nvPr/>
        </p:nvGrpSpPr>
        <p:grpSpPr>
          <a:xfrm>
            <a:off x="648393" y="638937"/>
            <a:ext cx="7349706" cy="4132736"/>
            <a:chOff x="1079500" y="1419624"/>
            <a:chExt cx="7272808" cy="5638399"/>
          </a:xfrm>
        </p:grpSpPr>
        <p:graphicFrame>
          <p:nvGraphicFramePr>
            <p:cNvPr id="6" name="Diagram 5">
              <a:extLst>
                <a:ext uri="{FF2B5EF4-FFF2-40B4-BE49-F238E27FC236}">
                  <a16:creationId xmlns:a16="http://schemas.microsoft.com/office/drawing/2014/main" id="{7CA6AF92-2F48-AE8C-9AFB-80DCE4ECE04A}"/>
                </a:ext>
              </a:extLst>
            </p:cNvPr>
            <p:cNvGraphicFramePr/>
            <p:nvPr>
              <p:extLst>
                <p:ext uri="{D42A27DB-BD31-4B8C-83A1-F6EECF244321}">
                  <p14:modId xmlns:p14="http://schemas.microsoft.com/office/powerpoint/2010/main" val="3794294954"/>
                </p:ext>
              </p:extLst>
            </p:nvPr>
          </p:nvGraphicFramePr>
          <p:xfrm>
            <a:off x="1079500" y="2880985"/>
            <a:ext cx="7272808" cy="41770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7" name="Oval 16">
              <a:extLst>
                <a:ext uri="{FF2B5EF4-FFF2-40B4-BE49-F238E27FC236}">
                  <a16:creationId xmlns:a16="http://schemas.microsoft.com/office/drawing/2014/main" id="{72483B3F-62F9-C8CA-4A45-DDAA878BEDBA}"/>
                </a:ext>
              </a:extLst>
            </p:cNvPr>
            <p:cNvSpPr/>
            <p:nvPr/>
          </p:nvSpPr>
          <p:spPr>
            <a:xfrm>
              <a:off x="4007402" y="1419624"/>
              <a:ext cx="1877956" cy="2188600"/>
            </a:xfrm>
            <a:prstGeom prst="ellipse">
              <a:avLst/>
            </a:prstGeom>
            <a:gradFill>
              <a:gsLst>
                <a:gs pos="0">
                  <a:schemeClr val="accent6">
                    <a:tint val="100000"/>
                    <a:shade val="100000"/>
                    <a:satMod val="130000"/>
                    <a:alpha val="46000"/>
                  </a:schemeClr>
                </a:gs>
                <a:gs pos="100000">
                  <a:schemeClr val="accent6">
                    <a:tint val="50000"/>
                    <a:shade val="100000"/>
                    <a:satMod val="350000"/>
                  </a:schemeClr>
                </a:gs>
              </a:gsLst>
            </a:gradFill>
            <a:ln>
              <a:solidFill>
                <a:schemeClr val="accent1">
                  <a:lumMod val="60000"/>
                  <a:lumOff val="40000"/>
                </a:schemeClr>
              </a:solidFill>
            </a:ln>
          </p:spPr>
          <p:style>
            <a:lnRef idx="0">
              <a:schemeClr val="accent6"/>
            </a:lnRef>
            <a:fillRef idx="3">
              <a:schemeClr val="accent6"/>
            </a:fillRef>
            <a:effectRef idx="3">
              <a:schemeClr val="accent6"/>
            </a:effectRef>
            <a:fontRef idx="minor">
              <a:schemeClr val="lt1"/>
            </a:fontRef>
          </p:style>
          <p:txBody>
            <a:bodyPr/>
            <a:lstStyle/>
            <a:p>
              <a:endParaRPr lang="en-US"/>
            </a:p>
          </p:txBody>
        </p:sp>
      </p:grpSp>
      <p:sp>
        <p:nvSpPr>
          <p:cNvPr id="21" name="TextBox 20">
            <a:extLst>
              <a:ext uri="{FF2B5EF4-FFF2-40B4-BE49-F238E27FC236}">
                <a16:creationId xmlns:a16="http://schemas.microsoft.com/office/drawing/2014/main" id="{1DCC814E-E598-A88A-A0CE-CA86C817EEAA}"/>
              </a:ext>
            </a:extLst>
          </p:cNvPr>
          <p:cNvSpPr txBox="1"/>
          <p:nvPr/>
        </p:nvSpPr>
        <p:spPr>
          <a:xfrm>
            <a:off x="2730713" y="2542611"/>
            <a:ext cx="1300293" cy="715581"/>
          </a:xfrm>
          <a:prstGeom prst="rect">
            <a:avLst/>
          </a:prstGeom>
          <a:noFill/>
        </p:spPr>
        <p:txBody>
          <a:bodyPr wrap="square" rtlCol="0">
            <a:spAutoFit/>
          </a:bodyPr>
          <a:lstStyle/>
          <a:p>
            <a:r>
              <a:rPr lang="en-US" sz="1000" b="1">
                <a:solidFill>
                  <a:schemeClr val="tx1"/>
                </a:solidFill>
                <a:latin typeface="Century Gothic" panose="020B0502020202020204" pitchFamily="34" charset="0"/>
                <a:cs typeface="Times New Roman" panose="02020603050405020304" pitchFamily="18" charset="0"/>
              </a:rPr>
              <a:t>Competition Authority of Kenya (CAK)</a:t>
            </a:r>
          </a:p>
          <a:p>
            <a:endParaRPr lang="en-US" sz="1050" b="1">
              <a:latin typeface="Century Gothic" panose="020B0502020202020204" pitchFamily="34" charset="0"/>
            </a:endParaRPr>
          </a:p>
        </p:txBody>
      </p:sp>
      <p:sp>
        <p:nvSpPr>
          <p:cNvPr id="38" name="TextBox 37">
            <a:extLst>
              <a:ext uri="{FF2B5EF4-FFF2-40B4-BE49-F238E27FC236}">
                <a16:creationId xmlns:a16="http://schemas.microsoft.com/office/drawing/2014/main" id="{6E39F26F-DFE5-1FFE-BB33-842BC9C800FF}"/>
              </a:ext>
            </a:extLst>
          </p:cNvPr>
          <p:cNvSpPr txBox="1"/>
          <p:nvPr/>
        </p:nvSpPr>
        <p:spPr>
          <a:xfrm>
            <a:off x="4255891" y="3765899"/>
            <a:ext cx="862642" cy="738664"/>
          </a:xfrm>
          <a:prstGeom prst="rect">
            <a:avLst/>
          </a:prstGeom>
          <a:noFill/>
        </p:spPr>
        <p:txBody>
          <a:bodyPr wrap="square" rtlCol="0">
            <a:spAutoFit/>
          </a:bodyPr>
          <a:lstStyle/>
          <a:p>
            <a:r>
              <a:rPr lang="en-US" sz="1050" b="1">
                <a:solidFill>
                  <a:schemeClr val="tx1"/>
                </a:solidFill>
                <a:latin typeface="Century Gothic" panose="020B0502020202020204" pitchFamily="34" charset="0"/>
              </a:rPr>
              <a:t>Financial Reporting Centre (FRC)</a:t>
            </a:r>
          </a:p>
        </p:txBody>
      </p:sp>
      <p:sp>
        <p:nvSpPr>
          <p:cNvPr id="39" name="TextBox 38">
            <a:extLst>
              <a:ext uri="{FF2B5EF4-FFF2-40B4-BE49-F238E27FC236}">
                <a16:creationId xmlns:a16="http://schemas.microsoft.com/office/drawing/2014/main" id="{D9745167-2F03-63AF-EF16-8F949FDCF60C}"/>
              </a:ext>
            </a:extLst>
          </p:cNvPr>
          <p:cNvSpPr txBox="1"/>
          <p:nvPr/>
        </p:nvSpPr>
        <p:spPr>
          <a:xfrm>
            <a:off x="5463179" y="2479512"/>
            <a:ext cx="1300293" cy="561692"/>
          </a:xfrm>
          <a:prstGeom prst="rect">
            <a:avLst/>
          </a:prstGeom>
          <a:noFill/>
        </p:spPr>
        <p:txBody>
          <a:bodyPr wrap="square" rtlCol="0">
            <a:spAutoFit/>
          </a:bodyPr>
          <a:lstStyle/>
          <a:p>
            <a:r>
              <a:rPr lang="en-US" sz="1000" b="1">
                <a:solidFill>
                  <a:schemeClr val="tx1"/>
                </a:solidFill>
                <a:latin typeface="Century Gothic" panose="020B0502020202020204" pitchFamily="34" charset="0"/>
                <a:cs typeface="Times New Roman" panose="02020603050405020304" pitchFamily="18" charset="0"/>
              </a:rPr>
              <a:t>Communications Authority (CA)</a:t>
            </a:r>
          </a:p>
          <a:p>
            <a:endParaRPr lang="en-US" sz="1050" b="1">
              <a:latin typeface="Century Gothic" panose="020B0502020202020204" pitchFamily="34" charset="0"/>
            </a:endParaRPr>
          </a:p>
        </p:txBody>
      </p:sp>
      <p:sp>
        <p:nvSpPr>
          <p:cNvPr id="3" name="Title 10">
            <a:extLst>
              <a:ext uri="{FF2B5EF4-FFF2-40B4-BE49-F238E27FC236}">
                <a16:creationId xmlns:a16="http://schemas.microsoft.com/office/drawing/2014/main" id="{72EC425A-9EA0-A946-173A-A5831321B162}"/>
              </a:ext>
            </a:extLst>
          </p:cNvPr>
          <p:cNvSpPr txBox="1">
            <a:spLocks/>
          </p:cNvSpPr>
          <p:nvPr/>
        </p:nvSpPr>
        <p:spPr>
          <a:xfrm>
            <a:off x="160343" y="-974"/>
            <a:ext cx="48805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4.</a:t>
            </a:r>
          </a:p>
        </p:txBody>
      </p:sp>
      <p:cxnSp>
        <p:nvCxnSpPr>
          <p:cNvPr id="7" name="Straight Connector 6">
            <a:extLst>
              <a:ext uri="{FF2B5EF4-FFF2-40B4-BE49-F238E27FC236}">
                <a16:creationId xmlns:a16="http://schemas.microsoft.com/office/drawing/2014/main" id="{730E5898-67E4-B9B6-0B7A-EA9BC6418D0D}"/>
              </a:ext>
            </a:extLst>
          </p:cNvPr>
          <p:cNvCxnSpPr>
            <a:cxnSpLocks/>
          </p:cNvCxnSpPr>
          <p:nvPr/>
        </p:nvCxnSpPr>
        <p:spPr>
          <a:xfrm flipV="1">
            <a:off x="61856" y="418322"/>
            <a:ext cx="9082144" cy="9878"/>
          </a:xfrm>
          <a:prstGeom prst="line">
            <a:avLst/>
          </a:prstGeom>
          <a:noFill/>
          <a:ln w="19050" cap="flat" cmpd="sng" algn="ctr">
            <a:solidFill>
              <a:srgbClr val="F19D19"/>
            </a:solidFill>
            <a:prstDash val="solid"/>
            <a:miter lim="800000"/>
          </a:ln>
          <a:effectLst/>
        </p:spPr>
      </p:cxnSp>
      <p:sp>
        <p:nvSpPr>
          <p:cNvPr id="12" name="TextBox 11">
            <a:extLst>
              <a:ext uri="{FF2B5EF4-FFF2-40B4-BE49-F238E27FC236}">
                <a16:creationId xmlns:a16="http://schemas.microsoft.com/office/drawing/2014/main" id="{F833F6B9-A0E0-FA53-BB7E-76FBC555C414}"/>
              </a:ext>
            </a:extLst>
          </p:cNvPr>
          <p:cNvSpPr txBox="1"/>
          <p:nvPr/>
        </p:nvSpPr>
        <p:spPr>
          <a:xfrm>
            <a:off x="3738306" y="950579"/>
            <a:ext cx="1897812" cy="923330"/>
          </a:xfrm>
          <a:prstGeom prst="rect">
            <a:avLst/>
          </a:prstGeom>
          <a:noFill/>
        </p:spPr>
        <p:txBody>
          <a:bodyPr wrap="square">
            <a:spAutoFit/>
          </a:bodyPr>
          <a:lstStyle/>
          <a:p>
            <a:pPr algn="ctr"/>
            <a:r>
              <a:rPr lang="en-US" sz="1200" b="1">
                <a:solidFill>
                  <a:schemeClr val="tx1"/>
                </a:solidFill>
                <a:latin typeface="Century Gothic" panose="020B0502020202020204" pitchFamily="34" charset="0"/>
              </a:rPr>
              <a:t>Others</a:t>
            </a:r>
          </a:p>
          <a:p>
            <a:pPr marL="171450" indent="-171450">
              <a:buFont typeface="Arial" panose="020B0604020202020204" pitchFamily="34" charset="0"/>
              <a:buChar char="•"/>
            </a:pPr>
            <a:r>
              <a:rPr lang="en-US" sz="700" b="1">
                <a:solidFill>
                  <a:schemeClr val="tx1"/>
                </a:solidFill>
                <a:latin typeface="Century Gothic" panose="020B0502020202020204" pitchFamily="34" charset="0"/>
              </a:rPr>
              <a:t>Capital Markets Authority</a:t>
            </a:r>
          </a:p>
          <a:p>
            <a:pPr marL="171450" indent="-171450">
              <a:buFont typeface="Arial" panose="020B0604020202020204" pitchFamily="34" charset="0"/>
              <a:buChar char="•"/>
            </a:pPr>
            <a:r>
              <a:rPr lang="en-US" sz="700" b="1">
                <a:solidFill>
                  <a:schemeClr val="tx1"/>
                </a:solidFill>
                <a:latin typeface="Century Gothic" panose="020B0502020202020204" pitchFamily="34" charset="0"/>
              </a:rPr>
              <a:t>Office of the Data Commissioner</a:t>
            </a:r>
          </a:p>
          <a:p>
            <a:pPr marL="171450" indent="-171450">
              <a:buFont typeface="Arial" panose="020B0604020202020204" pitchFamily="34" charset="0"/>
              <a:buChar char="•"/>
            </a:pPr>
            <a:r>
              <a:rPr lang="en-US" sz="700" b="1">
                <a:solidFill>
                  <a:schemeClr val="tx1"/>
                </a:solidFill>
                <a:latin typeface="Century Gothic" panose="020B0502020202020204" pitchFamily="34" charset="0"/>
              </a:rPr>
              <a:t>Kenya Revenue Authority</a:t>
            </a:r>
          </a:p>
          <a:p>
            <a:pPr marL="171450" indent="-171450">
              <a:buFont typeface="Arial" panose="020B0604020202020204" pitchFamily="34" charset="0"/>
              <a:buChar char="•"/>
            </a:pPr>
            <a:r>
              <a:rPr lang="en-US" sz="700" b="1">
                <a:solidFill>
                  <a:schemeClr val="tx1"/>
                </a:solidFill>
                <a:latin typeface="Century Gothic" panose="020B0502020202020204" pitchFamily="34" charset="0"/>
              </a:rPr>
              <a:t>Sacco Societies Regulatory Authority</a:t>
            </a:r>
          </a:p>
          <a:p>
            <a:pPr marL="171450" indent="-171450">
              <a:buFont typeface="Arial" panose="020B0604020202020204" pitchFamily="34" charset="0"/>
              <a:buChar char="•"/>
            </a:pPr>
            <a:r>
              <a:rPr lang="en-US" sz="700" b="1">
                <a:solidFill>
                  <a:schemeClr val="tx1"/>
                </a:solidFill>
                <a:latin typeface="Century Gothic" panose="020B0502020202020204" pitchFamily="34" charset="0"/>
              </a:rPr>
              <a:t>Insurance Regulatory Authority</a:t>
            </a:r>
          </a:p>
        </p:txBody>
      </p:sp>
    </p:spTree>
    <p:extLst>
      <p:ext uri="{BB962C8B-B14F-4D97-AF65-F5344CB8AC3E}">
        <p14:creationId xmlns:p14="http://schemas.microsoft.com/office/powerpoint/2010/main" val="358997175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4">
          <a:extLst>
            <a:ext uri="{FF2B5EF4-FFF2-40B4-BE49-F238E27FC236}">
              <a16:creationId xmlns:a16="http://schemas.microsoft.com/office/drawing/2014/main" id="{434671CE-6F0A-DB27-AA32-B6B5A4D82087}"/>
            </a:ext>
          </a:extLst>
        </p:cNvPr>
        <p:cNvGrpSpPr/>
        <p:nvPr/>
      </p:nvGrpSpPr>
      <p:grpSpPr>
        <a:xfrm>
          <a:off x="0" y="0"/>
          <a:ext cx="0" cy="0"/>
          <a:chOff x="0" y="0"/>
          <a:chExt cx="0" cy="0"/>
        </a:xfrm>
      </p:grpSpPr>
      <p:pic>
        <p:nvPicPr>
          <p:cNvPr id="2" name="Picture 1" descr="A gold shield with lions and spears&#10;&#10;Description automatically generated">
            <a:extLst>
              <a:ext uri="{FF2B5EF4-FFF2-40B4-BE49-F238E27FC236}">
                <a16:creationId xmlns:a16="http://schemas.microsoft.com/office/drawing/2014/main" id="{5DDD8275-4019-930E-FDBE-B51D40340FAC}"/>
              </a:ext>
            </a:extLst>
          </p:cNvPr>
          <p:cNvPicPr>
            <a:picLocks noChangeAspect="1"/>
          </p:cNvPicPr>
          <p:nvPr/>
        </p:nvPicPr>
        <p:blipFill>
          <a:blip r:embed="rId3"/>
          <a:stretch>
            <a:fillRect/>
          </a:stretch>
        </p:blipFill>
        <p:spPr>
          <a:xfrm>
            <a:off x="8538312" y="38778"/>
            <a:ext cx="572775" cy="447472"/>
          </a:xfrm>
          <a:prstGeom prst="rect">
            <a:avLst/>
          </a:prstGeom>
        </p:spPr>
      </p:pic>
      <p:sp>
        <p:nvSpPr>
          <p:cNvPr id="4" name="Slide Number Placeholder 3">
            <a:extLst>
              <a:ext uri="{FF2B5EF4-FFF2-40B4-BE49-F238E27FC236}">
                <a16:creationId xmlns:a16="http://schemas.microsoft.com/office/drawing/2014/main" id="{9C489613-55CD-9E2A-4A26-F93D584E5E1F}"/>
              </a:ext>
            </a:extLst>
          </p:cNvPr>
          <p:cNvSpPr>
            <a:spLocks noGrp="1"/>
          </p:cNvSpPr>
          <p:nvPr>
            <p:ph type="sldNum" sz="quarter" idx="12"/>
          </p:nvPr>
        </p:nvSpPr>
        <p:spPr bwMode="auto">
          <a:xfrm>
            <a:off x="7503513" y="6957122"/>
            <a:ext cx="2352887" cy="2035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529">
                <a:solidFill>
                  <a:schemeClr val="tx1"/>
                </a:solidFill>
                <a:latin typeface="Calibri" panose="020F0502020204030204" pitchFamily="34" charset="0"/>
              </a:defRPr>
            </a:lvl1pPr>
            <a:lvl2pPr marL="819325" indent="-315125">
              <a:spcBef>
                <a:spcPct val="20000"/>
              </a:spcBef>
              <a:buFont typeface="Arial" panose="020B0604020202020204" pitchFamily="34" charset="0"/>
              <a:buChar char="–"/>
              <a:defRPr sz="3088">
                <a:solidFill>
                  <a:schemeClr val="tx1"/>
                </a:solidFill>
                <a:latin typeface="Calibri" panose="020F0502020204030204" pitchFamily="34" charset="0"/>
              </a:defRPr>
            </a:lvl2pPr>
            <a:lvl3pPr marL="1260500" indent="-252100">
              <a:spcBef>
                <a:spcPct val="20000"/>
              </a:spcBef>
              <a:buFont typeface="Arial" panose="020B0604020202020204" pitchFamily="34" charset="0"/>
              <a:buChar char="•"/>
              <a:defRPr sz="2647">
                <a:solidFill>
                  <a:schemeClr val="tx1"/>
                </a:solidFill>
                <a:latin typeface="Calibri" panose="020F0502020204030204" pitchFamily="34" charset="0"/>
              </a:defRPr>
            </a:lvl3pPr>
            <a:lvl4pPr marL="1764701" indent="-252100">
              <a:spcBef>
                <a:spcPct val="20000"/>
              </a:spcBef>
              <a:buFont typeface="Arial" panose="020B0604020202020204" pitchFamily="34" charset="0"/>
              <a:buChar char="–"/>
              <a:defRPr sz="2206">
                <a:solidFill>
                  <a:schemeClr val="tx1"/>
                </a:solidFill>
                <a:latin typeface="Calibri" panose="020F0502020204030204" pitchFamily="34" charset="0"/>
              </a:defRPr>
            </a:lvl4pPr>
            <a:lvl5pPr marL="2268901" indent="-252100">
              <a:spcBef>
                <a:spcPct val="20000"/>
              </a:spcBef>
              <a:buFont typeface="Arial" panose="020B0604020202020204" pitchFamily="34" charset="0"/>
              <a:buChar char="»"/>
              <a:defRPr sz="2206">
                <a:solidFill>
                  <a:schemeClr val="tx1"/>
                </a:solidFill>
                <a:latin typeface="Calibri" panose="020F0502020204030204" pitchFamily="34" charset="0"/>
              </a:defRPr>
            </a:lvl5pPr>
            <a:lvl6pPr marL="27731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6pPr>
            <a:lvl7pPr marL="32773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7pPr>
            <a:lvl8pPr marL="37815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8pPr>
            <a:lvl9pPr marL="4285701" indent="-252100" eaLnBrk="0" fontAlgn="base" hangingPunct="0">
              <a:spcBef>
                <a:spcPct val="20000"/>
              </a:spcBef>
              <a:spcAft>
                <a:spcPct val="0"/>
              </a:spcAft>
              <a:buFont typeface="Arial" panose="020B0604020202020204" pitchFamily="34" charset="0"/>
              <a:buChar char="»"/>
              <a:defRPr sz="2206">
                <a:solidFill>
                  <a:schemeClr val="tx1"/>
                </a:solidFill>
                <a:latin typeface="Calibri" panose="020F0502020204030204" pitchFamily="34" charset="0"/>
              </a:defRPr>
            </a:lvl9pPr>
          </a:lstStyle>
          <a:p>
            <a:pPr>
              <a:spcBef>
                <a:spcPct val="0"/>
              </a:spcBef>
              <a:buFontTx/>
              <a:buNone/>
            </a:pPr>
            <a:fld id="{3B6D56D0-D3B4-4ACD-B33D-DFC1F2DB6A27}" type="slidenum">
              <a:rPr lang="en-US" altLang="en-US" sz="1323">
                <a:solidFill>
                  <a:srgbClr val="898989"/>
                </a:solidFill>
                <a:latin typeface="Arial" panose="020B0604020202020204" pitchFamily="34" charset="0"/>
                <a:cs typeface="Arial" panose="020B0604020202020204" pitchFamily="34" charset="0"/>
              </a:rPr>
              <a:pPr>
                <a:spcBef>
                  <a:spcPct val="0"/>
                </a:spcBef>
                <a:buFontTx/>
                <a:buNone/>
              </a:pPr>
              <a:t>6</a:t>
            </a:fld>
            <a:endParaRPr lang="en-US" altLang="en-US" sz="1323">
              <a:solidFill>
                <a:srgbClr val="898989"/>
              </a:solidFill>
              <a:latin typeface="Arial" panose="020B0604020202020204" pitchFamily="34" charset="0"/>
              <a:cs typeface="Arial" panose="020B0604020202020204" pitchFamily="34" charset="0"/>
            </a:endParaRPr>
          </a:p>
        </p:txBody>
      </p:sp>
      <p:sp>
        <p:nvSpPr>
          <p:cNvPr id="9" name="TextBox 71">
            <a:extLst>
              <a:ext uri="{FF2B5EF4-FFF2-40B4-BE49-F238E27FC236}">
                <a16:creationId xmlns:a16="http://schemas.microsoft.com/office/drawing/2014/main" id="{4B5AD029-CB7B-3D20-466F-D8C773DE89C4}"/>
              </a:ext>
            </a:extLst>
          </p:cNvPr>
          <p:cNvSpPr txBox="1"/>
          <p:nvPr/>
        </p:nvSpPr>
        <p:spPr>
          <a:xfrm>
            <a:off x="727709" y="-27373"/>
            <a:ext cx="8165293" cy="527324"/>
          </a:xfrm>
          <a:prstGeom prst="rect">
            <a:avLst/>
          </a:prstGeom>
        </p:spPr>
        <p:txBody>
          <a:bodyPr wrap="square" lIns="0" tIns="0" rIns="0" bIns="0" rtlCol="0" anchor="t">
            <a:spAutoFit/>
          </a:bodyPr>
          <a:lstStyle/>
          <a:p>
            <a:pPr algn="l">
              <a:lnSpc>
                <a:spcPts val="4731"/>
              </a:lnSpc>
            </a:pPr>
            <a:r>
              <a:rPr lang="en-US" sz="2600" b="1" spc="109" dirty="0">
                <a:solidFill>
                  <a:schemeClr val="tx1"/>
                </a:solidFill>
                <a:latin typeface="Century Gothic" panose="020B0502020202020204" pitchFamily="34" charset="0"/>
                <a:ea typeface="Century Gothic Paneuropean Heavy"/>
                <a:cs typeface="Century Gothic Paneuropean Heavy"/>
                <a:sym typeface="Century Gothic Paneuropean Heavy"/>
              </a:rPr>
              <a:t>Kenya National Payments System Evolution</a:t>
            </a:r>
            <a:endParaRPr lang="en-US" sz="2600" b="1" spc="109" dirty="0">
              <a:solidFill>
                <a:schemeClr val="tx1"/>
              </a:solidFill>
              <a:latin typeface="Century Gothic Paneuropean Heavy"/>
              <a:ea typeface="Century Gothic Paneuropean Heavy"/>
              <a:cs typeface="Century Gothic Paneuropean Heavy"/>
              <a:sym typeface="Century Gothic Paneuropean Heavy"/>
            </a:endParaRPr>
          </a:p>
        </p:txBody>
      </p:sp>
      <p:sp>
        <p:nvSpPr>
          <p:cNvPr id="3" name="Title 10">
            <a:extLst>
              <a:ext uri="{FF2B5EF4-FFF2-40B4-BE49-F238E27FC236}">
                <a16:creationId xmlns:a16="http://schemas.microsoft.com/office/drawing/2014/main" id="{FF8FE630-8CEF-8D7C-D64E-AADEE4A75F8E}"/>
              </a:ext>
            </a:extLst>
          </p:cNvPr>
          <p:cNvSpPr txBox="1">
            <a:spLocks/>
          </p:cNvSpPr>
          <p:nvPr/>
        </p:nvSpPr>
        <p:spPr>
          <a:xfrm>
            <a:off x="32913" y="0"/>
            <a:ext cx="48805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b="1" dirty="0">
                <a:solidFill>
                  <a:schemeClr val="tx1"/>
                </a:solidFill>
                <a:latin typeface="Century Gothic" panose="020B0502020202020204" pitchFamily="34" charset="0"/>
              </a:rPr>
              <a:t>5</a:t>
            </a:r>
            <a:r>
              <a:rPr lang="en-US" sz="2400" b="1" dirty="0">
                <a:solidFill>
                  <a:schemeClr val="tx1"/>
                </a:solidFill>
                <a:latin typeface="Century Gothic" panose="020B0502020202020204" pitchFamily="34" charset="0"/>
              </a:rPr>
              <a:t>.</a:t>
            </a:r>
          </a:p>
        </p:txBody>
      </p:sp>
      <p:cxnSp>
        <p:nvCxnSpPr>
          <p:cNvPr id="5" name="Straight Connector 4">
            <a:extLst>
              <a:ext uri="{FF2B5EF4-FFF2-40B4-BE49-F238E27FC236}">
                <a16:creationId xmlns:a16="http://schemas.microsoft.com/office/drawing/2014/main" id="{823E542E-6FCC-A070-78BC-D56F99B0A2EF}"/>
              </a:ext>
            </a:extLst>
          </p:cNvPr>
          <p:cNvCxnSpPr>
            <a:cxnSpLocks/>
          </p:cNvCxnSpPr>
          <p:nvPr/>
        </p:nvCxnSpPr>
        <p:spPr>
          <a:xfrm>
            <a:off x="-1" y="498416"/>
            <a:ext cx="9144000" cy="0"/>
          </a:xfrm>
          <a:prstGeom prst="line">
            <a:avLst/>
          </a:prstGeom>
          <a:noFill/>
          <a:ln w="19050" cap="flat" cmpd="sng" algn="ctr">
            <a:solidFill>
              <a:srgbClr val="F19D19"/>
            </a:solidFill>
            <a:prstDash val="solid"/>
            <a:miter lim="800000"/>
          </a:ln>
          <a:effectLst/>
        </p:spPr>
      </p:cxnSp>
      <p:pic>
        <p:nvPicPr>
          <p:cNvPr id="7" name="Picture 6">
            <a:extLst>
              <a:ext uri="{FF2B5EF4-FFF2-40B4-BE49-F238E27FC236}">
                <a16:creationId xmlns:a16="http://schemas.microsoft.com/office/drawing/2014/main" id="{187F9F57-1DAF-FC69-2FF5-2A72A70F4E11}"/>
              </a:ext>
            </a:extLst>
          </p:cNvPr>
          <p:cNvPicPr>
            <a:picLocks noChangeAspect="1"/>
          </p:cNvPicPr>
          <p:nvPr/>
        </p:nvPicPr>
        <p:blipFill>
          <a:blip r:embed="rId4"/>
          <a:stretch>
            <a:fillRect/>
          </a:stretch>
        </p:blipFill>
        <p:spPr>
          <a:xfrm>
            <a:off x="411074" y="923089"/>
            <a:ext cx="8321851" cy="3927771"/>
          </a:xfrm>
          <a:prstGeom prst="rect">
            <a:avLst/>
          </a:prstGeom>
          <a:ln w="9525"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72650170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AEB7D-9F49-57D0-3A6B-548375F5589B}"/>
            </a:ext>
          </a:extLst>
        </p:cNvPr>
        <p:cNvGrpSpPr/>
        <p:nvPr/>
      </p:nvGrpSpPr>
      <p:grpSpPr>
        <a:xfrm>
          <a:off x="0" y="0"/>
          <a:ext cx="0" cy="0"/>
          <a:chOff x="0" y="0"/>
          <a:chExt cx="0" cy="0"/>
        </a:xfrm>
      </p:grpSpPr>
      <p:sp>
        <p:nvSpPr>
          <p:cNvPr id="39" name="object 2">
            <a:extLst>
              <a:ext uri="{FF2B5EF4-FFF2-40B4-BE49-F238E27FC236}">
                <a16:creationId xmlns:a16="http://schemas.microsoft.com/office/drawing/2014/main" id="{CB555BF4-D3DD-BF05-13B9-291E673C4DA7}"/>
              </a:ext>
            </a:extLst>
          </p:cNvPr>
          <p:cNvSpPr txBox="1"/>
          <p:nvPr/>
        </p:nvSpPr>
        <p:spPr>
          <a:xfrm>
            <a:off x="479898" y="36920"/>
            <a:ext cx="8581776" cy="378053"/>
          </a:xfrm>
          <a:prstGeom prst="rect">
            <a:avLst/>
          </a:prstGeom>
        </p:spPr>
        <p:txBody>
          <a:bodyPr vert="horz" wrap="square" lIns="0" tIns="8637" rIns="0" bIns="0" rtlCol="0">
            <a:spAutoFit/>
          </a:bodyPr>
          <a:lstStyle/>
          <a:p>
            <a:pPr marL="8637" algn="ctr">
              <a:spcBef>
                <a:spcPts val="68"/>
              </a:spcBef>
            </a:pPr>
            <a:r>
              <a:rPr lang="en-US" sz="2400" b="1" dirty="0">
                <a:solidFill>
                  <a:schemeClr val="tx1"/>
                </a:solidFill>
                <a:latin typeface="Century Gothic" panose="020B0502020202020204" pitchFamily="34" charset="0"/>
                <a:cs typeface="Century Gothic"/>
              </a:rPr>
              <a:t>Structure of the National Payments System </a:t>
            </a:r>
            <a:endParaRPr sz="2400" dirty="0">
              <a:solidFill>
                <a:schemeClr val="tx1"/>
              </a:solidFill>
              <a:latin typeface="Century Gothic" panose="020B0502020202020204" pitchFamily="34" charset="0"/>
              <a:cs typeface="Century Gothic"/>
            </a:endParaRPr>
          </a:p>
        </p:txBody>
      </p:sp>
      <p:pic>
        <p:nvPicPr>
          <p:cNvPr id="2" name="Picture 1">
            <a:extLst>
              <a:ext uri="{FF2B5EF4-FFF2-40B4-BE49-F238E27FC236}">
                <a16:creationId xmlns:a16="http://schemas.microsoft.com/office/drawing/2014/main" id="{901138AB-2446-BCF1-7332-8F1D5A4940FD}"/>
              </a:ext>
            </a:extLst>
          </p:cNvPr>
          <p:cNvPicPr>
            <a:picLocks noChangeAspect="1"/>
          </p:cNvPicPr>
          <p:nvPr/>
        </p:nvPicPr>
        <p:blipFill>
          <a:blip r:embed="rId3"/>
          <a:stretch>
            <a:fillRect/>
          </a:stretch>
        </p:blipFill>
        <p:spPr>
          <a:xfrm>
            <a:off x="8601499" y="3817"/>
            <a:ext cx="517241" cy="409889"/>
          </a:xfrm>
          <a:prstGeom prst="rect">
            <a:avLst/>
          </a:prstGeom>
        </p:spPr>
      </p:pic>
      <p:cxnSp>
        <p:nvCxnSpPr>
          <p:cNvPr id="4" name="Straight Connector 3">
            <a:extLst>
              <a:ext uri="{FF2B5EF4-FFF2-40B4-BE49-F238E27FC236}">
                <a16:creationId xmlns:a16="http://schemas.microsoft.com/office/drawing/2014/main" id="{AC098BCE-4D79-6E50-F8A2-4315F1FFDDA2}"/>
              </a:ext>
            </a:extLst>
          </p:cNvPr>
          <p:cNvCxnSpPr>
            <a:cxnSpLocks/>
          </p:cNvCxnSpPr>
          <p:nvPr/>
        </p:nvCxnSpPr>
        <p:spPr>
          <a:xfrm>
            <a:off x="0" y="422323"/>
            <a:ext cx="9118740" cy="0"/>
          </a:xfrm>
          <a:prstGeom prst="line">
            <a:avLst/>
          </a:prstGeom>
          <a:noFill/>
          <a:ln w="19050" cap="flat" cmpd="sng" algn="ctr">
            <a:solidFill>
              <a:srgbClr val="F19D19"/>
            </a:solidFill>
            <a:prstDash val="solid"/>
            <a:miter lim="800000"/>
          </a:ln>
          <a:effectLst/>
        </p:spPr>
      </p:cxnSp>
      <p:sp>
        <p:nvSpPr>
          <p:cNvPr id="7" name="TextBox 6">
            <a:extLst>
              <a:ext uri="{FF2B5EF4-FFF2-40B4-BE49-F238E27FC236}">
                <a16:creationId xmlns:a16="http://schemas.microsoft.com/office/drawing/2014/main" id="{B7299CBC-C1A0-FDE9-9C72-5CA08BD64C3A}"/>
              </a:ext>
            </a:extLst>
          </p:cNvPr>
          <p:cNvSpPr txBox="1"/>
          <p:nvPr/>
        </p:nvSpPr>
        <p:spPr>
          <a:xfrm>
            <a:off x="878209" y="4115464"/>
            <a:ext cx="6860813" cy="723275"/>
          </a:xfrm>
          <a:prstGeom prst="rect">
            <a:avLst/>
          </a:prstGeom>
          <a:gradFill flip="none" rotWithShape="1">
            <a:gsLst>
              <a:gs pos="23000">
                <a:schemeClr val="accent4">
                  <a:lumMod val="67000"/>
                  <a:alpha val="27000"/>
                </a:schemeClr>
              </a:gs>
              <a:gs pos="48000">
                <a:schemeClr val="accent4">
                  <a:lumMod val="97000"/>
                  <a:lumOff val="3000"/>
                </a:schemeClr>
              </a:gs>
              <a:gs pos="100000">
                <a:schemeClr val="accent4">
                  <a:lumMod val="60000"/>
                  <a:lumOff val="40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285750" indent="-285750">
              <a:buFont typeface="Arial" panose="020B0604020202020204" pitchFamily="34" charset="0"/>
              <a:buChar char="•"/>
            </a:pPr>
            <a:r>
              <a:rPr lang="en-US" sz="1000" b="1" dirty="0">
                <a:solidFill>
                  <a:schemeClr val="tx1">
                    <a:lumMod val="90000"/>
                    <a:lumOff val="10000"/>
                  </a:schemeClr>
                </a:solidFill>
                <a:latin typeface="Century Gothic" panose="020B0502020202020204" pitchFamily="34" charset="0"/>
                <a:cs typeface="Times New Roman" panose="02020603050405020304" pitchFamily="18" charset="0"/>
              </a:rPr>
              <a:t>Central Securities Depository (CSD)</a:t>
            </a:r>
          </a:p>
          <a:p>
            <a:pPr marL="285750" indent="-285750">
              <a:buFont typeface="Arial" panose="020B0604020202020204" pitchFamily="34" charset="0"/>
              <a:buChar char="•"/>
            </a:pPr>
            <a:r>
              <a:rPr lang="en-US" sz="1000" b="1" dirty="0">
                <a:solidFill>
                  <a:schemeClr val="tx1">
                    <a:lumMod val="90000"/>
                    <a:lumOff val="10000"/>
                  </a:schemeClr>
                </a:solidFill>
                <a:latin typeface="Century Gothic" panose="020B0502020202020204" pitchFamily="34" charset="0"/>
                <a:cs typeface="Times New Roman" panose="02020603050405020304" pitchFamily="18" charset="0"/>
              </a:rPr>
              <a:t>EAPS - East African Payment System for the EAC</a:t>
            </a:r>
          </a:p>
          <a:p>
            <a:pPr marL="285750" indent="-285750">
              <a:buFont typeface="Arial" panose="020B0604020202020204" pitchFamily="34" charset="0"/>
              <a:buChar char="•"/>
            </a:pPr>
            <a:r>
              <a:rPr lang="en-US" sz="1000" b="1" dirty="0">
                <a:solidFill>
                  <a:schemeClr val="tx1">
                    <a:lumMod val="90000"/>
                    <a:lumOff val="10000"/>
                  </a:schemeClr>
                </a:solidFill>
                <a:latin typeface="Century Gothic" panose="020B0502020202020204" pitchFamily="34" charset="0"/>
                <a:cs typeface="Times New Roman" panose="02020603050405020304" pitchFamily="18" charset="0"/>
              </a:rPr>
              <a:t>REPSS - Regional  Electronic Payment Settlement System for COMESA</a:t>
            </a:r>
          </a:p>
          <a:p>
            <a:pPr marL="285750" indent="-285750">
              <a:buFont typeface="Arial" panose="020B0604020202020204" pitchFamily="34" charset="0"/>
              <a:buChar char="•"/>
            </a:pPr>
            <a:r>
              <a:rPr lang="en-US" sz="1000" b="1" dirty="0">
                <a:solidFill>
                  <a:schemeClr val="tx1">
                    <a:lumMod val="90000"/>
                    <a:lumOff val="10000"/>
                  </a:schemeClr>
                </a:solidFill>
                <a:latin typeface="Century Gothic" panose="020B0502020202020204" pitchFamily="34" charset="0"/>
                <a:cs typeface="Times New Roman" panose="02020603050405020304" pitchFamily="18" charset="0"/>
              </a:rPr>
              <a:t>IMT - </a:t>
            </a:r>
            <a:r>
              <a:rPr lang="en-US" sz="1050" b="1" dirty="0">
                <a:solidFill>
                  <a:schemeClr val="tx1">
                    <a:lumMod val="90000"/>
                    <a:lumOff val="10000"/>
                  </a:schemeClr>
                </a:solidFill>
                <a:latin typeface="Century Gothic" panose="020B0502020202020204" pitchFamily="34" charset="0"/>
              </a:rPr>
              <a:t>International Money Transfer</a:t>
            </a:r>
            <a:r>
              <a:rPr lang="en-US" sz="1050" dirty="0">
                <a:solidFill>
                  <a:schemeClr val="tx1">
                    <a:lumMod val="90000"/>
                    <a:lumOff val="10000"/>
                  </a:schemeClr>
                </a:solidFill>
                <a:latin typeface="Century Gothic" panose="020B0502020202020204" pitchFamily="34" charset="0"/>
              </a:rPr>
              <a:t>.</a:t>
            </a:r>
            <a:endParaRPr lang="en-US" sz="1000" dirty="0">
              <a:solidFill>
                <a:schemeClr val="tx1">
                  <a:lumMod val="90000"/>
                  <a:lumOff val="10000"/>
                </a:schemeClr>
              </a:solidFill>
              <a:latin typeface="Century Gothic" panose="020B050202020202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184FE0D9-9AF9-5548-CA59-364AAAEFE3D0}"/>
              </a:ext>
            </a:extLst>
          </p:cNvPr>
          <p:cNvPicPr>
            <a:picLocks noChangeAspect="1"/>
          </p:cNvPicPr>
          <p:nvPr/>
        </p:nvPicPr>
        <p:blipFill>
          <a:blip r:embed="rId4"/>
          <a:stretch>
            <a:fillRect/>
          </a:stretch>
        </p:blipFill>
        <p:spPr>
          <a:xfrm>
            <a:off x="880929" y="971736"/>
            <a:ext cx="7191782" cy="2937161"/>
          </a:xfrm>
          <a:prstGeom prst="rect">
            <a:avLst/>
          </a:prstGeom>
        </p:spPr>
      </p:pic>
      <p:sp>
        <p:nvSpPr>
          <p:cNvPr id="3" name="Title 10">
            <a:extLst>
              <a:ext uri="{FF2B5EF4-FFF2-40B4-BE49-F238E27FC236}">
                <a16:creationId xmlns:a16="http://schemas.microsoft.com/office/drawing/2014/main" id="{A39AD67B-6153-8ADC-5C7C-51F7B6677D14}"/>
              </a:ext>
            </a:extLst>
          </p:cNvPr>
          <p:cNvSpPr txBox="1">
            <a:spLocks/>
          </p:cNvSpPr>
          <p:nvPr/>
        </p:nvSpPr>
        <p:spPr>
          <a:xfrm>
            <a:off x="54269" y="-5334"/>
            <a:ext cx="455182" cy="32892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6.</a:t>
            </a:r>
          </a:p>
        </p:txBody>
      </p:sp>
    </p:spTree>
    <p:extLst>
      <p:ext uri="{BB962C8B-B14F-4D97-AF65-F5344CB8AC3E}">
        <p14:creationId xmlns:p14="http://schemas.microsoft.com/office/powerpoint/2010/main" val="1909515485"/>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6AA7521-0BA0-4534-ABCD-FF1B87BA2584}"/>
              </a:ext>
            </a:extLst>
          </p:cNvPr>
          <p:cNvSpPr>
            <a:spLocks noGrp="1"/>
          </p:cNvSpPr>
          <p:nvPr>
            <p:ph type="title"/>
          </p:nvPr>
        </p:nvSpPr>
        <p:spPr>
          <a:xfrm>
            <a:off x="886690" y="37302"/>
            <a:ext cx="7155873" cy="350652"/>
          </a:xfrm>
        </p:spPr>
        <p:txBody>
          <a:bodyPr>
            <a:normAutofit fontScale="90000"/>
          </a:bodyPr>
          <a:lstStyle/>
          <a:p>
            <a:pPr algn="ctr"/>
            <a:r>
              <a:rPr lang="en-US" sz="2100" dirty="0">
                <a:solidFill>
                  <a:schemeClr val="tx1"/>
                </a:solidFill>
                <a:latin typeface="Arial" panose="020B0604020202020204" pitchFamily="34" charset="0"/>
                <a:cs typeface="Arial" panose="020B0604020202020204" pitchFamily="34" charset="0"/>
              </a:rPr>
              <a:t>The Regulatory Landscape of National Payment System (NPS)</a:t>
            </a:r>
            <a:endParaRPr lang="en-US" sz="2100" dirty="0">
              <a:solidFill>
                <a:srgbClr val="FF0000"/>
              </a:solidFill>
              <a:latin typeface="Arial" panose="020B0604020202020204" pitchFamily="34" charset="0"/>
              <a:cs typeface="Arial" panose="020B0604020202020204" pitchFamily="34" charset="0"/>
            </a:endParaRPr>
          </a:p>
        </p:txBody>
      </p:sp>
      <p:sp>
        <p:nvSpPr>
          <p:cNvPr id="11" name="Title 10">
            <a:extLst>
              <a:ext uri="{FF2B5EF4-FFF2-40B4-BE49-F238E27FC236}">
                <a16:creationId xmlns:a16="http://schemas.microsoft.com/office/drawing/2014/main" id="{04C87FBB-AF74-6B53-FA76-3062CDB40475}"/>
              </a:ext>
            </a:extLst>
          </p:cNvPr>
          <p:cNvSpPr txBox="1">
            <a:spLocks/>
          </p:cNvSpPr>
          <p:nvPr/>
        </p:nvSpPr>
        <p:spPr>
          <a:xfrm>
            <a:off x="23905" y="26703"/>
            <a:ext cx="488050"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7.</a:t>
            </a:r>
          </a:p>
        </p:txBody>
      </p:sp>
      <p:grpSp>
        <p:nvGrpSpPr>
          <p:cNvPr id="21" name="Group 20">
            <a:extLst>
              <a:ext uri="{FF2B5EF4-FFF2-40B4-BE49-F238E27FC236}">
                <a16:creationId xmlns:a16="http://schemas.microsoft.com/office/drawing/2014/main" id="{27AD35F7-3D8D-2F44-5C64-B395314186B1}"/>
              </a:ext>
            </a:extLst>
          </p:cNvPr>
          <p:cNvGrpSpPr/>
          <p:nvPr/>
        </p:nvGrpSpPr>
        <p:grpSpPr>
          <a:xfrm>
            <a:off x="23905" y="-14578"/>
            <a:ext cx="9120095" cy="4917799"/>
            <a:chOff x="47810" y="18705"/>
            <a:chExt cx="9120095" cy="4917799"/>
          </a:xfrm>
        </p:grpSpPr>
        <p:cxnSp>
          <p:nvCxnSpPr>
            <p:cNvPr id="2" name="Straight Connector 1">
              <a:extLst>
                <a:ext uri="{FF2B5EF4-FFF2-40B4-BE49-F238E27FC236}">
                  <a16:creationId xmlns:a16="http://schemas.microsoft.com/office/drawing/2014/main" id="{AB37C366-80BA-BF35-3228-F58D83E844F6}"/>
                </a:ext>
              </a:extLst>
            </p:cNvPr>
            <p:cNvCxnSpPr>
              <a:cxnSpLocks/>
            </p:cNvCxnSpPr>
            <p:nvPr/>
          </p:nvCxnSpPr>
          <p:spPr>
            <a:xfrm>
              <a:off x="47810" y="441717"/>
              <a:ext cx="9120095" cy="12434"/>
            </a:xfrm>
            <a:prstGeom prst="line">
              <a:avLst/>
            </a:prstGeom>
            <a:noFill/>
            <a:ln w="19050" cap="flat" cmpd="sng" algn="ctr">
              <a:solidFill>
                <a:srgbClr val="F19D19"/>
              </a:solidFill>
              <a:prstDash val="solid"/>
              <a:miter lim="800000"/>
            </a:ln>
            <a:effectLst/>
          </p:spPr>
        </p:cxnSp>
        <p:pic>
          <p:nvPicPr>
            <p:cNvPr id="3" name="Picture 2">
              <a:extLst>
                <a:ext uri="{FF2B5EF4-FFF2-40B4-BE49-F238E27FC236}">
                  <a16:creationId xmlns:a16="http://schemas.microsoft.com/office/drawing/2014/main" id="{1FC518BC-80F4-8271-E5F3-ADF6026C31B6}"/>
                </a:ext>
              </a:extLst>
            </p:cNvPr>
            <p:cNvPicPr>
              <a:picLocks noChangeAspect="1"/>
            </p:cNvPicPr>
            <p:nvPr/>
          </p:nvPicPr>
          <p:blipFill>
            <a:blip r:embed="rId3"/>
            <a:stretch>
              <a:fillRect/>
            </a:stretch>
          </p:blipFill>
          <p:spPr>
            <a:xfrm>
              <a:off x="8655950" y="18705"/>
              <a:ext cx="488050" cy="428333"/>
            </a:xfrm>
            <a:prstGeom prst="rect">
              <a:avLst/>
            </a:prstGeom>
          </p:spPr>
        </p:pic>
        <p:sp>
          <p:nvSpPr>
            <p:cNvPr id="7" name="Arrow: Down 6">
              <a:extLst>
                <a:ext uri="{FF2B5EF4-FFF2-40B4-BE49-F238E27FC236}">
                  <a16:creationId xmlns:a16="http://schemas.microsoft.com/office/drawing/2014/main" id="{58B5BCE7-0737-734A-1C1A-910D73FDE086}"/>
                </a:ext>
              </a:extLst>
            </p:cNvPr>
            <p:cNvSpPr/>
            <p:nvPr/>
          </p:nvSpPr>
          <p:spPr>
            <a:xfrm rot="16200000">
              <a:off x="5441861" y="2447948"/>
              <a:ext cx="82148" cy="491834"/>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Down 7">
              <a:extLst>
                <a:ext uri="{FF2B5EF4-FFF2-40B4-BE49-F238E27FC236}">
                  <a16:creationId xmlns:a16="http://schemas.microsoft.com/office/drawing/2014/main" id="{9BDD19BC-FAEF-3B4C-137C-EB46DE0CDF5B}"/>
                </a:ext>
              </a:extLst>
            </p:cNvPr>
            <p:cNvSpPr/>
            <p:nvPr/>
          </p:nvSpPr>
          <p:spPr>
            <a:xfrm rot="10800000" flipH="1">
              <a:off x="4325139" y="1456593"/>
              <a:ext cx="93744" cy="474695"/>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EB1DC017-B122-6E24-6742-E4BFD5F289A2}"/>
                </a:ext>
              </a:extLst>
            </p:cNvPr>
            <p:cNvSpPr/>
            <p:nvPr/>
          </p:nvSpPr>
          <p:spPr>
            <a:xfrm rot="5400000" flipH="1">
              <a:off x="3178329" y="2471326"/>
              <a:ext cx="80081" cy="55981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Down 9">
              <a:extLst>
                <a:ext uri="{FF2B5EF4-FFF2-40B4-BE49-F238E27FC236}">
                  <a16:creationId xmlns:a16="http://schemas.microsoft.com/office/drawing/2014/main" id="{99597434-E978-9182-DF43-CB482A0EE1B9}"/>
                </a:ext>
              </a:extLst>
            </p:cNvPr>
            <p:cNvSpPr/>
            <p:nvPr/>
          </p:nvSpPr>
          <p:spPr>
            <a:xfrm flipH="1">
              <a:off x="4300675" y="3541867"/>
              <a:ext cx="118207" cy="559816"/>
            </a:xfrm>
            <a:prstGeom prst="down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lowchart: Delay 12">
              <a:extLst>
                <a:ext uri="{FF2B5EF4-FFF2-40B4-BE49-F238E27FC236}">
                  <a16:creationId xmlns:a16="http://schemas.microsoft.com/office/drawing/2014/main" id="{0766E3ED-1088-0506-82E7-FEE620CCDFC9}"/>
                </a:ext>
              </a:extLst>
            </p:cNvPr>
            <p:cNvSpPr/>
            <p:nvPr/>
          </p:nvSpPr>
          <p:spPr>
            <a:xfrm>
              <a:off x="5770419" y="2183290"/>
              <a:ext cx="1808018" cy="1021150"/>
            </a:xfrm>
            <a:prstGeom prst="flowChartDelay">
              <a:avLst/>
            </a:prstGeom>
            <a:gradFill flip="none" rotWithShape="1">
              <a:gsLst>
                <a:gs pos="0">
                  <a:schemeClr val="accent2">
                    <a:alpha val="64000"/>
                    <a:lumMod val="100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600" b="1">
                  <a:solidFill>
                    <a:schemeClr val="bg1"/>
                  </a:solidFill>
                  <a:latin typeface="Century Gothic" panose="020B0502020202020204" pitchFamily="34" charset="0"/>
                  <a:cs typeface="Arial"/>
                </a:rPr>
                <a:t>Licensing and Authorization</a:t>
              </a:r>
            </a:p>
          </p:txBody>
        </p:sp>
        <p:sp>
          <p:nvSpPr>
            <p:cNvPr id="15" name="Flowchart: Delay 14">
              <a:extLst>
                <a:ext uri="{FF2B5EF4-FFF2-40B4-BE49-F238E27FC236}">
                  <a16:creationId xmlns:a16="http://schemas.microsoft.com/office/drawing/2014/main" id="{3A480359-4E46-1587-0064-78BF999ED1D6}"/>
                </a:ext>
              </a:extLst>
            </p:cNvPr>
            <p:cNvSpPr/>
            <p:nvPr/>
          </p:nvSpPr>
          <p:spPr>
            <a:xfrm rot="16200000">
              <a:off x="3935399" y="129634"/>
              <a:ext cx="828429" cy="1731818"/>
            </a:xfrm>
            <a:prstGeom prst="flowChartDelay">
              <a:avLst/>
            </a:prstGeom>
            <a:gradFill flip="none" rotWithShape="1">
              <a:gsLst>
                <a:gs pos="0">
                  <a:schemeClr val="accent2">
                    <a:lumMod val="100000"/>
                    <a:alpha val="52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bg1"/>
                </a:solidFill>
              </a:endParaRPr>
            </a:p>
          </p:txBody>
        </p:sp>
        <p:sp>
          <p:nvSpPr>
            <p:cNvPr id="16" name="Flowchart: Delay 15">
              <a:extLst>
                <a:ext uri="{FF2B5EF4-FFF2-40B4-BE49-F238E27FC236}">
                  <a16:creationId xmlns:a16="http://schemas.microsoft.com/office/drawing/2014/main" id="{08107F6C-7848-8A87-DCD2-105FCF86725C}"/>
                </a:ext>
              </a:extLst>
            </p:cNvPr>
            <p:cNvSpPr/>
            <p:nvPr/>
          </p:nvSpPr>
          <p:spPr>
            <a:xfrm rot="10800000">
              <a:off x="1177634" y="2235610"/>
              <a:ext cx="1733115" cy="1021150"/>
            </a:xfrm>
            <a:prstGeom prst="flowChartDelay">
              <a:avLst/>
            </a:prstGeom>
            <a:gradFill flip="none" rotWithShape="1">
              <a:gsLst>
                <a:gs pos="0">
                  <a:schemeClr val="accent2">
                    <a:lumMod val="99000"/>
                    <a:lumOff val="1000"/>
                    <a:alpha val="54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7" name="Flowchart: Delay 16">
              <a:extLst>
                <a:ext uri="{FF2B5EF4-FFF2-40B4-BE49-F238E27FC236}">
                  <a16:creationId xmlns:a16="http://schemas.microsoft.com/office/drawing/2014/main" id="{641FC633-518D-EC63-C937-BDD9FEF3F5BD}"/>
                </a:ext>
              </a:extLst>
            </p:cNvPr>
            <p:cNvSpPr/>
            <p:nvPr/>
          </p:nvSpPr>
          <p:spPr>
            <a:xfrm rot="5400000">
              <a:off x="3979142" y="3630139"/>
              <a:ext cx="825500" cy="1787229"/>
            </a:xfrm>
            <a:prstGeom prst="flowChartDelay">
              <a:avLst/>
            </a:prstGeom>
            <a:gradFill flip="none" rotWithShape="1">
              <a:gsLst>
                <a:gs pos="0">
                  <a:schemeClr val="accent2">
                    <a:lumMod val="100000"/>
                    <a:alpha val="51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7698910-7BB3-7A4D-5D5C-E297B01F669C}"/>
                </a:ext>
              </a:extLst>
            </p:cNvPr>
            <p:cNvSpPr txBox="1"/>
            <p:nvPr/>
          </p:nvSpPr>
          <p:spPr>
            <a:xfrm>
              <a:off x="1565563" y="2319441"/>
              <a:ext cx="1323108" cy="830997"/>
            </a:xfrm>
            <a:prstGeom prst="rect">
              <a:avLst/>
            </a:prstGeom>
            <a:noFill/>
          </p:spPr>
          <p:txBody>
            <a:bodyPr wrap="square" rtlCol="0">
              <a:spAutoFit/>
            </a:bodyPr>
            <a:lstStyle/>
            <a:p>
              <a:r>
                <a:rPr lang="en-US" sz="1600" b="1" dirty="0">
                  <a:solidFill>
                    <a:schemeClr val="bg1"/>
                  </a:solidFill>
                  <a:latin typeface="Century Gothic" panose="020B0502020202020204" pitchFamily="34" charset="0"/>
                </a:rPr>
                <a:t>Payment Systems Operation</a:t>
              </a:r>
            </a:p>
          </p:txBody>
        </p:sp>
        <p:sp>
          <p:nvSpPr>
            <p:cNvPr id="19" name="TextBox 18">
              <a:extLst>
                <a:ext uri="{FF2B5EF4-FFF2-40B4-BE49-F238E27FC236}">
                  <a16:creationId xmlns:a16="http://schemas.microsoft.com/office/drawing/2014/main" id="{2DED2339-9ED8-20FB-E014-9D8B0FB637D8}"/>
                </a:ext>
              </a:extLst>
            </p:cNvPr>
            <p:cNvSpPr txBox="1"/>
            <p:nvPr/>
          </p:nvSpPr>
          <p:spPr>
            <a:xfrm>
              <a:off x="3698445" y="719841"/>
              <a:ext cx="1427732" cy="523220"/>
            </a:xfrm>
            <a:prstGeom prst="rect">
              <a:avLst/>
            </a:prstGeom>
            <a:noFill/>
          </p:spPr>
          <p:txBody>
            <a:bodyPr wrap="square" rtlCol="0">
              <a:spAutoFit/>
            </a:bodyPr>
            <a:lstStyle/>
            <a:p>
              <a:r>
                <a:rPr lang="en-US" b="1" dirty="0">
                  <a:solidFill>
                    <a:schemeClr val="bg1"/>
                  </a:solidFill>
                  <a:latin typeface="Century Gothic" panose="020B0502020202020204" pitchFamily="34" charset="0"/>
                </a:rPr>
                <a:t>Policy and data Analysis</a:t>
              </a:r>
            </a:p>
          </p:txBody>
        </p:sp>
        <p:sp>
          <p:nvSpPr>
            <p:cNvPr id="20" name="TextBox 19">
              <a:extLst>
                <a:ext uri="{FF2B5EF4-FFF2-40B4-BE49-F238E27FC236}">
                  <a16:creationId xmlns:a16="http://schemas.microsoft.com/office/drawing/2014/main" id="{6C440349-F41C-7948-3F06-AFB035DE71AC}"/>
                </a:ext>
              </a:extLst>
            </p:cNvPr>
            <p:cNvSpPr txBox="1"/>
            <p:nvPr/>
          </p:nvSpPr>
          <p:spPr>
            <a:xfrm>
              <a:off x="3698445" y="4115536"/>
              <a:ext cx="1587063" cy="738664"/>
            </a:xfrm>
            <a:prstGeom prst="rect">
              <a:avLst/>
            </a:prstGeom>
            <a:noFill/>
          </p:spPr>
          <p:txBody>
            <a:bodyPr wrap="square" rtlCol="0">
              <a:spAutoFit/>
            </a:bodyPr>
            <a:lstStyle/>
            <a:p>
              <a:r>
                <a:rPr lang="en-US" b="1">
                  <a:solidFill>
                    <a:schemeClr val="bg1"/>
                  </a:solidFill>
                  <a:latin typeface="Century Gothic" panose="020B0502020202020204" pitchFamily="34" charset="0"/>
                </a:rPr>
                <a:t>Supervision – Oversight and Compliance</a:t>
              </a:r>
            </a:p>
          </p:txBody>
        </p:sp>
        <p:sp>
          <p:nvSpPr>
            <p:cNvPr id="5" name="Flowchart: Connector 4">
              <a:extLst>
                <a:ext uri="{FF2B5EF4-FFF2-40B4-BE49-F238E27FC236}">
                  <a16:creationId xmlns:a16="http://schemas.microsoft.com/office/drawing/2014/main" id="{B6949E59-C8AC-506F-74F8-78007D34D752}"/>
                </a:ext>
              </a:extLst>
            </p:cNvPr>
            <p:cNvSpPr/>
            <p:nvPr/>
          </p:nvSpPr>
          <p:spPr>
            <a:xfrm>
              <a:off x="3505200" y="1938215"/>
              <a:ext cx="1870364" cy="1719385"/>
            </a:xfrm>
            <a:prstGeom prst="flowChartConnector">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latin typeface="Century Gothic" panose="020B0502020202020204" pitchFamily="34" charset="0"/>
                </a:rPr>
                <a:t>National Payment System</a:t>
              </a:r>
            </a:p>
          </p:txBody>
        </p:sp>
      </p:grpSp>
    </p:spTree>
    <p:extLst>
      <p:ext uri="{BB962C8B-B14F-4D97-AF65-F5344CB8AC3E}">
        <p14:creationId xmlns:p14="http://schemas.microsoft.com/office/powerpoint/2010/main" val="3926407381"/>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44F6-019D-FDEC-D69D-34F4F659E4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8DC6F4-A1F8-C9CA-CDFA-EF182B1D9DE1}"/>
              </a:ext>
            </a:extLst>
          </p:cNvPr>
          <p:cNvSpPr>
            <a:spLocks noGrp="1"/>
          </p:cNvSpPr>
          <p:nvPr>
            <p:ph type="title"/>
          </p:nvPr>
        </p:nvSpPr>
        <p:spPr>
          <a:xfrm>
            <a:off x="600450" y="16859"/>
            <a:ext cx="7761734" cy="442913"/>
          </a:xfrm>
        </p:spPr>
        <p:txBody>
          <a:bodyPr/>
          <a:lstStyle/>
          <a:p>
            <a:pPr algn="ctr"/>
            <a:r>
              <a:rPr lang="en-GB" sz="2400" b="1" noProof="0" dirty="0">
                <a:solidFill>
                  <a:schemeClr val="tx1"/>
                </a:solidFill>
                <a:latin typeface="Century Gothic" panose="020B0502020202020204" pitchFamily="34" charset="0"/>
              </a:rPr>
              <a:t>Categories of Payment Service Providers (PSPs)</a:t>
            </a:r>
          </a:p>
        </p:txBody>
      </p:sp>
      <p:graphicFrame>
        <p:nvGraphicFramePr>
          <p:cNvPr id="6" name="Table 5">
            <a:extLst>
              <a:ext uri="{FF2B5EF4-FFF2-40B4-BE49-F238E27FC236}">
                <a16:creationId xmlns:a16="http://schemas.microsoft.com/office/drawing/2014/main" id="{A2C2A6D9-2BF7-9C1D-AD79-FDCB122F6CC6}"/>
              </a:ext>
            </a:extLst>
          </p:cNvPr>
          <p:cNvGraphicFramePr>
            <a:graphicFrameLocks noGrp="1"/>
          </p:cNvGraphicFramePr>
          <p:nvPr>
            <p:extLst>
              <p:ext uri="{D42A27DB-BD31-4B8C-83A1-F6EECF244321}">
                <p14:modId xmlns:p14="http://schemas.microsoft.com/office/powerpoint/2010/main" val="94631261"/>
              </p:ext>
            </p:extLst>
          </p:nvPr>
        </p:nvGraphicFramePr>
        <p:xfrm>
          <a:off x="253643" y="651917"/>
          <a:ext cx="8574248" cy="4162498"/>
        </p:xfrm>
        <a:graphic>
          <a:graphicData uri="http://schemas.openxmlformats.org/drawingml/2006/table">
            <a:tbl>
              <a:tblPr firstRow="1" bandRow="1">
                <a:tableStyleId>{B301B821-A1FF-4177-AEE7-76D212191A09}</a:tableStyleId>
              </a:tblPr>
              <a:tblGrid>
                <a:gridCol w="4240990">
                  <a:extLst>
                    <a:ext uri="{9D8B030D-6E8A-4147-A177-3AD203B41FA5}">
                      <a16:colId xmlns:a16="http://schemas.microsoft.com/office/drawing/2014/main" val="3063814590"/>
                    </a:ext>
                  </a:extLst>
                </a:gridCol>
                <a:gridCol w="4333258">
                  <a:extLst>
                    <a:ext uri="{9D8B030D-6E8A-4147-A177-3AD203B41FA5}">
                      <a16:colId xmlns:a16="http://schemas.microsoft.com/office/drawing/2014/main" val="4289583037"/>
                    </a:ext>
                  </a:extLst>
                </a:gridCol>
              </a:tblGrid>
              <a:tr h="359163">
                <a:tc>
                  <a:txBody>
                    <a:bodyPr/>
                    <a:lstStyle/>
                    <a:p>
                      <a:r>
                        <a:rPr lang="en-GB" sz="2000" b="1" noProof="0">
                          <a:solidFill>
                            <a:schemeClr val="bg1"/>
                          </a:solidFill>
                        </a:rPr>
                        <a:t>License Type</a:t>
                      </a:r>
                      <a:endParaRPr lang="en-GB" sz="1800" b="1" noProof="0">
                        <a:solidFill>
                          <a:schemeClr val="bg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2000" b="1" noProof="0"/>
                        <a:t>License Category</a:t>
                      </a:r>
                      <a:endParaRPr lang="en-GB" sz="2000" b="1" noProof="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0500906"/>
                  </a:ext>
                </a:extLst>
              </a:tr>
              <a:tr h="15172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dirty="0">
                          <a:solidFill>
                            <a:schemeClr val="tx1"/>
                          </a:solidFill>
                        </a:rPr>
                        <a:t>1. Payment Service Provider</a:t>
                      </a:r>
                    </a:p>
                    <a:p>
                      <a:endParaRPr lang="en-GB" sz="1100" b="1" noProof="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28600" indent="-228600">
                        <a:buFont typeface="Wingdings" panose="05000000000000000000" pitchFamily="2" charset="2"/>
                        <a:buChar char="ü"/>
                      </a:pPr>
                      <a:r>
                        <a:rPr lang="en-GB" sz="1100" b="0" noProof="0">
                          <a:solidFill>
                            <a:schemeClr val="tx1"/>
                          </a:solidFill>
                        </a:rPr>
                        <a:t>Payment Initiation Service Provider </a:t>
                      </a:r>
                    </a:p>
                    <a:p>
                      <a:pPr marL="228600" indent="-228600">
                        <a:buFont typeface="Wingdings" panose="05000000000000000000" pitchFamily="2" charset="2"/>
                        <a:buChar char="ü"/>
                      </a:pPr>
                      <a:r>
                        <a:rPr lang="en-GB" sz="1100" b="0" noProof="0">
                          <a:solidFill>
                            <a:schemeClr val="tx1"/>
                          </a:solidFill>
                        </a:rPr>
                        <a:t>Account Information Service Provider </a:t>
                      </a:r>
                    </a:p>
                    <a:p>
                      <a:pPr marL="228600" indent="-228600">
                        <a:buFont typeface="Wingdings" panose="05000000000000000000" pitchFamily="2" charset="2"/>
                        <a:buChar char="ü"/>
                      </a:pPr>
                      <a:r>
                        <a:rPr lang="en-GB" sz="1100" b="0" noProof="0">
                          <a:solidFill>
                            <a:schemeClr val="tx1"/>
                          </a:solidFill>
                        </a:rPr>
                        <a:t>Merchant Acquiring </a:t>
                      </a:r>
                    </a:p>
                    <a:p>
                      <a:pPr marL="228600" indent="-228600">
                        <a:buFont typeface="Wingdings" panose="05000000000000000000" pitchFamily="2" charset="2"/>
                        <a:buChar char="ü"/>
                      </a:pPr>
                      <a:r>
                        <a:rPr lang="en-GB" sz="1100" b="0" noProof="0">
                          <a:solidFill>
                            <a:schemeClr val="tx1"/>
                          </a:solidFill>
                        </a:rPr>
                        <a:t>Electronic Wallet Provider </a:t>
                      </a:r>
                    </a:p>
                    <a:p>
                      <a:pPr marL="228600" indent="-228600">
                        <a:buFont typeface="Wingdings" panose="05000000000000000000" pitchFamily="2" charset="2"/>
                        <a:buChar char="ü"/>
                      </a:pPr>
                      <a:r>
                        <a:rPr lang="en-GB" sz="1100" b="0" noProof="0">
                          <a:solidFill>
                            <a:schemeClr val="tx1"/>
                          </a:solidFill>
                        </a:rPr>
                        <a:t>Virtual Asset Wallet Provider </a:t>
                      </a:r>
                    </a:p>
                    <a:p>
                      <a:pPr marL="228600" indent="-228600">
                        <a:buFont typeface="Wingdings" panose="05000000000000000000" pitchFamily="2" charset="2"/>
                        <a:buChar char="ü"/>
                      </a:pPr>
                      <a:r>
                        <a:rPr lang="en-GB" sz="1100" b="0" noProof="0">
                          <a:solidFill>
                            <a:schemeClr val="tx1"/>
                          </a:solidFill>
                        </a:rPr>
                        <a:t>Money Remittance Service Provider</a:t>
                      </a:r>
                    </a:p>
                    <a:p>
                      <a:pPr marL="228600" indent="-228600">
                        <a:buFont typeface="Wingdings" panose="05000000000000000000" pitchFamily="2" charset="2"/>
                        <a:buChar char="ü"/>
                      </a:pPr>
                      <a:r>
                        <a:rPr lang="en-GB" sz="1100" b="0" noProof="0">
                          <a:solidFill>
                            <a:schemeClr val="tx1"/>
                          </a:solidFill>
                        </a:rPr>
                        <a:t>Electronic Money Issuer</a:t>
                      </a:r>
                    </a:p>
                    <a:p>
                      <a:pPr marL="228600" indent="-228600">
                        <a:buFont typeface="Wingdings" panose="05000000000000000000" pitchFamily="2" charset="2"/>
                        <a:buChar char="ü"/>
                      </a:pPr>
                      <a:r>
                        <a:rPr lang="en-GB" sz="1100" b="0" noProof="0">
                          <a:solidFill>
                            <a:schemeClr val="tx1"/>
                          </a:solidFill>
                        </a:rPr>
                        <a:t>Stable Coin Issuer </a:t>
                      </a:r>
                    </a:p>
                    <a:p>
                      <a:pPr marL="228600" indent="-228600">
                        <a:buFont typeface="Wingdings" panose="05000000000000000000" pitchFamily="2" charset="2"/>
                        <a:buChar char="ü"/>
                      </a:pPr>
                      <a:r>
                        <a:rPr lang="en-GB" sz="1100" b="0" noProof="0">
                          <a:solidFill>
                            <a:schemeClr val="tx1"/>
                          </a:solidFill>
                        </a:rPr>
                        <a:t>Banks  and Micro - Finance banks *</a:t>
                      </a:r>
                      <a:endParaRPr lang="en-GB" sz="1000" b="0" noProof="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22214097"/>
                  </a:ext>
                </a:extLst>
              </a:tr>
              <a:tr h="872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a:solidFill>
                            <a:schemeClr val="tx1"/>
                          </a:solidFill>
                        </a:rPr>
                        <a:t>2.Payment System Operator</a:t>
                      </a:r>
                    </a:p>
                    <a:p>
                      <a:endParaRPr lang="en-GB" sz="1100" b="1" noProof="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ü"/>
                      </a:pPr>
                      <a:r>
                        <a:rPr lang="en-US" sz="1100" b="0" noProof="0">
                          <a:solidFill>
                            <a:schemeClr val="tx1"/>
                          </a:solidFill>
                        </a:rPr>
                        <a:t>Payment Gateway</a:t>
                      </a:r>
                    </a:p>
                    <a:p>
                      <a:pPr marL="171450" indent="-171450">
                        <a:buFont typeface="Wingdings" panose="05000000000000000000" pitchFamily="2" charset="2"/>
                        <a:buChar char="ü"/>
                      </a:pPr>
                      <a:r>
                        <a:rPr lang="en-US" sz="1100" b="0" noProof="0">
                          <a:solidFill>
                            <a:schemeClr val="tx1"/>
                          </a:solidFill>
                        </a:rPr>
                        <a:t>Virtual Asset Payment Gateway Processor</a:t>
                      </a:r>
                    </a:p>
                    <a:p>
                      <a:pPr marL="171450" indent="-171450">
                        <a:buFont typeface="Wingdings" panose="05000000000000000000" pitchFamily="2" charset="2"/>
                        <a:buChar char="ü"/>
                      </a:pPr>
                      <a:r>
                        <a:rPr lang="en-US" sz="1100" b="0" noProof="0">
                          <a:solidFill>
                            <a:schemeClr val="tx1"/>
                          </a:solidFill>
                        </a:rPr>
                        <a:t>Electronic Payment  Messaging Service Provider </a:t>
                      </a:r>
                    </a:p>
                    <a:p>
                      <a:pPr marL="171450" indent="-171450">
                        <a:buFont typeface="Wingdings" panose="05000000000000000000" pitchFamily="2" charset="2"/>
                        <a:buChar char="ü"/>
                      </a:pPr>
                      <a:r>
                        <a:rPr lang="en-US" sz="1100" b="0" noProof="0">
                          <a:solidFill>
                            <a:schemeClr val="tx1"/>
                          </a:solidFill>
                        </a:rPr>
                        <a:t>Card Scheme Provider</a:t>
                      </a:r>
                    </a:p>
                    <a:p>
                      <a:pPr marL="171450" indent="-171450">
                        <a:buFont typeface="Wingdings" panose="05000000000000000000" pitchFamily="2" charset="2"/>
                        <a:buChar char="ü"/>
                      </a:pPr>
                      <a:r>
                        <a:rPr lang="en-US" sz="1100" b="0" noProof="0">
                          <a:solidFill>
                            <a:schemeClr val="tx1"/>
                          </a:solidFill>
                        </a:rPr>
                        <a:t>Payment Switching Services </a:t>
                      </a:r>
                      <a:endParaRPr lang="en-GB" sz="1000" b="0" noProof="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9317476"/>
                  </a:ext>
                </a:extLst>
              </a:tr>
              <a:tr h="710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noProof="0">
                          <a:solidFill>
                            <a:schemeClr val="tx1"/>
                          </a:solidFill>
                        </a:rPr>
                        <a:t>3.Payment Systems operated by Central Bank</a:t>
                      </a:r>
                    </a:p>
                    <a:p>
                      <a:endParaRPr lang="en-GB" sz="1100" b="1" noProof="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ü"/>
                      </a:pPr>
                      <a:r>
                        <a:rPr lang="en-US" sz="1100" b="0" noProof="0">
                          <a:solidFill>
                            <a:schemeClr val="tx1"/>
                          </a:solidFill>
                        </a:rPr>
                        <a:t>Real Time Gross Settlement Systems</a:t>
                      </a:r>
                    </a:p>
                    <a:p>
                      <a:pPr marL="171450" indent="-171450">
                        <a:buFont typeface="Wingdings" panose="05000000000000000000" pitchFamily="2" charset="2"/>
                        <a:buChar char="ü"/>
                      </a:pPr>
                      <a:r>
                        <a:rPr lang="en-US" sz="1100" b="0" noProof="0">
                          <a:solidFill>
                            <a:schemeClr val="tx1"/>
                          </a:solidFill>
                        </a:rPr>
                        <a:t>Cross -Border Payment Settlement Systems</a:t>
                      </a:r>
                    </a:p>
                    <a:p>
                      <a:pPr marL="171450" indent="-171450">
                        <a:buFont typeface="Wingdings" panose="05000000000000000000" pitchFamily="2" charset="2"/>
                        <a:buChar char="ü"/>
                      </a:pPr>
                      <a:r>
                        <a:rPr lang="en-US" sz="1100" b="0" noProof="0">
                          <a:solidFill>
                            <a:schemeClr val="tx1"/>
                          </a:solidFill>
                        </a:rPr>
                        <a:t>Automated Clearing House </a:t>
                      </a:r>
                    </a:p>
                    <a:p>
                      <a:pPr marL="171450" indent="-171450">
                        <a:buFont typeface="Wingdings" panose="05000000000000000000" pitchFamily="2" charset="2"/>
                        <a:buChar char="ü"/>
                      </a:pPr>
                      <a:r>
                        <a:rPr lang="en-US" sz="1100" b="0" noProof="0">
                          <a:solidFill>
                            <a:schemeClr val="tx1"/>
                          </a:solidFill>
                        </a:rPr>
                        <a:t>Central Securities Depository  for Government Debt Securities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80195280"/>
                  </a:ext>
                </a:extLst>
              </a:tr>
              <a:tr h="56585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noProof="0" dirty="0">
                          <a:solidFill>
                            <a:schemeClr val="tx1"/>
                          </a:solidFill>
                        </a:rPr>
                        <a:t>4</a:t>
                      </a:r>
                      <a:r>
                        <a:rPr lang="en-GB" sz="2000" b="1" noProof="0" dirty="0">
                          <a:solidFill>
                            <a:schemeClr val="tx1"/>
                          </a:solidFill>
                        </a:rPr>
                        <a:t>.</a:t>
                      </a:r>
                      <a:r>
                        <a:rPr lang="en-GB" sz="1400" b="1" i="0" u="none" strike="noStrike" cap="none" noProof="0" dirty="0">
                          <a:solidFill>
                            <a:schemeClr val="tx1"/>
                          </a:solidFill>
                          <a:latin typeface="+mn-lt"/>
                          <a:ea typeface="+mn-ea"/>
                          <a:cs typeface="+mn-cs"/>
                          <a:sym typeface="Arial"/>
                        </a:rPr>
                        <a:t>Any other Payment System operated by the Central Ban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050" b="1" noProof="0">
                        <a:solidFill>
                          <a:schemeClr val="tx1"/>
                        </a:solidFill>
                        <a:latin typeface="Century Gothic" panose="020B0502020202020204" pitchFamily="34" charset="0"/>
                      </a:endParaRPr>
                    </a:p>
                  </a:txBody>
                  <a:tcPr marL="68580" marR="68580" marT="34290" marB="34290">
                    <a:solidFill>
                      <a:schemeClr val="bg1"/>
                    </a:solidFill>
                  </a:tcPr>
                </a:tc>
                <a:extLst>
                  <a:ext uri="{0D108BD9-81ED-4DB2-BD59-A6C34878D82A}">
                    <a16:rowId xmlns:a16="http://schemas.microsoft.com/office/drawing/2014/main" val="2716645425"/>
                  </a:ext>
                </a:extLst>
              </a:tr>
            </a:tbl>
          </a:graphicData>
        </a:graphic>
      </p:graphicFrame>
      <p:pic>
        <p:nvPicPr>
          <p:cNvPr id="3" name="Picture 2">
            <a:extLst>
              <a:ext uri="{FF2B5EF4-FFF2-40B4-BE49-F238E27FC236}">
                <a16:creationId xmlns:a16="http://schemas.microsoft.com/office/drawing/2014/main" id="{E9641BC4-CA84-C5E8-1B61-14E072928E34}"/>
              </a:ext>
            </a:extLst>
          </p:cNvPr>
          <p:cNvPicPr>
            <a:picLocks noChangeAspect="1"/>
          </p:cNvPicPr>
          <p:nvPr/>
        </p:nvPicPr>
        <p:blipFill>
          <a:blip r:embed="rId3"/>
          <a:stretch>
            <a:fillRect/>
          </a:stretch>
        </p:blipFill>
        <p:spPr>
          <a:xfrm>
            <a:off x="8599251" y="1"/>
            <a:ext cx="528940" cy="419160"/>
          </a:xfrm>
          <a:prstGeom prst="rect">
            <a:avLst/>
          </a:prstGeom>
        </p:spPr>
      </p:pic>
      <p:sp>
        <p:nvSpPr>
          <p:cNvPr id="4" name="Title 10">
            <a:extLst>
              <a:ext uri="{FF2B5EF4-FFF2-40B4-BE49-F238E27FC236}">
                <a16:creationId xmlns:a16="http://schemas.microsoft.com/office/drawing/2014/main" id="{B3E31B16-80A8-4708-875F-DDF5569BC50C}"/>
              </a:ext>
            </a:extLst>
          </p:cNvPr>
          <p:cNvSpPr txBox="1">
            <a:spLocks/>
          </p:cNvSpPr>
          <p:nvPr/>
        </p:nvSpPr>
        <p:spPr>
          <a:xfrm>
            <a:off x="9537" y="21096"/>
            <a:ext cx="646041" cy="3867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chemeClr val="tx1"/>
                </a:solidFill>
                <a:latin typeface="Century Gothic" panose="020B0502020202020204" pitchFamily="34" charset="0"/>
              </a:rPr>
              <a:t>8</a:t>
            </a:r>
            <a:r>
              <a:rPr lang="en-US" sz="2000" b="1" dirty="0">
                <a:solidFill>
                  <a:schemeClr val="tx1"/>
                </a:solidFill>
                <a:latin typeface="Century Gothic" panose="020B0502020202020204" pitchFamily="34" charset="0"/>
              </a:rPr>
              <a:t>.</a:t>
            </a:r>
          </a:p>
        </p:txBody>
      </p:sp>
    </p:spTree>
    <p:extLst>
      <p:ext uri="{BB962C8B-B14F-4D97-AF65-F5344CB8AC3E}">
        <p14:creationId xmlns:p14="http://schemas.microsoft.com/office/powerpoint/2010/main" val="15556649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sVMAwWabcI4HtyClDDw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9qZuBCfhtTMu5OJyC6t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9t.EE489R6k2zUeeTf2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oGJef1O1mGSahaW9Sk7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k10S4EQjJKqGQC8obdl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Mbp.yG_ClADC2I4aORA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AtirdIRnG2M1tPXhsRp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A8ESnY37Kx8ar37kGtY2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L1NZBdUqOP4xQjhHppO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pfc1v6lQFAuk0HqosC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y3.QXgxKrIt1EDj6f0P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f_t85iaeQKa9R77xzBt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Xu3u.o_BpdgzVX0GPGh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VPYHXB_2WbxSEIJCmVp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o3fv6XsbWL7ZYZDTioK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S6Xx0wo1z3.BWfY2W7f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RzaZrvk20x8sEM6rmri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JdTK4rSXSFcx7EyTvX63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inORuEMPtLKluRqEFOr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_gmSXH1_dyIjKTTg._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0fLy2T2KrTzUz64Tvdr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hD61vz1TrRhiD6mgYXe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Ey_iP_NuAP2hYFOLCF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XVFcBwc3U2exnyK16gU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cM2Xh5Zo88aXoHcmIXx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cG_xR6PTpZcd.EC1EMa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nTTw_MmI_eZJXqJa_B.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5bbmalUEkXt02wu_Vew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LH89GZzUSUseSRwIL6x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LnkNr5bb50AhnbQj39u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uG8FJSECmSr98q3zajT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MZ2b6rBcR0B1EuULCE9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KADp118Mh5AycrydxWx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6xBtaQ5.SjdGDd2_u.7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Ipdf2UJ2Pn0WpfUpjel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CSu.IN1456T1AB5W2D.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aoQgmaHJ0vPiOQ_9xF2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I37PARt8GhgI_XRd7G3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ZI3gYSVaHxR5zgTm6jy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oaIVFh47y_hQk8rpCZm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h.uMUQLYnZQ0Vj2qGZj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GA1pOfYXtGK6.PRtRF0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taFlP3SLS4UlJeUrjAJ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Wf.0qEkMeLbUAtmJM2z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KFgKuJJF6dccozK0vsb3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zRynWbrPdrPcMzQU_DJ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Xrq83M4GJ9S73WywXWa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xGZfvDtwaMP2Zwibc.e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6taFg9T_uQwxDI1RMrm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POIGOH3v4QY7B4QxP_7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3WAJwZUI4HgADDf8WOb1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KS4GV.z8jIyY2lSj8fA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afAIKrE1XjWe.xIvV5l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KdGTMEBsQOHzFb_YkQ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t3Xy8uo7dZrxTHNGNnS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hzPZiDka0XRwtvF4ZSD1w"/>
</p:tagLst>
</file>

<file path=ppt/theme/theme1.xml><?xml version="1.0" encoding="utf-8"?>
<a:theme xmlns:a="http://schemas.openxmlformats.org/drawingml/2006/main" name="Joan template">
  <a:themeElements>
    <a:clrScheme name="Custom 347">
      <a:dk1>
        <a:srgbClr val="000C18"/>
      </a:dk1>
      <a:lt1>
        <a:srgbClr val="FFFFFF"/>
      </a:lt1>
      <a:dk2>
        <a:srgbClr val="85939C"/>
      </a:dk2>
      <a:lt2>
        <a:srgbClr val="E3F2F8"/>
      </a:lt2>
      <a:accent1>
        <a:srgbClr val="25A6E0"/>
      </a:accent1>
      <a:accent2>
        <a:srgbClr val="104499"/>
      </a:accent2>
      <a:accent3>
        <a:srgbClr val="94E277"/>
      </a:accent3>
      <a:accent4>
        <a:srgbClr val="4FB974"/>
      </a:accent4>
      <a:accent5>
        <a:srgbClr val="E9AB2D"/>
      </a:accent5>
      <a:accent6>
        <a:srgbClr val="D67309"/>
      </a:accent6>
      <a:hlink>
        <a:srgbClr val="10449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CE083FA2A4DD4285BC3E656336F350" ma:contentTypeVersion="5" ma:contentTypeDescription="Create a new document." ma:contentTypeScope="" ma:versionID="b91fd8e295e39fffb8f1c7c6a71754e6">
  <xsd:schema xmlns:xsd="http://www.w3.org/2001/XMLSchema" xmlns:xs="http://www.w3.org/2001/XMLSchema" xmlns:p="http://schemas.microsoft.com/office/2006/metadata/properties" xmlns:ns3="09026a5d-706d-480a-9171-f057a7116303" targetNamespace="http://schemas.microsoft.com/office/2006/metadata/properties" ma:root="true" ma:fieldsID="43d8832ac9bd12ffce70ffff901f78bd" ns3:_="">
    <xsd:import namespace="09026a5d-706d-480a-9171-f057a7116303"/>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026a5d-706d-480a-9171-f057a71163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279EE6-33F8-43D7-821F-CEFB44A849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026a5d-706d-480a-9171-f057a71163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2978E5A-5E1D-45D5-8613-035058B6BA73}">
  <ds:schemaRefs>
    <ds:schemaRef ds:uri="http://purl.org/dc/dcmitype/"/>
    <ds:schemaRef ds:uri="http://schemas.microsoft.com/office/2006/documentManagement/types"/>
    <ds:schemaRef ds:uri="http://purl.org/dc/elements/1.1/"/>
    <ds:schemaRef ds:uri="http://schemas.microsoft.com/office/2006/metadata/properties"/>
    <ds:schemaRef ds:uri="http://www.w3.org/XML/1998/namespace"/>
    <ds:schemaRef ds:uri="09026a5d-706d-480a-9171-f057a7116303"/>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937C5E58-0331-4D91-95F7-9475FC3671A8}">
  <ds:schemaRefs>
    <ds:schemaRef ds:uri="http://schemas.microsoft.com/sharepoint/v3/contenttype/forms"/>
  </ds:schemaRefs>
</ds:datastoreItem>
</file>

<file path=docMetadata/LabelInfo.xml><?xml version="1.0" encoding="utf-8"?>
<clbl:labelList xmlns:clbl="http://schemas.microsoft.com/office/2020/mipLabelMetadata">
  <clbl:label id="{228589f0-3068-4eaa-9081-95b82895b3a2}" enabled="1" method="Standard" siteId="{7bc03988-1063-4a03-b76c-030695984be0}" removed="0"/>
</clbl:labelList>
</file>

<file path=docProps/app.xml><?xml version="1.0" encoding="utf-8"?>
<Properties xmlns="http://schemas.openxmlformats.org/officeDocument/2006/extended-properties" xmlns:vt="http://schemas.openxmlformats.org/officeDocument/2006/docPropsVTypes">
  <TotalTime>2281</TotalTime>
  <Words>4894</Words>
  <Application>Microsoft Office PowerPoint</Application>
  <PresentationFormat>On-screen Show (16:9)</PresentationFormat>
  <Paragraphs>866</Paragraphs>
  <Slides>47</Slides>
  <Notes>42</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3</vt:i4>
      </vt:variant>
      <vt:variant>
        <vt:lpstr>Slide Titles</vt:lpstr>
      </vt:variant>
      <vt:variant>
        <vt:i4>47</vt:i4>
      </vt:variant>
    </vt:vector>
  </HeadingPairs>
  <TitlesOfParts>
    <vt:vector size="72" baseType="lpstr">
      <vt:lpstr> century gothic</vt:lpstr>
      <vt:lpstr>Calibri</vt:lpstr>
      <vt:lpstr>Arial</vt:lpstr>
      <vt:lpstr>Inter Light</vt:lpstr>
      <vt:lpstr>Times New Roman</vt:lpstr>
      <vt:lpstr>Inter SemiBold</vt:lpstr>
      <vt:lpstr>Century Gothic Paneuropean Heavy</vt:lpstr>
      <vt:lpstr>Visa Dialect Regular</vt:lpstr>
      <vt:lpstr>Wingdings</vt:lpstr>
      <vt:lpstr>Century Gothic</vt:lpstr>
      <vt:lpstr>Abadi</vt:lpstr>
      <vt:lpstr>Calisto MT</vt:lpstr>
      <vt:lpstr>Century Gothic </vt:lpstr>
      <vt:lpstr>Daytona</vt:lpstr>
      <vt:lpstr>Aptos Display</vt:lpstr>
      <vt:lpstr>Visa Dialect Semibold</vt:lpstr>
      <vt:lpstr>Aptos</vt:lpstr>
      <vt:lpstr>Segoe UI</vt:lpstr>
      <vt:lpstr>Joan template</vt:lpstr>
      <vt:lpstr>Office Theme</vt:lpstr>
      <vt:lpstr>1_Office Theme</vt:lpstr>
      <vt:lpstr>2_Office Theme</vt:lpstr>
      <vt:lpstr>think-cell Slide</vt:lpstr>
      <vt:lpstr>Chart</vt:lpstr>
      <vt:lpstr>Worksheet</vt:lpstr>
      <vt:lpstr>Presented by: MR. Michael Eganza, Director,BPS, CBK</vt:lpstr>
      <vt:lpstr>PowerPoint Presentation</vt:lpstr>
      <vt:lpstr>National Payments Strategy 2022-2025</vt:lpstr>
      <vt:lpstr>3.</vt:lpstr>
      <vt:lpstr>PowerPoint Presentation</vt:lpstr>
      <vt:lpstr>PowerPoint Presentation</vt:lpstr>
      <vt:lpstr>PowerPoint Presentation</vt:lpstr>
      <vt:lpstr>The Regulatory Landscape of National Payment System (NPS)</vt:lpstr>
      <vt:lpstr>Categories of Payment Service Providers (PSPs)</vt:lpstr>
      <vt:lpstr>PSP Licensing Procedure</vt:lpstr>
      <vt:lpstr> </vt:lpstr>
      <vt:lpstr>PowerPoint Presentation</vt:lpstr>
      <vt:lpstr>PowerPoint Presentation</vt:lpstr>
      <vt:lpstr>Payment System Operations (PSO)</vt:lpstr>
      <vt:lpstr>PowerPoint Presentation</vt:lpstr>
      <vt:lpstr>Kenya demonstrates strong adoption and penetration in digital payments, positioning it well for further expansion, yet still has significant potential to reach global benchmarks</vt:lpstr>
      <vt:lpstr>Year on Year % Growth on the number of transactions</vt:lpstr>
      <vt:lpstr>Understanding the stages of payment ecosystem development and challenges of every step of transition can guide the actions to take to support growth</vt:lpstr>
      <vt:lpstr>PowerPoint Presentation</vt:lpstr>
      <vt:lpstr>PowerPoint Presentation</vt:lpstr>
      <vt:lpstr>PowerPoint Presentation</vt:lpstr>
      <vt:lpstr>PowerPoint Presentation</vt:lpstr>
      <vt:lpstr>How Money Enters the Mobile Money Ecosystem</vt:lpstr>
      <vt:lpstr>PowerPoint Presentation</vt:lpstr>
      <vt:lpstr>Other Retail Payments - (a) EFT and Cheques Transactions</vt:lpstr>
      <vt:lpstr>(b) Card Transactions</vt:lpstr>
      <vt:lpstr>Large Value Payment System (LVPS) – KEPSS Transactions</vt:lpstr>
      <vt:lpstr>PowerPoint Presentation</vt:lpstr>
      <vt:lpstr>Efforts towards Cash Displacement</vt:lpstr>
      <vt:lpstr>PowerPoint Presentation</vt:lpstr>
      <vt:lpstr>PowerPoint Presentation</vt:lpstr>
      <vt:lpstr>Government Payments and Remittances</vt:lpstr>
      <vt:lpstr>Remittance inflows have remained resilient, growing by 18% in 2024</vt:lpstr>
      <vt:lpstr>PowerPoint Presentation</vt:lpstr>
      <vt:lpstr> 34</vt:lpstr>
      <vt:lpstr>PowerPoint Presentation</vt:lpstr>
      <vt:lpstr>36</vt:lpstr>
      <vt:lpstr>37</vt:lpstr>
      <vt:lpstr>PowerPoint Presentation</vt:lpstr>
      <vt:lpstr>Analysis of Social Engineering Frauds 2025</vt:lpstr>
      <vt:lpstr>39</vt:lpstr>
      <vt:lpstr>PowerPoint Presentation</vt:lpstr>
      <vt:lpstr>Policy Initiatives to Enhance Payment Services</vt:lpstr>
      <vt:lpstr>Policy Initiatives to Enhance Payment Services</vt:lpstr>
      <vt:lpstr>Policy Initiatives to Enhance Payments Servi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Sharon K.K.Omwega</dc:creator>
  <cp:lastModifiedBy>Julie Guetta</cp:lastModifiedBy>
  <cp:revision>9</cp:revision>
  <cp:lastPrinted>2025-08-07T09:56:39Z</cp:lastPrinted>
  <dcterms:modified xsi:type="dcterms:W3CDTF">2025-10-20T15:0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Joan template:3</vt:lpwstr>
  </property>
  <property fmtid="{D5CDD505-2E9C-101B-9397-08002B2CF9AE}" pid="3" name="ClassificationContentMarkingFooterText">
    <vt:lpwstr>C2: CBK - Official</vt:lpwstr>
  </property>
  <property fmtid="{D5CDD505-2E9C-101B-9397-08002B2CF9AE}" pid="4" name="ContentTypeId">
    <vt:lpwstr>0x01010029CE083FA2A4DD4285BC3E656336F350</vt:lpwstr>
  </property>
  <property fmtid="{D5CDD505-2E9C-101B-9397-08002B2CF9AE}" pid="5" name="MediaServiceImageTags">
    <vt:lpwstr/>
  </property>
</Properties>
</file>